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12.xml" ContentType="application/vnd.openxmlformats-officedocument.presentationml.tags+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14"/>
  </p:notesMasterIdLst>
  <p:handoutMasterIdLst>
    <p:handoutMasterId r:id="rId15"/>
  </p:handoutMasterIdLst>
  <p:sldIdLst>
    <p:sldId id="272" r:id="rId5"/>
    <p:sldId id="1423" r:id="rId6"/>
    <p:sldId id="524" r:id="rId7"/>
    <p:sldId id="318" r:id="rId8"/>
    <p:sldId id="1424" r:id="rId9"/>
    <p:sldId id="555" r:id="rId10"/>
    <p:sldId id="566" r:id="rId11"/>
    <p:sldId id="1421" r:id="rId12"/>
    <p:sldId id="448" r:id="rId13"/>
  </p:sldIdLst>
  <p:sldSz cx="12192000" cy="6858000"/>
  <p:notesSz cx="6858000" cy="933450"/>
  <p:custShowLst>
    <p:custShow name="Format Guide Workshop" id="0">
      <p:sldLst/>
    </p:custShow>
  </p:custShow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ST assessment" id="{387B0091-4BBD-4FFD-8BFC-C8782A4C7C91}">
          <p14:sldIdLst>
            <p14:sldId id="272"/>
            <p14:sldId id="1423"/>
          </p14:sldIdLst>
        </p14:section>
        <p14:section name="Executive summary" id="{B381F354-96F1-4569-88F3-DFFAD694E002}">
          <p14:sldIdLst>
            <p14:sldId id="524"/>
            <p14:sldId id="318"/>
          </p14:sldIdLst>
        </p14:section>
        <p14:section name="Results for App1" id="{3859DC45-2725-4C24-B825-CA97682D62D1}">
          <p14:sldIdLst>
            <p14:sldId id="1424"/>
            <p14:sldId id="555"/>
            <p14:sldId id="566"/>
            <p14:sldId id="1421"/>
            <p14:sldId id="448"/>
          </p14:sldIdLst>
        </p14:section>
        <p14:section name="Next Steps" id="{C1A5662E-9B57-476F-B846-AFC8D5067988}">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jendra Parande" initials="RP" lastIdx="1" clrIdx="0">
    <p:extLst>
      <p:ext uri="{19B8F6BF-5375-455C-9EA6-DF929625EA0E}">
        <p15:presenceInfo xmlns:p15="http://schemas.microsoft.com/office/powerpoint/2012/main" userId="S::r.parande@castsoftware.com::0dee1f82-fe17-4295-b12e-6c3c7cb5510f" providerId="AD"/>
      </p:ext>
    </p:extLst>
  </p:cmAuthor>
  <p:cmAuthor id="2" name="Manish Sharma" initials="MS" lastIdx="2" clrIdx="1">
    <p:extLst>
      <p:ext uri="{19B8F6BF-5375-455C-9EA6-DF929625EA0E}">
        <p15:presenceInfo xmlns:p15="http://schemas.microsoft.com/office/powerpoint/2012/main" userId="S::m.sharma@castsoftware.com::97d895ad-8d7a-4884-8c18-743afd731b6f" providerId="AD"/>
      </p:ext>
    </p:extLst>
  </p:cmAuthor>
  <p:cmAuthor id="3" name="Gurunand" initials="G" lastIdx="1" clrIdx="2">
    <p:extLst>
      <p:ext uri="{19B8F6BF-5375-455C-9EA6-DF929625EA0E}">
        <p15:presenceInfo xmlns:p15="http://schemas.microsoft.com/office/powerpoint/2012/main" userId="Gurunan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8DA5"/>
    <a:srgbClr val="527589"/>
    <a:srgbClr val="B8C9D3"/>
    <a:srgbClr val="F4D4D4"/>
    <a:srgbClr val="FFE5C2"/>
    <a:srgbClr val="E8A3A3"/>
    <a:srgbClr val="D4F2F0"/>
    <a:srgbClr val="EDB9B9"/>
    <a:srgbClr val="FFCCCC"/>
    <a:srgbClr val="7788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B291BF-5110-451B-9F49-5287458FEFEA}" v="2115" dt="2021-01-13T16:56:54.550"/>
    <p1510:client id="{D3215A70-50A2-4D5C-A313-9B5EAD18C10E}" vWet="2" dt="2021-01-12T20:47:25.309"/>
    <p1510:client id="{F34AB475-0CBA-4830-9989-D4E2AECFD3AA}" v="439" dt="2021-01-13T20:47:02.6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7" d="100"/>
          <a:sy n="77" d="100"/>
        </p:scale>
        <p:origin x="802" y="7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tthieu Mabyre" userId="52a89cab-5e6b-49ac-8601-6d3bc79d567b" providerId="ADAL" clId="{159E7C2A-98AF-4A97-9389-7421C3C1E53F}"/>
    <pc:docChg chg="undo redo custSel addSld delSld modSld modSection">
      <pc:chgData name="Matthieu Mabyre" userId="52a89cab-5e6b-49ac-8601-6d3bc79d567b" providerId="ADAL" clId="{159E7C2A-98AF-4A97-9389-7421C3C1E53F}" dt="2020-11-18T15:37:12.489" v="8296" actId="20577"/>
      <pc:docMkLst>
        <pc:docMk/>
      </pc:docMkLst>
      <pc:sldChg chg="modSp mod">
        <pc:chgData name="Matthieu Mabyre" userId="52a89cab-5e6b-49ac-8601-6d3bc79d567b" providerId="ADAL" clId="{159E7C2A-98AF-4A97-9389-7421C3C1E53F}" dt="2020-11-13T23:59:52.439" v="2545"/>
        <pc:sldMkLst>
          <pc:docMk/>
          <pc:sldMk cId="231093575" sldId="344"/>
        </pc:sldMkLst>
        <pc:spChg chg="mod">
          <ac:chgData name="Matthieu Mabyre" userId="52a89cab-5e6b-49ac-8601-6d3bc79d567b" providerId="ADAL" clId="{159E7C2A-98AF-4A97-9389-7421C3C1E53F}" dt="2020-11-13T23:59:52.439" v="2545"/>
          <ac:spMkLst>
            <pc:docMk/>
            <pc:sldMk cId="231093575" sldId="344"/>
            <ac:spMk id="68" creationId="{00000000-0000-0000-0000-000000000000}"/>
          </ac:spMkLst>
        </pc:spChg>
      </pc:sldChg>
      <pc:sldChg chg="delSp modSp mod">
        <pc:chgData name="Matthieu Mabyre" userId="52a89cab-5e6b-49ac-8601-6d3bc79d567b" providerId="ADAL" clId="{159E7C2A-98AF-4A97-9389-7421C3C1E53F}" dt="2020-11-18T08:41:50.286" v="7746" actId="20577"/>
        <pc:sldMkLst>
          <pc:docMk/>
          <pc:sldMk cId="2829381692" sldId="393"/>
        </pc:sldMkLst>
        <pc:spChg chg="mod">
          <ac:chgData name="Matthieu Mabyre" userId="52a89cab-5e6b-49ac-8601-6d3bc79d567b" providerId="ADAL" clId="{159E7C2A-98AF-4A97-9389-7421C3C1E53F}" dt="2020-11-18T08:41:50.286" v="7746" actId="20577"/>
          <ac:spMkLst>
            <pc:docMk/>
            <pc:sldMk cId="2829381692" sldId="393"/>
            <ac:spMk id="20" creationId="{00000000-0000-0000-0000-000000000000}"/>
          </ac:spMkLst>
        </pc:spChg>
        <pc:spChg chg="mod">
          <ac:chgData name="Matthieu Mabyre" userId="52a89cab-5e6b-49ac-8601-6d3bc79d567b" providerId="ADAL" clId="{159E7C2A-98AF-4A97-9389-7421C3C1E53F}" dt="2020-11-17T21:46:52.831" v="7400" actId="20577"/>
          <ac:spMkLst>
            <pc:docMk/>
            <pc:sldMk cId="2829381692" sldId="393"/>
            <ac:spMk id="30" creationId="{BC68C9EA-24FC-4D79-A0C1-213D45B72034}"/>
          </ac:spMkLst>
        </pc:spChg>
        <pc:graphicFrameChg chg="del modGraphic">
          <ac:chgData name="Matthieu Mabyre" userId="52a89cab-5e6b-49ac-8601-6d3bc79d567b" providerId="ADAL" clId="{159E7C2A-98AF-4A97-9389-7421C3C1E53F}" dt="2020-11-17T21:46:37.947" v="7373" actId="478"/>
          <ac:graphicFrameMkLst>
            <pc:docMk/>
            <pc:sldMk cId="2829381692" sldId="393"/>
            <ac:graphicFrameMk id="4" creationId="{E15926DB-CEE9-4AB9-B7E9-9CD6E2EF3908}"/>
          </ac:graphicFrameMkLst>
        </pc:graphicFrameChg>
      </pc:sldChg>
      <pc:sldChg chg="del">
        <pc:chgData name="Matthieu Mabyre" userId="52a89cab-5e6b-49ac-8601-6d3bc79d567b" providerId="ADAL" clId="{159E7C2A-98AF-4A97-9389-7421C3C1E53F}" dt="2020-11-17T21:38:08.947" v="7031" actId="47"/>
        <pc:sldMkLst>
          <pc:docMk/>
          <pc:sldMk cId="1999519132" sldId="425"/>
        </pc:sldMkLst>
      </pc:sldChg>
      <pc:sldChg chg="delSp modSp mod">
        <pc:chgData name="Matthieu Mabyre" userId="52a89cab-5e6b-49ac-8601-6d3bc79d567b" providerId="ADAL" clId="{159E7C2A-98AF-4A97-9389-7421C3C1E53F}" dt="2020-11-18T15:35:43.215" v="8273" actId="2711"/>
        <pc:sldMkLst>
          <pc:docMk/>
          <pc:sldMk cId="3705176354" sldId="428"/>
        </pc:sldMkLst>
        <pc:spChg chg="mod">
          <ac:chgData name="Matthieu Mabyre" userId="52a89cab-5e6b-49ac-8601-6d3bc79d567b" providerId="ADAL" clId="{159E7C2A-98AF-4A97-9389-7421C3C1E53F}" dt="2020-11-17T20:21:44.567" v="5950" actId="20577"/>
          <ac:spMkLst>
            <pc:docMk/>
            <pc:sldMk cId="3705176354" sldId="428"/>
            <ac:spMk id="2" creationId="{00000000-0000-0000-0000-000000000000}"/>
          </ac:spMkLst>
        </pc:spChg>
        <pc:spChg chg="del">
          <ac:chgData name="Matthieu Mabyre" userId="52a89cab-5e6b-49ac-8601-6d3bc79d567b" providerId="ADAL" clId="{159E7C2A-98AF-4A97-9389-7421C3C1E53F}" dt="2020-11-18T08:38:38.514" v="7728" actId="478"/>
          <ac:spMkLst>
            <pc:docMk/>
            <pc:sldMk cId="3705176354" sldId="428"/>
            <ac:spMk id="3" creationId="{090C02AC-6DCB-476F-874F-3D53855E263D}"/>
          </ac:spMkLst>
        </pc:spChg>
        <pc:spChg chg="mod">
          <ac:chgData name="Matthieu Mabyre" userId="52a89cab-5e6b-49ac-8601-6d3bc79d567b" providerId="ADAL" clId="{159E7C2A-98AF-4A97-9389-7421C3C1E53F}" dt="2020-11-17T18:42:48.318" v="5004" actId="20577"/>
          <ac:spMkLst>
            <pc:docMk/>
            <pc:sldMk cId="3705176354" sldId="428"/>
            <ac:spMk id="4" creationId="{1D54A381-9ED5-4626-82D3-1EFCE1DF6AEC}"/>
          </ac:spMkLst>
        </pc:spChg>
        <pc:spChg chg="mod">
          <ac:chgData name="Matthieu Mabyre" userId="52a89cab-5e6b-49ac-8601-6d3bc79d567b" providerId="ADAL" clId="{159E7C2A-98AF-4A97-9389-7421C3C1E53F}" dt="2020-11-18T15:35:43.215" v="8273" actId="2711"/>
          <ac:spMkLst>
            <pc:docMk/>
            <pc:sldMk cId="3705176354" sldId="428"/>
            <ac:spMk id="21" creationId="{00000000-0000-0000-0000-000000000000}"/>
          </ac:spMkLst>
        </pc:spChg>
        <pc:spChg chg="mod">
          <ac:chgData name="Matthieu Mabyre" userId="52a89cab-5e6b-49ac-8601-6d3bc79d567b" providerId="ADAL" clId="{159E7C2A-98AF-4A97-9389-7421C3C1E53F}" dt="2020-11-17T18:20:23.562" v="4776" actId="692"/>
          <ac:spMkLst>
            <pc:docMk/>
            <pc:sldMk cId="3705176354" sldId="428"/>
            <ac:spMk id="73" creationId="{4C88BB89-4068-499B-8F3F-29D9CFDEB8D9}"/>
          </ac:spMkLst>
        </pc:spChg>
        <pc:spChg chg="mod">
          <ac:chgData name="Matthieu Mabyre" userId="52a89cab-5e6b-49ac-8601-6d3bc79d567b" providerId="ADAL" clId="{159E7C2A-98AF-4A97-9389-7421C3C1E53F}" dt="2020-11-17T18:20:33.103" v="4778" actId="692"/>
          <ac:spMkLst>
            <pc:docMk/>
            <pc:sldMk cId="3705176354" sldId="428"/>
            <ac:spMk id="75" creationId="{C3667D43-2D3C-46D6-BEB3-58980BA9DA59}"/>
          </ac:spMkLst>
        </pc:spChg>
        <pc:spChg chg="mod">
          <ac:chgData name="Matthieu Mabyre" userId="52a89cab-5e6b-49ac-8601-6d3bc79d567b" providerId="ADAL" clId="{159E7C2A-98AF-4A97-9389-7421C3C1E53F}" dt="2020-11-17T18:20:19.607" v="4775" actId="692"/>
          <ac:spMkLst>
            <pc:docMk/>
            <pc:sldMk cId="3705176354" sldId="428"/>
            <ac:spMk id="78" creationId="{00000000-0000-0000-0000-000000000000}"/>
          </ac:spMkLst>
        </pc:spChg>
        <pc:spChg chg="mod">
          <ac:chgData name="Matthieu Mabyre" userId="52a89cab-5e6b-49ac-8601-6d3bc79d567b" providerId="ADAL" clId="{159E7C2A-98AF-4A97-9389-7421C3C1E53F}" dt="2020-11-17T18:20:39.807" v="4779" actId="108"/>
          <ac:spMkLst>
            <pc:docMk/>
            <pc:sldMk cId="3705176354" sldId="428"/>
            <ac:spMk id="81" creationId="{00000000-0000-0000-0000-000000000000}"/>
          </ac:spMkLst>
        </pc:spChg>
        <pc:spChg chg="mod">
          <ac:chgData name="Matthieu Mabyre" userId="52a89cab-5e6b-49ac-8601-6d3bc79d567b" providerId="ADAL" clId="{159E7C2A-98AF-4A97-9389-7421C3C1E53F}" dt="2020-11-17T18:23:09.323" v="4840" actId="14100"/>
          <ac:spMkLst>
            <pc:docMk/>
            <pc:sldMk cId="3705176354" sldId="428"/>
            <ac:spMk id="82" creationId="{00000000-0000-0000-0000-000000000000}"/>
          </ac:spMkLst>
        </pc:spChg>
        <pc:spChg chg="mod">
          <ac:chgData name="Matthieu Mabyre" userId="52a89cab-5e6b-49ac-8601-6d3bc79d567b" providerId="ADAL" clId="{159E7C2A-98AF-4A97-9389-7421C3C1E53F}" dt="2020-11-17T18:23:09.323" v="4840" actId="14100"/>
          <ac:spMkLst>
            <pc:docMk/>
            <pc:sldMk cId="3705176354" sldId="428"/>
            <ac:spMk id="83" creationId="{00000000-0000-0000-0000-000000000000}"/>
          </ac:spMkLst>
        </pc:spChg>
        <pc:spChg chg="mod">
          <ac:chgData name="Matthieu Mabyre" userId="52a89cab-5e6b-49ac-8601-6d3bc79d567b" providerId="ADAL" clId="{159E7C2A-98AF-4A97-9389-7421C3C1E53F}" dt="2020-11-17T18:23:09.323" v="4840" actId="14100"/>
          <ac:spMkLst>
            <pc:docMk/>
            <pc:sldMk cId="3705176354" sldId="428"/>
            <ac:spMk id="84" creationId="{00000000-0000-0000-0000-000000000000}"/>
          </ac:spMkLst>
        </pc:spChg>
        <pc:spChg chg="mod">
          <ac:chgData name="Matthieu Mabyre" userId="52a89cab-5e6b-49ac-8601-6d3bc79d567b" providerId="ADAL" clId="{159E7C2A-98AF-4A97-9389-7421C3C1E53F}" dt="2020-11-17T18:20:43.563" v="4780" actId="108"/>
          <ac:spMkLst>
            <pc:docMk/>
            <pc:sldMk cId="3705176354" sldId="428"/>
            <ac:spMk id="90" creationId="{00000000-0000-0000-0000-000000000000}"/>
          </ac:spMkLst>
        </pc:spChg>
        <pc:spChg chg="mod">
          <ac:chgData name="Matthieu Mabyre" userId="52a89cab-5e6b-49ac-8601-6d3bc79d567b" providerId="ADAL" clId="{159E7C2A-98AF-4A97-9389-7421C3C1E53F}" dt="2020-11-17T18:23:40.821" v="4843" actId="14100"/>
          <ac:spMkLst>
            <pc:docMk/>
            <pc:sldMk cId="3705176354" sldId="428"/>
            <ac:spMk id="93" creationId="{00000000-0000-0000-0000-000000000000}"/>
          </ac:spMkLst>
        </pc:spChg>
        <pc:spChg chg="mod">
          <ac:chgData name="Matthieu Mabyre" userId="52a89cab-5e6b-49ac-8601-6d3bc79d567b" providerId="ADAL" clId="{159E7C2A-98AF-4A97-9389-7421C3C1E53F}" dt="2020-11-17T18:23:40.821" v="4843" actId="14100"/>
          <ac:spMkLst>
            <pc:docMk/>
            <pc:sldMk cId="3705176354" sldId="428"/>
            <ac:spMk id="94" creationId="{00000000-0000-0000-0000-000000000000}"/>
          </ac:spMkLst>
        </pc:spChg>
        <pc:spChg chg="mod">
          <ac:chgData name="Matthieu Mabyre" userId="52a89cab-5e6b-49ac-8601-6d3bc79d567b" providerId="ADAL" clId="{159E7C2A-98AF-4A97-9389-7421C3C1E53F}" dt="2020-11-17T18:23:40.821" v="4843" actId="14100"/>
          <ac:spMkLst>
            <pc:docMk/>
            <pc:sldMk cId="3705176354" sldId="428"/>
            <ac:spMk id="95" creationId="{00000000-0000-0000-0000-000000000000}"/>
          </ac:spMkLst>
        </pc:spChg>
        <pc:spChg chg="mod">
          <ac:chgData name="Matthieu Mabyre" userId="52a89cab-5e6b-49ac-8601-6d3bc79d567b" providerId="ADAL" clId="{159E7C2A-98AF-4A97-9389-7421C3C1E53F}" dt="2020-11-17T18:20:29.160" v="4777" actId="207"/>
          <ac:spMkLst>
            <pc:docMk/>
            <pc:sldMk cId="3705176354" sldId="428"/>
            <ac:spMk id="96" creationId="{00000000-0000-0000-0000-000000000000}"/>
          </ac:spMkLst>
        </pc:spChg>
        <pc:spChg chg="mod">
          <ac:chgData name="Matthieu Mabyre" userId="52a89cab-5e6b-49ac-8601-6d3bc79d567b" providerId="ADAL" clId="{159E7C2A-98AF-4A97-9389-7421C3C1E53F}" dt="2020-11-17T18:23:58.863" v="4844" actId="14100"/>
          <ac:spMkLst>
            <pc:docMk/>
            <pc:sldMk cId="3705176354" sldId="428"/>
            <ac:spMk id="99" creationId="{00000000-0000-0000-0000-000000000000}"/>
          </ac:spMkLst>
        </pc:spChg>
        <pc:spChg chg="mod">
          <ac:chgData name="Matthieu Mabyre" userId="52a89cab-5e6b-49ac-8601-6d3bc79d567b" providerId="ADAL" clId="{159E7C2A-98AF-4A97-9389-7421C3C1E53F}" dt="2020-11-17T18:23:58.863" v="4844" actId="14100"/>
          <ac:spMkLst>
            <pc:docMk/>
            <pc:sldMk cId="3705176354" sldId="428"/>
            <ac:spMk id="100" creationId="{00000000-0000-0000-0000-000000000000}"/>
          </ac:spMkLst>
        </pc:spChg>
        <pc:spChg chg="mod">
          <ac:chgData name="Matthieu Mabyre" userId="52a89cab-5e6b-49ac-8601-6d3bc79d567b" providerId="ADAL" clId="{159E7C2A-98AF-4A97-9389-7421C3C1E53F}" dt="2020-11-17T18:23:58.863" v="4844" actId="14100"/>
          <ac:spMkLst>
            <pc:docMk/>
            <pc:sldMk cId="3705176354" sldId="428"/>
            <ac:spMk id="101" creationId="{00000000-0000-0000-0000-000000000000}"/>
          </ac:spMkLst>
        </pc:spChg>
        <pc:spChg chg="mod">
          <ac:chgData name="Matthieu Mabyre" userId="52a89cab-5e6b-49ac-8601-6d3bc79d567b" providerId="ADAL" clId="{159E7C2A-98AF-4A97-9389-7421C3C1E53F}" dt="2020-11-17T18:15:37.633" v="4660" actId="20577"/>
          <ac:spMkLst>
            <pc:docMk/>
            <pc:sldMk cId="3705176354" sldId="428"/>
            <ac:spMk id="102" creationId="{00000000-0000-0000-0000-000000000000}"/>
          </ac:spMkLst>
        </pc:spChg>
        <pc:spChg chg="mod">
          <ac:chgData name="Matthieu Mabyre" userId="52a89cab-5e6b-49ac-8601-6d3bc79d567b" providerId="ADAL" clId="{159E7C2A-98AF-4A97-9389-7421C3C1E53F}" dt="2020-11-17T18:24:08.856" v="4845" actId="14100"/>
          <ac:spMkLst>
            <pc:docMk/>
            <pc:sldMk cId="3705176354" sldId="428"/>
            <ac:spMk id="105" creationId="{00000000-0000-0000-0000-000000000000}"/>
          </ac:spMkLst>
        </pc:spChg>
        <pc:spChg chg="mod">
          <ac:chgData name="Matthieu Mabyre" userId="52a89cab-5e6b-49ac-8601-6d3bc79d567b" providerId="ADAL" clId="{159E7C2A-98AF-4A97-9389-7421C3C1E53F}" dt="2020-11-17T18:24:08.856" v="4845" actId="14100"/>
          <ac:spMkLst>
            <pc:docMk/>
            <pc:sldMk cId="3705176354" sldId="428"/>
            <ac:spMk id="106" creationId="{00000000-0000-0000-0000-000000000000}"/>
          </ac:spMkLst>
        </pc:spChg>
        <pc:spChg chg="mod">
          <ac:chgData name="Matthieu Mabyre" userId="52a89cab-5e6b-49ac-8601-6d3bc79d567b" providerId="ADAL" clId="{159E7C2A-98AF-4A97-9389-7421C3C1E53F}" dt="2020-11-17T18:24:08.856" v="4845" actId="14100"/>
          <ac:spMkLst>
            <pc:docMk/>
            <pc:sldMk cId="3705176354" sldId="428"/>
            <ac:spMk id="107" creationId="{00000000-0000-0000-0000-000000000000}"/>
          </ac:spMkLst>
        </pc:spChg>
        <pc:spChg chg="mod">
          <ac:chgData name="Matthieu Mabyre" userId="52a89cab-5e6b-49ac-8601-6d3bc79d567b" providerId="ADAL" clId="{159E7C2A-98AF-4A97-9389-7421C3C1E53F}" dt="2020-11-17T18:15:43.694" v="4664" actId="20577"/>
          <ac:spMkLst>
            <pc:docMk/>
            <pc:sldMk cId="3705176354" sldId="428"/>
            <ac:spMk id="108" creationId="{00000000-0000-0000-0000-000000000000}"/>
          </ac:spMkLst>
        </pc:spChg>
        <pc:spChg chg="mod">
          <ac:chgData name="Matthieu Mabyre" userId="52a89cab-5e6b-49ac-8601-6d3bc79d567b" providerId="ADAL" clId="{159E7C2A-98AF-4A97-9389-7421C3C1E53F}" dt="2020-11-17T18:23:27.286" v="4842" actId="14100"/>
          <ac:spMkLst>
            <pc:docMk/>
            <pc:sldMk cId="3705176354" sldId="428"/>
            <ac:spMk id="110" creationId="{00000000-0000-0000-0000-000000000000}"/>
          </ac:spMkLst>
        </pc:spChg>
        <pc:spChg chg="mod">
          <ac:chgData name="Matthieu Mabyre" userId="52a89cab-5e6b-49ac-8601-6d3bc79d567b" providerId="ADAL" clId="{159E7C2A-98AF-4A97-9389-7421C3C1E53F}" dt="2020-11-17T18:23:27.286" v="4842" actId="14100"/>
          <ac:spMkLst>
            <pc:docMk/>
            <pc:sldMk cId="3705176354" sldId="428"/>
            <ac:spMk id="111" creationId="{00000000-0000-0000-0000-000000000000}"/>
          </ac:spMkLst>
        </pc:spChg>
        <pc:spChg chg="mod">
          <ac:chgData name="Matthieu Mabyre" userId="52a89cab-5e6b-49ac-8601-6d3bc79d567b" providerId="ADAL" clId="{159E7C2A-98AF-4A97-9389-7421C3C1E53F}" dt="2020-11-17T18:23:27.286" v="4842" actId="14100"/>
          <ac:spMkLst>
            <pc:docMk/>
            <pc:sldMk cId="3705176354" sldId="428"/>
            <ac:spMk id="112" creationId="{00000000-0000-0000-0000-000000000000}"/>
          </ac:spMkLst>
        </pc:spChg>
        <pc:spChg chg="mod">
          <ac:chgData name="Matthieu Mabyre" userId="52a89cab-5e6b-49ac-8601-6d3bc79d567b" providerId="ADAL" clId="{159E7C2A-98AF-4A97-9389-7421C3C1E53F}" dt="2020-11-17T21:39:11.498" v="7042" actId="20577"/>
          <ac:spMkLst>
            <pc:docMk/>
            <pc:sldMk cId="3705176354" sldId="428"/>
            <ac:spMk id="116" creationId="{00000000-0000-0000-0000-000000000000}"/>
          </ac:spMkLst>
        </pc:spChg>
        <pc:spChg chg="mod">
          <ac:chgData name="Matthieu Mabyre" userId="52a89cab-5e6b-49ac-8601-6d3bc79d567b" providerId="ADAL" clId="{159E7C2A-98AF-4A97-9389-7421C3C1E53F}" dt="2020-11-17T18:16:27.763" v="4687" actId="20577"/>
          <ac:spMkLst>
            <pc:docMk/>
            <pc:sldMk cId="3705176354" sldId="428"/>
            <ac:spMk id="117" creationId="{00000000-0000-0000-0000-000000000000}"/>
          </ac:spMkLst>
        </pc:spChg>
        <pc:spChg chg="mod">
          <ac:chgData name="Matthieu Mabyre" userId="52a89cab-5e6b-49ac-8601-6d3bc79d567b" providerId="ADAL" clId="{159E7C2A-98AF-4A97-9389-7421C3C1E53F}" dt="2020-11-17T18:24:30.512" v="4846" actId="14100"/>
          <ac:spMkLst>
            <pc:docMk/>
            <pc:sldMk cId="3705176354" sldId="428"/>
            <ac:spMk id="120" creationId="{00000000-0000-0000-0000-000000000000}"/>
          </ac:spMkLst>
        </pc:spChg>
        <pc:spChg chg="mod">
          <ac:chgData name="Matthieu Mabyre" userId="52a89cab-5e6b-49ac-8601-6d3bc79d567b" providerId="ADAL" clId="{159E7C2A-98AF-4A97-9389-7421C3C1E53F}" dt="2020-11-17T18:24:30.512" v="4846" actId="14100"/>
          <ac:spMkLst>
            <pc:docMk/>
            <pc:sldMk cId="3705176354" sldId="428"/>
            <ac:spMk id="121" creationId="{00000000-0000-0000-0000-000000000000}"/>
          </ac:spMkLst>
        </pc:spChg>
        <pc:spChg chg="mod">
          <ac:chgData name="Matthieu Mabyre" userId="52a89cab-5e6b-49ac-8601-6d3bc79d567b" providerId="ADAL" clId="{159E7C2A-98AF-4A97-9389-7421C3C1E53F}" dt="2020-11-17T18:24:30.512" v="4846" actId="14100"/>
          <ac:spMkLst>
            <pc:docMk/>
            <pc:sldMk cId="3705176354" sldId="428"/>
            <ac:spMk id="122" creationId="{00000000-0000-0000-0000-000000000000}"/>
          </ac:spMkLst>
        </pc:spChg>
        <pc:spChg chg="mod">
          <ac:chgData name="Matthieu Mabyre" userId="52a89cab-5e6b-49ac-8601-6d3bc79d567b" providerId="ADAL" clId="{159E7C2A-98AF-4A97-9389-7421C3C1E53F}" dt="2020-11-17T18:16:06.838" v="4673" actId="20577"/>
          <ac:spMkLst>
            <pc:docMk/>
            <pc:sldMk cId="3705176354" sldId="428"/>
            <ac:spMk id="123" creationId="{00000000-0000-0000-0000-000000000000}"/>
          </ac:spMkLst>
        </pc:spChg>
        <pc:spChg chg="mod">
          <ac:chgData name="Matthieu Mabyre" userId="52a89cab-5e6b-49ac-8601-6d3bc79d567b" providerId="ADAL" clId="{159E7C2A-98AF-4A97-9389-7421C3C1E53F}" dt="2020-11-17T18:24:59.208" v="4876" actId="1038"/>
          <ac:spMkLst>
            <pc:docMk/>
            <pc:sldMk cId="3705176354" sldId="428"/>
            <ac:spMk id="135" creationId="{00000000-0000-0000-0000-000000000000}"/>
          </ac:spMkLst>
        </pc:spChg>
        <pc:grpChg chg="mod">
          <ac:chgData name="Matthieu Mabyre" userId="52a89cab-5e6b-49ac-8601-6d3bc79d567b" providerId="ADAL" clId="{159E7C2A-98AF-4A97-9389-7421C3C1E53F}" dt="2020-11-17T18:23:09.323" v="4840" actId="14100"/>
          <ac:grpSpMkLst>
            <pc:docMk/>
            <pc:sldMk cId="3705176354" sldId="428"/>
            <ac:grpSpMk id="80" creationId="{00000000-0000-0000-0000-000000000000}"/>
          </ac:grpSpMkLst>
        </pc:grpChg>
        <pc:grpChg chg="mod">
          <ac:chgData name="Matthieu Mabyre" userId="52a89cab-5e6b-49ac-8601-6d3bc79d567b" providerId="ADAL" clId="{159E7C2A-98AF-4A97-9389-7421C3C1E53F}" dt="2020-11-17T18:23:40.821" v="4843" actId="14100"/>
          <ac:grpSpMkLst>
            <pc:docMk/>
            <pc:sldMk cId="3705176354" sldId="428"/>
            <ac:grpSpMk id="92" creationId="{00000000-0000-0000-0000-000000000000}"/>
          </ac:grpSpMkLst>
        </pc:grpChg>
        <pc:grpChg chg="mod">
          <ac:chgData name="Matthieu Mabyre" userId="52a89cab-5e6b-49ac-8601-6d3bc79d567b" providerId="ADAL" clId="{159E7C2A-98AF-4A97-9389-7421C3C1E53F}" dt="2020-11-17T18:23:58.863" v="4844" actId="14100"/>
          <ac:grpSpMkLst>
            <pc:docMk/>
            <pc:sldMk cId="3705176354" sldId="428"/>
            <ac:grpSpMk id="98" creationId="{00000000-0000-0000-0000-000000000000}"/>
          </ac:grpSpMkLst>
        </pc:grpChg>
        <pc:grpChg chg="mod">
          <ac:chgData name="Matthieu Mabyre" userId="52a89cab-5e6b-49ac-8601-6d3bc79d567b" providerId="ADAL" clId="{159E7C2A-98AF-4A97-9389-7421C3C1E53F}" dt="2020-11-17T18:24:08.856" v="4845" actId="14100"/>
          <ac:grpSpMkLst>
            <pc:docMk/>
            <pc:sldMk cId="3705176354" sldId="428"/>
            <ac:grpSpMk id="104" creationId="{00000000-0000-0000-0000-000000000000}"/>
          </ac:grpSpMkLst>
        </pc:grpChg>
        <pc:grpChg chg="mod">
          <ac:chgData name="Matthieu Mabyre" userId="52a89cab-5e6b-49ac-8601-6d3bc79d567b" providerId="ADAL" clId="{159E7C2A-98AF-4A97-9389-7421C3C1E53F}" dt="2020-11-17T18:23:27.286" v="4842" actId="14100"/>
          <ac:grpSpMkLst>
            <pc:docMk/>
            <pc:sldMk cId="3705176354" sldId="428"/>
            <ac:grpSpMk id="109" creationId="{00000000-0000-0000-0000-000000000000}"/>
          </ac:grpSpMkLst>
        </pc:grpChg>
        <pc:grpChg chg="mod">
          <ac:chgData name="Matthieu Mabyre" userId="52a89cab-5e6b-49ac-8601-6d3bc79d567b" providerId="ADAL" clId="{159E7C2A-98AF-4A97-9389-7421C3C1E53F}" dt="2020-11-17T18:24:30.512" v="4846" actId="14100"/>
          <ac:grpSpMkLst>
            <pc:docMk/>
            <pc:sldMk cId="3705176354" sldId="428"/>
            <ac:grpSpMk id="119" creationId="{00000000-0000-0000-0000-000000000000}"/>
          </ac:grpSpMkLst>
        </pc:grpChg>
      </pc:sldChg>
      <pc:sldChg chg="modSp mod">
        <pc:chgData name="Matthieu Mabyre" userId="52a89cab-5e6b-49ac-8601-6d3bc79d567b" providerId="ADAL" clId="{159E7C2A-98AF-4A97-9389-7421C3C1E53F}" dt="2020-11-18T15:33:15.402" v="8269" actId="13926"/>
        <pc:sldMkLst>
          <pc:docMk/>
          <pc:sldMk cId="3785293199" sldId="445"/>
        </pc:sldMkLst>
        <pc:spChg chg="mod">
          <ac:chgData name="Matthieu Mabyre" userId="52a89cab-5e6b-49ac-8601-6d3bc79d567b" providerId="ADAL" clId="{159E7C2A-98AF-4A97-9389-7421C3C1E53F}" dt="2020-11-18T15:31:52.117" v="8234" actId="13926"/>
          <ac:spMkLst>
            <pc:docMk/>
            <pc:sldMk cId="3785293199" sldId="445"/>
            <ac:spMk id="2" creationId="{00000000-0000-0000-0000-000000000000}"/>
          </ac:spMkLst>
        </pc:spChg>
        <pc:spChg chg="mod">
          <ac:chgData name="Matthieu Mabyre" userId="52a89cab-5e6b-49ac-8601-6d3bc79d567b" providerId="ADAL" clId="{159E7C2A-98AF-4A97-9389-7421C3C1E53F}" dt="2020-11-18T15:32:21.224" v="8252" actId="13926"/>
          <ac:spMkLst>
            <pc:docMk/>
            <pc:sldMk cId="3785293199" sldId="445"/>
            <ac:spMk id="5" creationId="{57DA03D2-BDDD-4B29-A79F-3BCEC511705B}"/>
          </ac:spMkLst>
        </pc:spChg>
        <pc:spChg chg="mod">
          <ac:chgData name="Matthieu Mabyre" userId="52a89cab-5e6b-49ac-8601-6d3bc79d567b" providerId="ADAL" clId="{159E7C2A-98AF-4A97-9389-7421C3C1E53F}" dt="2020-11-18T15:33:15.402" v="8269" actId="13926"/>
          <ac:spMkLst>
            <pc:docMk/>
            <pc:sldMk cId="3785293199" sldId="445"/>
            <ac:spMk id="14" creationId="{3ADA01F1-3B4B-4FAA-84E6-17ACC70140F8}"/>
          </ac:spMkLst>
        </pc:spChg>
        <pc:spChg chg="mod">
          <ac:chgData name="Matthieu Mabyre" userId="52a89cab-5e6b-49ac-8601-6d3bc79d567b" providerId="ADAL" clId="{159E7C2A-98AF-4A97-9389-7421C3C1E53F}" dt="2020-11-18T08:39:35.173" v="7730" actId="1076"/>
          <ac:spMkLst>
            <pc:docMk/>
            <pc:sldMk cId="3785293199" sldId="445"/>
            <ac:spMk id="25" creationId="{2A68DE28-217C-4D58-BA92-1AC7776A922E}"/>
          </ac:spMkLst>
        </pc:spChg>
        <pc:spChg chg="mod">
          <ac:chgData name="Matthieu Mabyre" userId="52a89cab-5e6b-49ac-8601-6d3bc79d567b" providerId="ADAL" clId="{159E7C2A-98AF-4A97-9389-7421C3C1E53F}" dt="2020-11-18T08:40:44.375" v="7733"/>
          <ac:spMkLst>
            <pc:docMk/>
            <pc:sldMk cId="3785293199" sldId="445"/>
            <ac:spMk id="27" creationId="{813FD8F9-6E60-45F9-A8B5-18176FF3E434}"/>
          </ac:spMkLst>
        </pc:spChg>
        <pc:spChg chg="mod">
          <ac:chgData name="Matthieu Mabyre" userId="52a89cab-5e6b-49ac-8601-6d3bc79d567b" providerId="ADAL" clId="{159E7C2A-98AF-4A97-9389-7421C3C1E53F}" dt="2020-11-18T08:41:24.577" v="7734"/>
          <ac:spMkLst>
            <pc:docMk/>
            <pc:sldMk cId="3785293199" sldId="445"/>
            <ac:spMk id="29" creationId="{72CB840D-447D-492C-A14A-718942E7B821}"/>
          </ac:spMkLst>
        </pc:spChg>
        <pc:spChg chg="mod">
          <ac:chgData name="Matthieu Mabyre" userId="52a89cab-5e6b-49ac-8601-6d3bc79d567b" providerId="ADAL" clId="{159E7C2A-98AF-4A97-9389-7421C3C1E53F}" dt="2020-11-17T18:09:52.386" v="4595" actId="20577"/>
          <ac:spMkLst>
            <pc:docMk/>
            <pc:sldMk cId="3785293199" sldId="445"/>
            <ac:spMk id="56" creationId="{3280F2A9-5208-4D26-B8F6-7B5775F8A555}"/>
          </ac:spMkLst>
        </pc:spChg>
        <pc:graphicFrameChg chg="mod modGraphic">
          <ac:chgData name="Matthieu Mabyre" userId="52a89cab-5e6b-49ac-8601-6d3bc79d567b" providerId="ADAL" clId="{159E7C2A-98AF-4A97-9389-7421C3C1E53F}" dt="2020-11-18T07:58:19.629" v="7402"/>
          <ac:graphicFrameMkLst>
            <pc:docMk/>
            <pc:sldMk cId="3785293199" sldId="445"/>
            <ac:graphicFrameMk id="53" creationId="{E5833FD7-3504-4AE9-9C58-79A4D525D16B}"/>
          </ac:graphicFrameMkLst>
        </pc:graphicFrameChg>
        <pc:graphicFrameChg chg="mod modGraphic">
          <ac:chgData name="Matthieu Mabyre" userId="52a89cab-5e6b-49ac-8601-6d3bc79d567b" providerId="ADAL" clId="{159E7C2A-98AF-4A97-9389-7421C3C1E53F}" dt="2020-11-18T07:58:23.062" v="7403"/>
          <ac:graphicFrameMkLst>
            <pc:docMk/>
            <pc:sldMk cId="3785293199" sldId="445"/>
            <ac:graphicFrameMk id="55" creationId="{A7A9C0A9-652B-44C1-AFD0-CA965CA34DBB}"/>
          </ac:graphicFrameMkLst>
        </pc:graphicFrameChg>
        <pc:cxnChg chg="mod">
          <ac:chgData name="Matthieu Mabyre" userId="52a89cab-5e6b-49ac-8601-6d3bc79d567b" providerId="ADAL" clId="{159E7C2A-98AF-4A97-9389-7421C3C1E53F}" dt="2020-11-18T08:41:31.733" v="7735" actId="14100"/>
          <ac:cxnSpMkLst>
            <pc:docMk/>
            <pc:sldMk cId="3785293199" sldId="445"/>
            <ac:cxnSpMk id="26" creationId="{E0400683-ABD0-44CD-A290-42A6F4B8ADBF}"/>
          </ac:cxnSpMkLst>
        </pc:cxnChg>
        <pc:cxnChg chg="mod">
          <ac:chgData name="Matthieu Mabyre" userId="52a89cab-5e6b-49ac-8601-6d3bc79d567b" providerId="ADAL" clId="{159E7C2A-98AF-4A97-9389-7421C3C1E53F}" dt="2020-11-18T08:40:44.375" v="7733"/>
          <ac:cxnSpMkLst>
            <pc:docMk/>
            <pc:sldMk cId="3785293199" sldId="445"/>
            <ac:cxnSpMk id="28" creationId="{7E176FA6-7F35-4FD5-BCD2-7C2136CFFAA3}"/>
          </ac:cxnSpMkLst>
        </pc:cxnChg>
        <pc:cxnChg chg="mod">
          <ac:chgData name="Matthieu Mabyre" userId="52a89cab-5e6b-49ac-8601-6d3bc79d567b" providerId="ADAL" clId="{159E7C2A-98AF-4A97-9389-7421C3C1E53F}" dt="2020-11-18T08:41:24.577" v="7734"/>
          <ac:cxnSpMkLst>
            <pc:docMk/>
            <pc:sldMk cId="3785293199" sldId="445"/>
            <ac:cxnSpMk id="30" creationId="{0ED2CC6C-47B4-4325-8655-C3CC64AEE9D2}"/>
          </ac:cxnSpMkLst>
        </pc:cxnChg>
      </pc:sldChg>
      <pc:sldChg chg="addSp delSp modSp mod">
        <pc:chgData name="Matthieu Mabyre" userId="52a89cab-5e6b-49ac-8601-6d3bc79d567b" providerId="ADAL" clId="{159E7C2A-98AF-4A97-9389-7421C3C1E53F}" dt="2020-11-17T21:36:58.074" v="7028" actId="20577"/>
        <pc:sldMkLst>
          <pc:docMk/>
          <pc:sldMk cId="2762800380" sldId="448"/>
        </pc:sldMkLst>
        <pc:spChg chg="del">
          <ac:chgData name="Matthieu Mabyre" userId="52a89cab-5e6b-49ac-8601-6d3bc79d567b" providerId="ADAL" clId="{159E7C2A-98AF-4A97-9389-7421C3C1E53F}" dt="2020-11-17T21:36:37.094" v="7009" actId="478"/>
          <ac:spMkLst>
            <pc:docMk/>
            <pc:sldMk cId="2762800380" sldId="448"/>
            <ac:spMk id="3" creationId="{98D1E8A3-4356-4FAE-AAEF-7F6B02BC8ADE}"/>
          </ac:spMkLst>
        </pc:spChg>
        <pc:spChg chg="add mod">
          <ac:chgData name="Matthieu Mabyre" userId="52a89cab-5e6b-49ac-8601-6d3bc79d567b" providerId="ADAL" clId="{159E7C2A-98AF-4A97-9389-7421C3C1E53F}" dt="2020-11-17T18:30:33.983" v="4988" actId="14100"/>
          <ac:spMkLst>
            <pc:docMk/>
            <pc:sldMk cId="2762800380" sldId="448"/>
            <ac:spMk id="5" creationId="{AC47A9DA-69B3-41AB-B9FE-CF9AF26CE056}"/>
          </ac:spMkLst>
        </pc:spChg>
        <pc:spChg chg="mod">
          <ac:chgData name="Matthieu Mabyre" userId="52a89cab-5e6b-49ac-8601-6d3bc79d567b" providerId="ADAL" clId="{159E7C2A-98AF-4A97-9389-7421C3C1E53F}" dt="2020-11-17T18:29:33.241" v="4971" actId="14100"/>
          <ac:spMkLst>
            <pc:docMk/>
            <pc:sldMk cId="2762800380" sldId="448"/>
            <ac:spMk id="8" creationId="{0F250931-7AE3-41E3-A718-D4E1AD2BB6FC}"/>
          </ac:spMkLst>
        </pc:spChg>
        <pc:spChg chg="mod">
          <ac:chgData name="Matthieu Mabyre" userId="52a89cab-5e6b-49ac-8601-6d3bc79d567b" providerId="ADAL" clId="{159E7C2A-98AF-4A97-9389-7421C3C1E53F}" dt="2020-11-17T18:29:54.084" v="4977" actId="14100"/>
          <ac:spMkLst>
            <pc:docMk/>
            <pc:sldMk cId="2762800380" sldId="448"/>
            <ac:spMk id="11" creationId="{5109CF6C-4157-403A-8F06-2DA5CB32E773}"/>
          </ac:spMkLst>
        </pc:spChg>
        <pc:spChg chg="mod">
          <ac:chgData name="Matthieu Mabyre" userId="52a89cab-5e6b-49ac-8601-6d3bc79d567b" providerId="ADAL" clId="{159E7C2A-98AF-4A97-9389-7421C3C1E53F}" dt="2020-11-17T18:31:03.839" v="4991" actId="1035"/>
          <ac:spMkLst>
            <pc:docMk/>
            <pc:sldMk cId="2762800380" sldId="448"/>
            <ac:spMk id="19" creationId="{8D9A2195-E46A-4A5C-BD11-87B61401C498}"/>
          </ac:spMkLst>
        </pc:spChg>
        <pc:spChg chg="mod">
          <ac:chgData name="Matthieu Mabyre" userId="52a89cab-5e6b-49ac-8601-6d3bc79d567b" providerId="ADAL" clId="{159E7C2A-98AF-4A97-9389-7421C3C1E53F}" dt="2020-11-13T23:59:15.446" v="2540" actId="313"/>
          <ac:spMkLst>
            <pc:docMk/>
            <pc:sldMk cId="2762800380" sldId="448"/>
            <ac:spMk id="33" creationId="{7E419731-076B-4D82-8967-EC2E7DAF53F2}"/>
          </ac:spMkLst>
        </pc:spChg>
        <pc:spChg chg="mod">
          <ac:chgData name="Matthieu Mabyre" userId="52a89cab-5e6b-49ac-8601-6d3bc79d567b" providerId="ADAL" clId="{159E7C2A-98AF-4A97-9389-7421C3C1E53F}" dt="2020-11-17T18:26:05.021" v="4933" actId="14100"/>
          <ac:spMkLst>
            <pc:docMk/>
            <pc:sldMk cId="2762800380" sldId="448"/>
            <ac:spMk id="41" creationId="{45964E5A-BE5E-45C2-8E43-74F4B9DD344A}"/>
          </ac:spMkLst>
        </pc:spChg>
        <pc:spChg chg="mod">
          <ac:chgData name="Matthieu Mabyre" userId="52a89cab-5e6b-49ac-8601-6d3bc79d567b" providerId="ADAL" clId="{159E7C2A-98AF-4A97-9389-7421C3C1E53F}" dt="2020-11-17T18:26:05.021" v="4933" actId="14100"/>
          <ac:spMkLst>
            <pc:docMk/>
            <pc:sldMk cId="2762800380" sldId="448"/>
            <ac:spMk id="44" creationId="{51E3BAEC-16CE-4528-B1C9-357E4FA66480}"/>
          </ac:spMkLst>
        </pc:spChg>
        <pc:spChg chg="mod">
          <ac:chgData name="Matthieu Mabyre" userId="52a89cab-5e6b-49ac-8601-6d3bc79d567b" providerId="ADAL" clId="{159E7C2A-98AF-4A97-9389-7421C3C1E53F}" dt="2020-11-17T18:26:05.021" v="4933" actId="14100"/>
          <ac:spMkLst>
            <pc:docMk/>
            <pc:sldMk cId="2762800380" sldId="448"/>
            <ac:spMk id="45" creationId="{EBCBCBD1-E21B-4393-8D88-21097657E3FB}"/>
          </ac:spMkLst>
        </pc:spChg>
        <pc:spChg chg="mod">
          <ac:chgData name="Matthieu Mabyre" userId="52a89cab-5e6b-49ac-8601-6d3bc79d567b" providerId="ADAL" clId="{159E7C2A-98AF-4A97-9389-7421C3C1E53F}" dt="2020-11-17T18:26:05.021" v="4933" actId="14100"/>
          <ac:spMkLst>
            <pc:docMk/>
            <pc:sldMk cId="2762800380" sldId="448"/>
            <ac:spMk id="46" creationId="{706A9863-1AD8-497E-8475-4F9C3C938702}"/>
          </ac:spMkLst>
        </pc:spChg>
        <pc:spChg chg="mod">
          <ac:chgData name="Matthieu Mabyre" userId="52a89cab-5e6b-49ac-8601-6d3bc79d567b" providerId="ADAL" clId="{159E7C2A-98AF-4A97-9389-7421C3C1E53F}" dt="2020-11-17T18:26:05.021" v="4933" actId="14100"/>
          <ac:spMkLst>
            <pc:docMk/>
            <pc:sldMk cId="2762800380" sldId="448"/>
            <ac:spMk id="47" creationId="{6928B57C-8C22-45F2-AE7C-2AFDD3C368DB}"/>
          </ac:spMkLst>
        </pc:spChg>
        <pc:spChg chg="mod">
          <ac:chgData name="Matthieu Mabyre" userId="52a89cab-5e6b-49ac-8601-6d3bc79d567b" providerId="ADAL" clId="{159E7C2A-98AF-4A97-9389-7421C3C1E53F}" dt="2020-11-17T18:25:44.123" v="4932" actId="1037"/>
          <ac:spMkLst>
            <pc:docMk/>
            <pc:sldMk cId="2762800380" sldId="448"/>
            <ac:spMk id="48" creationId="{550B5241-A055-4A97-AFA6-0C804F2553E0}"/>
          </ac:spMkLst>
        </pc:spChg>
        <pc:spChg chg="mod">
          <ac:chgData name="Matthieu Mabyre" userId="52a89cab-5e6b-49ac-8601-6d3bc79d567b" providerId="ADAL" clId="{159E7C2A-98AF-4A97-9389-7421C3C1E53F}" dt="2020-11-17T21:36:58.074" v="7028" actId="20577"/>
          <ac:spMkLst>
            <pc:docMk/>
            <pc:sldMk cId="2762800380" sldId="448"/>
            <ac:spMk id="80" creationId="{6F5A7825-C260-4831-9B48-001AB9DF90D5}"/>
          </ac:spMkLst>
        </pc:spChg>
        <pc:grpChg chg="mod">
          <ac:chgData name="Matthieu Mabyre" userId="52a89cab-5e6b-49ac-8601-6d3bc79d567b" providerId="ADAL" clId="{159E7C2A-98AF-4A97-9389-7421C3C1E53F}" dt="2020-11-17T18:26:05.021" v="4933" actId="14100"/>
          <ac:grpSpMkLst>
            <pc:docMk/>
            <pc:sldMk cId="2762800380" sldId="448"/>
            <ac:grpSpMk id="12" creationId="{2FFA7AA6-EF1B-47F4-83B4-7ADD97B76433}"/>
          </ac:grpSpMkLst>
        </pc:grpChg>
        <pc:grpChg chg="mod">
          <ac:chgData name="Matthieu Mabyre" userId="52a89cab-5e6b-49ac-8601-6d3bc79d567b" providerId="ADAL" clId="{159E7C2A-98AF-4A97-9389-7421C3C1E53F}" dt="2020-11-17T18:26:05.021" v="4933" actId="14100"/>
          <ac:grpSpMkLst>
            <pc:docMk/>
            <pc:sldMk cId="2762800380" sldId="448"/>
            <ac:grpSpMk id="42" creationId="{88DAE97C-633A-4A00-9D3B-FF12DDC9AD78}"/>
          </ac:grpSpMkLst>
        </pc:grpChg>
        <pc:picChg chg="add mod ord">
          <ac:chgData name="Matthieu Mabyre" userId="52a89cab-5e6b-49ac-8601-6d3bc79d567b" providerId="ADAL" clId="{159E7C2A-98AF-4A97-9389-7421C3C1E53F}" dt="2020-11-17T18:28:56.202" v="4956" actId="167"/>
          <ac:picMkLst>
            <pc:docMk/>
            <pc:sldMk cId="2762800380" sldId="448"/>
            <ac:picMk id="4" creationId="{FA501815-6400-4834-B404-160D8E8A3AEE}"/>
          </ac:picMkLst>
        </pc:picChg>
      </pc:sldChg>
      <pc:sldChg chg="addSp delSp modSp mod">
        <pc:chgData name="Matthieu Mabyre" userId="52a89cab-5e6b-49ac-8601-6d3bc79d567b" providerId="ADAL" clId="{159E7C2A-98AF-4A97-9389-7421C3C1E53F}" dt="2020-11-17T20:15:44.522" v="5910" actId="478"/>
        <pc:sldMkLst>
          <pc:docMk/>
          <pc:sldMk cId="780727013" sldId="452"/>
        </pc:sldMkLst>
        <pc:spChg chg="del">
          <ac:chgData name="Matthieu Mabyre" userId="52a89cab-5e6b-49ac-8601-6d3bc79d567b" providerId="ADAL" clId="{159E7C2A-98AF-4A97-9389-7421C3C1E53F}" dt="2020-11-17T20:15:18.387" v="5909" actId="478"/>
          <ac:spMkLst>
            <pc:docMk/>
            <pc:sldMk cId="780727013" sldId="452"/>
            <ac:spMk id="4" creationId="{24AD8EF9-1BE7-4B8E-A226-46E27D9E7793}"/>
          </ac:spMkLst>
        </pc:spChg>
        <pc:spChg chg="mod">
          <ac:chgData name="Matthieu Mabyre" userId="52a89cab-5e6b-49ac-8601-6d3bc79d567b" providerId="ADAL" clId="{159E7C2A-98AF-4A97-9389-7421C3C1E53F}" dt="2020-11-17T18:51:29.608" v="5321" actId="1036"/>
          <ac:spMkLst>
            <pc:docMk/>
            <pc:sldMk cId="780727013" sldId="452"/>
            <ac:spMk id="8" creationId="{002C3AD6-2F5E-4534-B638-C704D9D3D569}"/>
          </ac:spMkLst>
        </pc:spChg>
        <pc:spChg chg="mod">
          <ac:chgData name="Matthieu Mabyre" userId="52a89cab-5e6b-49ac-8601-6d3bc79d567b" providerId="ADAL" clId="{159E7C2A-98AF-4A97-9389-7421C3C1E53F}" dt="2020-11-17T18:52:02.537" v="5330" actId="14100"/>
          <ac:spMkLst>
            <pc:docMk/>
            <pc:sldMk cId="780727013" sldId="452"/>
            <ac:spMk id="9" creationId="{BE896D1A-4DC9-460D-A48A-70595726F044}"/>
          </ac:spMkLst>
        </pc:spChg>
        <pc:spChg chg="mod">
          <ac:chgData name="Matthieu Mabyre" userId="52a89cab-5e6b-49ac-8601-6d3bc79d567b" providerId="ADAL" clId="{159E7C2A-98AF-4A97-9389-7421C3C1E53F}" dt="2020-11-17T18:51:49.751" v="5326" actId="14100"/>
          <ac:spMkLst>
            <pc:docMk/>
            <pc:sldMk cId="780727013" sldId="452"/>
            <ac:spMk id="11" creationId="{0B94B40B-7832-46D5-B46C-5B66F529AF88}"/>
          </ac:spMkLst>
        </pc:spChg>
        <pc:spChg chg="mod">
          <ac:chgData name="Matthieu Mabyre" userId="52a89cab-5e6b-49ac-8601-6d3bc79d567b" providerId="ADAL" clId="{159E7C2A-98AF-4A97-9389-7421C3C1E53F}" dt="2020-11-17T20:15:16.257" v="5908" actId="20577"/>
          <ac:spMkLst>
            <pc:docMk/>
            <pc:sldMk cId="780727013" sldId="452"/>
            <ac:spMk id="15" creationId="{7F764852-256F-49DF-B500-7AB466E1A418}"/>
          </ac:spMkLst>
        </pc:spChg>
        <pc:spChg chg="mod">
          <ac:chgData name="Matthieu Mabyre" userId="52a89cab-5e6b-49ac-8601-6d3bc79d567b" providerId="ADAL" clId="{159E7C2A-98AF-4A97-9389-7421C3C1E53F}" dt="2020-11-17T18:52:10.079" v="5333" actId="1035"/>
          <ac:spMkLst>
            <pc:docMk/>
            <pc:sldMk cId="780727013" sldId="452"/>
            <ac:spMk id="19" creationId="{A5637282-18F0-4AB5-8A7A-D839BEAE8C8E}"/>
          </ac:spMkLst>
        </pc:spChg>
        <pc:spChg chg="mod">
          <ac:chgData name="Matthieu Mabyre" userId="52a89cab-5e6b-49ac-8601-6d3bc79d567b" providerId="ADAL" clId="{159E7C2A-98AF-4A97-9389-7421C3C1E53F}" dt="2020-11-17T18:50:12.761" v="5285" actId="20577"/>
          <ac:spMkLst>
            <pc:docMk/>
            <pc:sldMk cId="780727013" sldId="452"/>
            <ac:spMk id="28" creationId="{DE1FCFDF-848D-4479-B9CD-70D6D0FD7B86}"/>
          </ac:spMkLst>
        </pc:spChg>
        <pc:spChg chg="mod">
          <ac:chgData name="Matthieu Mabyre" userId="52a89cab-5e6b-49ac-8601-6d3bc79d567b" providerId="ADAL" clId="{159E7C2A-98AF-4A97-9389-7421C3C1E53F}" dt="2020-11-13T23:59:16.913" v="2541" actId="313"/>
          <ac:spMkLst>
            <pc:docMk/>
            <pc:sldMk cId="780727013" sldId="452"/>
            <ac:spMk id="44" creationId="{AECEF63A-8D6D-434A-B98F-757CEABB2C56}"/>
          </ac:spMkLst>
        </pc:spChg>
        <pc:graphicFrameChg chg="add ord">
          <ac:chgData name="Matthieu Mabyre" userId="52a89cab-5e6b-49ac-8601-6d3bc79d567b" providerId="ADAL" clId="{159E7C2A-98AF-4A97-9389-7421C3C1E53F}" dt="2020-11-17T20:08:24.842" v="5685" actId="167"/>
          <ac:graphicFrameMkLst>
            <pc:docMk/>
            <pc:sldMk cId="780727013" sldId="452"/>
            <ac:graphicFrameMk id="6" creationId="{23E94604-D1AD-4603-96E5-4A4CDF27D10D}"/>
          </ac:graphicFrameMkLst>
        </pc:graphicFrameChg>
        <pc:graphicFrameChg chg="mod modGraphic">
          <ac:chgData name="Matthieu Mabyre" userId="52a89cab-5e6b-49ac-8601-6d3bc79d567b" providerId="ADAL" clId="{159E7C2A-98AF-4A97-9389-7421C3C1E53F}" dt="2020-11-17T20:10:13.565" v="5711" actId="20577"/>
          <ac:graphicFrameMkLst>
            <pc:docMk/>
            <pc:sldMk cId="780727013" sldId="452"/>
            <ac:graphicFrameMk id="10" creationId="{215B3BAA-C7A4-4B52-A79A-C282D5DEF2CC}"/>
          </ac:graphicFrameMkLst>
        </pc:graphicFrameChg>
        <pc:picChg chg="del">
          <ac:chgData name="Matthieu Mabyre" userId="52a89cab-5e6b-49ac-8601-6d3bc79d567b" providerId="ADAL" clId="{159E7C2A-98AF-4A97-9389-7421C3C1E53F}" dt="2020-11-17T20:15:44.522" v="5910" actId="478"/>
          <ac:picMkLst>
            <pc:docMk/>
            <pc:sldMk cId="780727013" sldId="452"/>
            <ac:picMk id="3" creationId="{00000000-0000-0000-0000-000000000000}"/>
          </ac:picMkLst>
        </pc:picChg>
        <pc:picChg chg="add mod ord">
          <ac:chgData name="Matthieu Mabyre" userId="52a89cab-5e6b-49ac-8601-6d3bc79d567b" providerId="ADAL" clId="{159E7C2A-98AF-4A97-9389-7421C3C1E53F}" dt="2020-11-17T18:51:03.156" v="5292" actId="1076"/>
          <ac:picMkLst>
            <pc:docMk/>
            <pc:sldMk cId="780727013" sldId="452"/>
            <ac:picMk id="5" creationId="{34A73AB5-F9C4-4239-A889-F22473B4A71E}"/>
          </ac:picMkLst>
        </pc:picChg>
      </pc:sldChg>
      <pc:sldChg chg="addSp delSp modSp mod">
        <pc:chgData name="Matthieu Mabyre" userId="52a89cab-5e6b-49ac-8601-6d3bc79d567b" providerId="ADAL" clId="{159E7C2A-98AF-4A97-9389-7421C3C1E53F}" dt="2020-11-18T11:56:18.862" v="7921" actId="1035"/>
        <pc:sldMkLst>
          <pc:docMk/>
          <pc:sldMk cId="3773836689" sldId="491"/>
        </pc:sldMkLst>
        <pc:spChg chg="add del mod">
          <ac:chgData name="Matthieu Mabyre" userId="52a89cab-5e6b-49ac-8601-6d3bc79d567b" providerId="ADAL" clId="{159E7C2A-98AF-4A97-9389-7421C3C1E53F}" dt="2020-11-18T11:45:41.087" v="7806"/>
          <ac:spMkLst>
            <pc:docMk/>
            <pc:sldMk cId="3773836689" sldId="491"/>
            <ac:spMk id="8" creationId="{5B88990F-88D4-409D-ABAC-9198B4A956D4}"/>
          </ac:spMkLst>
        </pc:spChg>
        <pc:spChg chg="add del mod">
          <ac:chgData name="Matthieu Mabyre" userId="52a89cab-5e6b-49ac-8601-6d3bc79d567b" providerId="ADAL" clId="{159E7C2A-98AF-4A97-9389-7421C3C1E53F}" dt="2020-11-18T11:45:41.087" v="7806"/>
          <ac:spMkLst>
            <pc:docMk/>
            <pc:sldMk cId="3773836689" sldId="491"/>
            <ac:spMk id="9" creationId="{2BD7196F-2E66-4309-BFD7-BC0682676E0B}"/>
          </ac:spMkLst>
        </pc:spChg>
        <pc:spChg chg="add del mod">
          <ac:chgData name="Matthieu Mabyre" userId="52a89cab-5e6b-49ac-8601-6d3bc79d567b" providerId="ADAL" clId="{159E7C2A-98AF-4A97-9389-7421C3C1E53F}" dt="2020-11-18T11:45:41.087" v="7806"/>
          <ac:spMkLst>
            <pc:docMk/>
            <pc:sldMk cId="3773836689" sldId="491"/>
            <ac:spMk id="10" creationId="{8C64C94B-A03B-4082-B525-3BB978F715AE}"/>
          </ac:spMkLst>
        </pc:spChg>
        <pc:spChg chg="add del mod">
          <ac:chgData name="Matthieu Mabyre" userId="52a89cab-5e6b-49ac-8601-6d3bc79d567b" providerId="ADAL" clId="{159E7C2A-98AF-4A97-9389-7421C3C1E53F}" dt="2020-11-18T11:45:41.087" v="7806"/>
          <ac:spMkLst>
            <pc:docMk/>
            <pc:sldMk cId="3773836689" sldId="491"/>
            <ac:spMk id="11" creationId="{AC90C4A2-CF47-4020-9154-7F7A1D5D519C}"/>
          </ac:spMkLst>
        </pc:spChg>
        <pc:spChg chg="add del mod">
          <ac:chgData name="Matthieu Mabyre" userId="52a89cab-5e6b-49ac-8601-6d3bc79d567b" providerId="ADAL" clId="{159E7C2A-98AF-4A97-9389-7421C3C1E53F}" dt="2020-11-18T11:45:41.087" v="7806"/>
          <ac:spMkLst>
            <pc:docMk/>
            <pc:sldMk cId="3773836689" sldId="491"/>
            <ac:spMk id="16" creationId="{49182A42-9D71-43C2-9C9B-E1E0B9ED3FDD}"/>
          </ac:spMkLst>
        </pc:spChg>
        <pc:spChg chg="add del mod">
          <ac:chgData name="Matthieu Mabyre" userId="52a89cab-5e6b-49ac-8601-6d3bc79d567b" providerId="ADAL" clId="{159E7C2A-98AF-4A97-9389-7421C3C1E53F}" dt="2020-11-18T11:45:41.087" v="7806"/>
          <ac:spMkLst>
            <pc:docMk/>
            <pc:sldMk cId="3773836689" sldId="491"/>
            <ac:spMk id="17" creationId="{7397B216-0D47-4678-84CD-5F2DB5834170}"/>
          </ac:spMkLst>
        </pc:spChg>
        <pc:spChg chg="add del mod">
          <ac:chgData name="Matthieu Mabyre" userId="52a89cab-5e6b-49ac-8601-6d3bc79d567b" providerId="ADAL" clId="{159E7C2A-98AF-4A97-9389-7421C3C1E53F}" dt="2020-11-18T11:45:41.087" v="7806"/>
          <ac:spMkLst>
            <pc:docMk/>
            <pc:sldMk cId="3773836689" sldId="491"/>
            <ac:spMk id="19" creationId="{2F17C589-FE49-4F0F-9BE9-F3E06F0B962A}"/>
          </ac:spMkLst>
        </pc:spChg>
        <pc:spChg chg="add del mod">
          <ac:chgData name="Matthieu Mabyre" userId="52a89cab-5e6b-49ac-8601-6d3bc79d567b" providerId="ADAL" clId="{159E7C2A-98AF-4A97-9389-7421C3C1E53F}" dt="2020-11-18T11:45:41.087" v="7806"/>
          <ac:spMkLst>
            <pc:docMk/>
            <pc:sldMk cId="3773836689" sldId="491"/>
            <ac:spMk id="20" creationId="{06A7BA2B-2C09-4902-AD4A-0DE6E8E67391}"/>
          </ac:spMkLst>
        </pc:spChg>
        <pc:spChg chg="add del mod">
          <ac:chgData name="Matthieu Mabyre" userId="52a89cab-5e6b-49ac-8601-6d3bc79d567b" providerId="ADAL" clId="{159E7C2A-98AF-4A97-9389-7421C3C1E53F}" dt="2020-11-18T11:45:41.087" v="7806"/>
          <ac:spMkLst>
            <pc:docMk/>
            <pc:sldMk cId="3773836689" sldId="491"/>
            <ac:spMk id="21" creationId="{1D64B102-1087-4DDA-AF79-29D1BA1C2B43}"/>
          </ac:spMkLst>
        </pc:spChg>
        <pc:spChg chg="add del mod">
          <ac:chgData name="Matthieu Mabyre" userId="52a89cab-5e6b-49ac-8601-6d3bc79d567b" providerId="ADAL" clId="{159E7C2A-98AF-4A97-9389-7421C3C1E53F}" dt="2020-11-18T11:45:41.087" v="7806"/>
          <ac:spMkLst>
            <pc:docMk/>
            <pc:sldMk cId="3773836689" sldId="491"/>
            <ac:spMk id="22" creationId="{A0457C8A-5EFC-43DB-ABC8-3CDD21F8F2C6}"/>
          </ac:spMkLst>
        </pc:spChg>
        <pc:spChg chg="add del mod">
          <ac:chgData name="Matthieu Mabyre" userId="52a89cab-5e6b-49ac-8601-6d3bc79d567b" providerId="ADAL" clId="{159E7C2A-98AF-4A97-9389-7421C3C1E53F}" dt="2020-11-18T11:45:41.087" v="7806"/>
          <ac:spMkLst>
            <pc:docMk/>
            <pc:sldMk cId="3773836689" sldId="491"/>
            <ac:spMk id="23" creationId="{CE58C658-0174-49AE-AC57-767E002FDDDE}"/>
          </ac:spMkLst>
        </pc:spChg>
        <pc:spChg chg="add del mod">
          <ac:chgData name="Matthieu Mabyre" userId="52a89cab-5e6b-49ac-8601-6d3bc79d567b" providerId="ADAL" clId="{159E7C2A-98AF-4A97-9389-7421C3C1E53F}" dt="2020-11-18T11:45:41.087" v="7806"/>
          <ac:spMkLst>
            <pc:docMk/>
            <pc:sldMk cId="3773836689" sldId="491"/>
            <ac:spMk id="24" creationId="{AC9534D5-A06B-427A-89A5-51B2452C58AE}"/>
          </ac:spMkLst>
        </pc:spChg>
        <pc:spChg chg="add del mod">
          <ac:chgData name="Matthieu Mabyre" userId="52a89cab-5e6b-49ac-8601-6d3bc79d567b" providerId="ADAL" clId="{159E7C2A-98AF-4A97-9389-7421C3C1E53F}" dt="2020-11-18T11:45:41.087" v="7806"/>
          <ac:spMkLst>
            <pc:docMk/>
            <pc:sldMk cId="3773836689" sldId="491"/>
            <ac:spMk id="25" creationId="{BBD66D34-D978-4EF1-99BB-5A255DC98B72}"/>
          </ac:spMkLst>
        </pc:spChg>
        <pc:spChg chg="add del mod">
          <ac:chgData name="Matthieu Mabyre" userId="52a89cab-5e6b-49ac-8601-6d3bc79d567b" providerId="ADAL" clId="{159E7C2A-98AF-4A97-9389-7421C3C1E53F}" dt="2020-11-18T11:45:41.087" v="7806"/>
          <ac:spMkLst>
            <pc:docMk/>
            <pc:sldMk cId="3773836689" sldId="491"/>
            <ac:spMk id="26" creationId="{C3194FAD-DF79-4D6B-AF02-24E543599446}"/>
          </ac:spMkLst>
        </pc:spChg>
        <pc:spChg chg="add del mod">
          <ac:chgData name="Matthieu Mabyre" userId="52a89cab-5e6b-49ac-8601-6d3bc79d567b" providerId="ADAL" clId="{159E7C2A-98AF-4A97-9389-7421C3C1E53F}" dt="2020-11-18T11:45:41.087" v="7806"/>
          <ac:spMkLst>
            <pc:docMk/>
            <pc:sldMk cId="3773836689" sldId="491"/>
            <ac:spMk id="27" creationId="{7707AC69-C9B4-4676-9CEF-BBDC7A1054F0}"/>
          </ac:spMkLst>
        </pc:spChg>
        <pc:spChg chg="add del mod">
          <ac:chgData name="Matthieu Mabyre" userId="52a89cab-5e6b-49ac-8601-6d3bc79d567b" providerId="ADAL" clId="{159E7C2A-98AF-4A97-9389-7421C3C1E53F}" dt="2020-11-18T11:45:41.087" v="7806"/>
          <ac:spMkLst>
            <pc:docMk/>
            <pc:sldMk cId="3773836689" sldId="491"/>
            <ac:spMk id="28" creationId="{9E2EF8F2-1351-4676-8622-CB119729A5A4}"/>
          </ac:spMkLst>
        </pc:spChg>
        <pc:spChg chg="add del mod">
          <ac:chgData name="Matthieu Mabyre" userId="52a89cab-5e6b-49ac-8601-6d3bc79d567b" providerId="ADAL" clId="{159E7C2A-98AF-4A97-9389-7421C3C1E53F}" dt="2020-11-18T11:45:41.087" v="7806"/>
          <ac:spMkLst>
            <pc:docMk/>
            <pc:sldMk cId="3773836689" sldId="491"/>
            <ac:spMk id="29" creationId="{C5903CAB-6ECC-43BC-A6FA-27EF4869920F}"/>
          </ac:spMkLst>
        </pc:spChg>
        <pc:spChg chg="add del mod">
          <ac:chgData name="Matthieu Mabyre" userId="52a89cab-5e6b-49ac-8601-6d3bc79d567b" providerId="ADAL" clId="{159E7C2A-98AF-4A97-9389-7421C3C1E53F}" dt="2020-11-18T11:45:41.087" v="7806"/>
          <ac:spMkLst>
            <pc:docMk/>
            <pc:sldMk cId="3773836689" sldId="491"/>
            <ac:spMk id="30" creationId="{82BFBB5B-C5DD-447F-B8AB-08F32E9B858B}"/>
          </ac:spMkLst>
        </pc:spChg>
        <pc:spChg chg="add del mod">
          <ac:chgData name="Matthieu Mabyre" userId="52a89cab-5e6b-49ac-8601-6d3bc79d567b" providerId="ADAL" clId="{159E7C2A-98AF-4A97-9389-7421C3C1E53F}" dt="2020-11-18T11:45:41.087" v="7806"/>
          <ac:spMkLst>
            <pc:docMk/>
            <pc:sldMk cId="3773836689" sldId="491"/>
            <ac:spMk id="32" creationId="{01323602-7CB2-4E75-B887-CC4987292A50}"/>
          </ac:spMkLst>
        </pc:spChg>
        <pc:spChg chg="add del mod">
          <ac:chgData name="Matthieu Mabyre" userId="52a89cab-5e6b-49ac-8601-6d3bc79d567b" providerId="ADAL" clId="{159E7C2A-98AF-4A97-9389-7421C3C1E53F}" dt="2020-11-18T11:45:41.087" v="7806"/>
          <ac:spMkLst>
            <pc:docMk/>
            <pc:sldMk cId="3773836689" sldId="491"/>
            <ac:spMk id="33" creationId="{8A8FCE51-F265-4F93-8C35-F745F05012C2}"/>
          </ac:spMkLst>
        </pc:spChg>
        <pc:spChg chg="mod">
          <ac:chgData name="Matthieu Mabyre" userId="52a89cab-5e6b-49ac-8601-6d3bc79d567b" providerId="ADAL" clId="{159E7C2A-98AF-4A97-9389-7421C3C1E53F}" dt="2020-11-18T11:56:18.862" v="7921" actId="1035"/>
          <ac:spMkLst>
            <pc:docMk/>
            <pc:sldMk cId="3773836689" sldId="491"/>
            <ac:spMk id="39" creationId="{9B3B3C2B-2D6A-454B-9637-F6BD98B02D8E}"/>
          </ac:spMkLst>
        </pc:spChg>
        <pc:spChg chg="mod">
          <ac:chgData name="Matthieu Mabyre" userId="52a89cab-5e6b-49ac-8601-6d3bc79d567b" providerId="ADAL" clId="{159E7C2A-98AF-4A97-9389-7421C3C1E53F}" dt="2020-11-18T11:56:18.862" v="7921" actId="1035"/>
          <ac:spMkLst>
            <pc:docMk/>
            <pc:sldMk cId="3773836689" sldId="491"/>
            <ac:spMk id="40" creationId="{062DBB7B-8D0C-4648-A550-81B348C37DC4}"/>
          </ac:spMkLst>
        </pc:spChg>
        <pc:picChg chg="mod">
          <ac:chgData name="Matthieu Mabyre" userId="52a89cab-5e6b-49ac-8601-6d3bc79d567b" providerId="ADAL" clId="{159E7C2A-98AF-4A97-9389-7421C3C1E53F}" dt="2020-11-18T11:52:16.746" v="7882" actId="1037"/>
          <ac:picMkLst>
            <pc:docMk/>
            <pc:sldMk cId="3773836689" sldId="491"/>
            <ac:picMk id="3" creationId="{622A6F41-DCE6-4E65-AEE1-81C044D9C2C1}"/>
          </ac:picMkLst>
        </pc:picChg>
        <pc:picChg chg="add del mod">
          <ac:chgData name="Matthieu Mabyre" userId="52a89cab-5e6b-49ac-8601-6d3bc79d567b" providerId="ADAL" clId="{159E7C2A-98AF-4A97-9389-7421C3C1E53F}" dt="2020-11-18T11:45:41.087" v="7806"/>
          <ac:picMkLst>
            <pc:docMk/>
            <pc:sldMk cId="3773836689" sldId="491"/>
            <ac:picMk id="6" creationId="{E2F15AC4-B2D9-41E2-A219-A2200923B228}"/>
          </ac:picMkLst>
        </pc:picChg>
        <pc:picChg chg="add del mod">
          <ac:chgData name="Matthieu Mabyre" userId="52a89cab-5e6b-49ac-8601-6d3bc79d567b" providerId="ADAL" clId="{159E7C2A-98AF-4A97-9389-7421C3C1E53F}" dt="2020-11-18T11:45:41.087" v="7806"/>
          <ac:picMkLst>
            <pc:docMk/>
            <pc:sldMk cId="3773836689" sldId="491"/>
            <ac:picMk id="34" creationId="{97C60BDF-E1C4-4047-9EF6-EFBBF5D542B0}"/>
          </ac:picMkLst>
        </pc:picChg>
        <pc:cxnChg chg="add del mod">
          <ac:chgData name="Matthieu Mabyre" userId="52a89cab-5e6b-49ac-8601-6d3bc79d567b" providerId="ADAL" clId="{159E7C2A-98AF-4A97-9389-7421C3C1E53F}" dt="2020-11-18T11:45:41.087" v="7806"/>
          <ac:cxnSpMkLst>
            <pc:docMk/>
            <pc:sldMk cId="3773836689" sldId="491"/>
            <ac:cxnSpMk id="12" creationId="{490974EE-B833-48B5-A109-0231159C972C}"/>
          </ac:cxnSpMkLst>
        </pc:cxnChg>
        <pc:cxnChg chg="add del mod">
          <ac:chgData name="Matthieu Mabyre" userId="52a89cab-5e6b-49ac-8601-6d3bc79d567b" providerId="ADAL" clId="{159E7C2A-98AF-4A97-9389-7421C3C1E53F}" dt="2020-11-18T11:45:41.087" v="7806"/>
          <ac:cxnSpMkLst>
            <pc:docMk/>
            <pc:sldMk cId="3773836689" sldId="491"/>
            <ac:cxnSpMk id="13" creationId="{F045FB11-B650-4293-9718-75A85D1ECA80}"/>
          </ac:cxnSpMkLst>
        </pc:cxnChg>
        <pc:cxnChg chg="add del mod">
          <ac:chgData name="Matthieu Mabyre" userId="52a89cab-5e6b-49ac-8601-6d3bc79d567b" providerId="ADAL" clId="{159E7C2A-98AF-4A97-9389-7421C3C1E53F}" dt="2020-11-18T11:45:41.087" v="7806"/>
          <ac:cxnSpMkLst>
            <pc:docMk/>
            <pc:sldMk cId="3773836689" sldId="491"/>
            <ac:cxnSpMk id="14" creationId="{714AECAC-2A3C-4218-82BC-EAEDDB9B458E}"/>
          </ac:cxnSpMkLst>
        </pc:cxnChg>
        <pc:cxnChg chg="add del mod">
          <ac:chgData name="Matthieu Mabyre" userId="52a89cab-5e6b-49ac-8601-6d3bc79d567b" providerId="ADAL" clId="{159E7C2A-98AF-4A97-9389-7421C3C1E53F}" dt="2020-11-18T11:45:41.087" v="7806"/>
          <ac:cxnSpMkLst>
            <pc:docMk/>
            <pc:sldMk cId="3773836689" sldId="491"/>
            <ac:cxnSpMk id="15" creationId="{30C65F10-6111-4989-96C0-14CDDF06E490}"/>
          </ac:cxnSpMkLst>
        </pc:cxnChg>
        <pc:cxnChg chg="add del mod">
          <ac:chgData name="Matthieu Mabyre" userId="52a89cab-5e6b-49ac-8601-6d3bc79d567b" providerId="ADAL" clId="{159E7C2A-98AF-4A97-9389-7421C3C1E53F}" dt="2020-11-18T11:45:41.087" v="7806"/>
          <ac:cxnSpMkLst>
            <pc:docMk/>
            <pc:sldMk cId="3773836689" sldId="491"/>
            <ac:cxnSpMk id="18" creationId="{247124FC-020B-4CF8-9779-52F0C35771E8}"/>
          </ac:cxnSpMkLst>
        </pc:cxnChg>
        <pc:cxnChg chg="add del mod">
          <ac:chgData name="Matthieu Mabyre" userId="52a89cab-5e6b-49ac-8601-6d3bc79d567b" providerId="ADAL" clId="{159E7C2A-98AF-4A97-9389-7421C3C1E53F}" dt="2020-11-18T11:45:41.087" v="7806"/>
          <ac:cxnSpMkLst>
            <pc:docMk/>
            <pc:sldMk cId="3773836689" sldId="491"/>
            <ac:cxnSpMk id="31" creationId="{C8865CAF-0351-491A-9F74-2882750DF546}"/>
          </ac:cxnSpMkLst>
        </pc:cxnChg>
        <pc:cxnChg chg="add del mod">
          <ac:chgData name="Matthieu Mabyre" userId="52a89cab-5e6b-49ac-8601-6d3bc79d567b" providerId="ADAL" clId="{159E7C2A-98AF-4A97-9389-7421C3C1E53F}" dt="2020-11-18T11:45:41.087" v="7806"/>
          <ac:cxnSpMkLst>
            <pc:docMk/>
            <pc:sldMk cId="3773836689" sldId="491"/>
            <ac:cxnSpMk id="35" creationId="{F3E52FAD-5DC3-4391-AF3F-E14CF80ED0E9}"/>
          </ac:cxnSpMkLst>
        </pc:cxnChg>
      </pc:sldChg>
      <pc:sldChg chg="addSp delSp modSp mod">
        <pc:chgData name="Matthieu Mabyre" userId="52a89cab-5e6b-49ac-8601-6d3bc79d567b" providerId="ADAL" clId="{159E7C2A-98AF-4A97-9389-7421C3C1E53F}" dt="2020-11-18T13:56:03.809" v="7951" actId="20577"/>
        <pc:sldMkLst>
          <pc:docMk/>
          <pc:sldMk cId="467378802" sldId="492"/>
        </pc:sldMkLst>
        <pc:spChg chg="mod">
          <ac:chgData name="Matthieu Mabyre" userId="52a89cab-5e6b-49ac-8601-6d3bc79d567b" providerId="ADAL" clId="{159E7C2A-98AF-4A97-9389-7421C3C1E53F}" dt="2020-11-17T20:01:47.287" v="5408" actId="14100"/>
          <ac:spMkLst>
            <pc:docMk/>
            <pc:sldMk cId="467378802" sldId="492"/>
            <ac:spMk id="2" creationId="{00000000-0000-0000-0000-000000000000}"/>
          </ac:spMkLst>
        </pc:spChg>
        <pc:spChg chg="del mod">
          <ac:chgData name="Matthieu Mabyre" userId="52a89cab-5e6b-49ac-8601-6d3bc79d567b" providerId="ADAL" clId="{159E7C2A-98AF-4A97-9389-7421C3C1E53F}" dt="2020-11-17T21:14:09.728" v="6443" actId="478"/>
          <ac:spMkLst>
            <pc:docMk/>
            <pc:sldMk cId="467378802" sldId="492"/>
            <ac:spMk id="3" creationId="{85923F3F-F16F-4487-8444-B083EDBE975B}"/>
          </ac:spMkLst>
        </pc:spChg>
        <pc:spChg chg="mod">
          <ac:chgData name="Matthieu Mabyre" userId="52a89cab-5e6b-49ac-8601-6d3bc79d567b" providerId="ADAL" clId="{159E7C2A-98AF-4A97-9389-7421C3C1E53F}" dt="2020-11-18T13:56:03.809" v="7951" actId="20577"/>
          <ac:spMkLst>
            <pc:docMk/>
            <pc:sldMk cId="467378802" sldId="492"/>
            <ac:spMk id="7" creationId="{B633BA49-44C2-41E0-8A5F-10881248D9C0}"/>
          </ac:spMkLst>
        </pc:spChg>
        <pc:spChg chg="mod">
          <ac:chgData name="Matthieu Mabyre" userId="52a89cab-5e6b-49ac-8601-6d3bc79d567b" providerId="ADAL" clId="{159E7C2A-98AF-4A97-9389-7421C3C1E53F}" dt="2020-11-17T20:25:44.223" v="5982" actId="1036"/>
          <ac:spMkLst>
            <pc:docMk/>
            <pc:sldMk cId="467378802" sldId="492"/>
            <ac:spMk id="9" creationId="{00000000-0000-0000-0000-000000000000}"/>
          </ac:spMkLst>
        </pc:spChg>
        <pc:spChg chg="mod">
          <ac:chgData name="Matthieu Mabyre" userId="52a89cab-5e6b-49ac-8601-6d3bc79d567b" providerId="ADAL" clId="{159E7C2A-98AF-4A97-9389-7421C3C1E53F}" dt="2020-11-17T20:25:49.488" v="5989" actId="1036"/>
          <ac:spMkLst>
            <pc:docMk/>
            <pc:sldMk cId="467378802" sldId="492"/>
            <ac:spMk id="11" creationId="{00000000-0000-0000-0000-000000000000}"/>
          </ac:spMkLst>
        </pc:spChg>
        <pc:spChg chg="mod">
          <ac:chgData name="Matthieu Mabyre" userId="52a89cab-5e6b-49ac-8601-6d3bc79d567b" providerId="ADAL" clId="{159E7C2A-98AF-4A97-9389-7421C3C1E53F}" dt="2020-11-17T20:02:28.976" v="5459" actId="1035"/>
          <ac:spMkLst>
            <pc:docMk/>
            <pc:sldMk cId="467378802" sldId="492"/>
            <ac:spMk id="13" creationId="{00000000-0000-0000-0000-000000000000}"/>
          </ac:spMkLst>
        </pc:spChg>
        <pc:spChg chg="mod">
          <ac:chgData name="Matthieu Mabyre" userId="52a89cab-5e6b-49ac-8601-6d3bc79d567b" providerId="ADAL" clId="{159E7C2A-98AF-4A97-9389-7421C3C1E53F}" dt="2020-11-17T20:02:28.976" v="5459" actId="1035"/>
          <ac:spMkLst>
            <pc:docMk/>
            <pc:sldMk cId="467378802" sldId="492"/>
            <ac:spMk id="15" creationId="{00000000-0000-0000-0000-000000000000}"/>
          </ac:spMkLst>
        </pc:spChg>
        <pc:spChg chg="mod">
          <ac:chgData name="Matthieu Mabyre" userId="52a89cab-5e6b-49ac-8601-6d3bc79d567b" providerId="ADAL" clId="{159E7C2A-98AF-4A97-9389-7421C3C1E53F}" dt="2020-11-17T20:25:49.488" v="5989" actId="1036"/>
          <ac:spMkLst>
            <pc:docMk/>
            <pc:sldMk cId="467378802" sldId="492"/>
            <ac:spMk id="24" creationId="{00000000-0000-0000-0000-000000000000}"/>
          </ac:spMkLst>
        </pc:spChg>
        <pc:spChg chg="mod">
          <ac:chgData name="Matthieu Mabyre" userId="52a89cab-5e6b-49ac-8601-6d3bc79d567b" providerId="ADAL" clId="{159E7C2A-98AF-4A97-9389-7421C3C1E53F}" dt="2020-11-17T20:25:49.488" v="5989" actId="1036"/>
          <ac:spMkLst>
            <pc:docMk/>
            <pc:sldMk cId="467378802" sldId="492"/>
            <ac:spMk id="25" creationId="{00000000-0000-0000-0000-000000000000}"/>
          </ac:spMkLst>
        </pc:spChg>
        <pc:graphicFrameChg chg="add mod ord">
          <ac:chgData name="Matthieu Mabyre" userId="52a89cab-5e6b-49ac-8601-6d3bc79d567b" providerId="ADAL" clId="{159E7C2A-98AF-4A97-9389-7421C3C1E53F}" dt="2020-11-17T20:03:29.359" v="5566" actId="1036"/>
          <ac:graphicFrameMkLst>
            <pc:docMk/>
            <pc:sldMk cId="467378802" sldId="492"/>
            <ac:graphicFrameMk id="17" creationId="{A2648FBE-DCE0-4559-8ABD-3D29073B5A84}"/>
          </ac:graphicFrameMkLst>
        </pc:graphicFrameChg>
        <pc:graphicFrameChg chg="mod modGraphic">
          <ac:chgData name="Matthieu Mabyre" userId="52a89cab-5e6b-49ac-8601-6d3bc79d567b" providerId="ADAL" clId="{159E7C2A-98AF-4A97-9389-7421C3C1E53F}" dt="2020-11-17T20:25:49.488" v="5989" actId="1036"/>
          <ac:graphicFrameMkLst>
            <pc:docMk/>
            <pc:sldMk cId="467378802" sldId="492"/>
            <ac:graphicFrameMk id="20" creationId="{C706CF1C-16BE-40AB-AD10-3D3B1B2FD25F}"/>
          </ac:graphicFrameMkLst>
        </pc:graphicFrameChg>
        <pc:graphicFrameChg chg="mod modGraphic">
          <ac:chgData name="Matthieu Mabyre" userId="52a89cab-5e6b-49ac-8601-6d3bc79d567b" providerId="ADAL" clId="{159E7C2A-98AF-4A97-9389-7421C3C1E53F}" dt="2020-11-17T20:25:49.488" v="5989" actId="1036"/>
          <ac:graphicFrameMkLst>
            <pc:docMk/>
            <pc:sldMk cId="467378802" sldId="492"/>
            <ac:graphicFrameMk id="22" creationId="{25ADC611-E4BA-4F2F-9BF9-A6228171DDE2}"/>
          </ac:graphicFrameMkLst>
        </pc:graphicFrameChg>
        <pc:graphicFrameChg chg="mod modGraphic">
          <ac:chgData name="Matthieu Mabyre" userId="52a89cab-5e6b-49ac-8601-6d3bc79d567b" providerId="ADAL" clId="{159E7C2A-98AF-4A97-9389-7421C3C1E53F}" dt="2020-11-17T21:11:29.834" v="6328" actId="13926"/>
          <ac:graphicFrameMkLst>
            <pc:docMk/>
            <pc:sldMk cId="467378802" sldId="492"/>
            <ac:graphicFrameMk id="23" creationId="{00000000-0000-0000-0000-000000000000}"/>
          </ac:graphicFrameMkLst>
        </pc:graphicFrameChg>
        <pc:graphicFrameChg chg="mod modGraphic">
          <ac:chgData name="Matthieu Mabyre" userId="52a89cab-5e6b-49ac-8601-6d3bc79d567b" providerId="ADAL" clId="{159E7C2A-98AF-4A97-9389-7421C3C1E53F}" dt="2020-11-17T20:25:44.223" v="5982" actId="1036"/>
          <ac:graphicFrameMkLst>
            <pc:docMk/>
            <pc:sldMk cId="467378802" sldId="492"/>
            <ac:graphicFrameMk id="26" creationId="{A088A704-3458-4A85-A10E-CBFB205EDF51}"/>
          </ac:graphicFrameMkLst>
        </pc:graphicFrameChg>
        <pc:cxnChg chg="mod">
          <ac:chgData name="Matthieu Mabyre" userId="52a89cab-5e6b-49ac-8601-6d3bc79d567b" providerId="ADAL" clId="{159E7C2A-98AF-4A97-9389-7421C3C1E53F}" dt="2020-11-17T20:02:28.976" v="5459" actId="1035"/>
          <ac:cxnSpMkLst>
            <pc:docMk/>
            <pc:sldMk cId="467378802" sldId="492"/>
            <ac:cxnSpMk id="12" creationId="{00000000-0000-0000-0000-000000000000}"/>
          </ac:cxnSpMkLst>
        </pc:cxnChg>
        <pc:cxnChg chg="mod">
          <ac:chgData name="Matthieu Mabyre" userId="52a89cab-5e6b-49ac-8601-6d3bc79d567b" providerId="ADAL" clId="{159E7C2A-98AF-4A97-9389-7421C3C1E53F}" dt="2020-11-17T20:02:28.976" v="5459" actId="1035"/>
          <ac:cxnSpMkLst>
            <pc:docMk/>
            <pc:sldMk cId="467378802" sldId="492"/>
            <ac:cxnSpMk id="14" creationId="{00000000-0000-0000-0000-000000000000}"/>
          </ac:cxnSpMkLst>
        </pc:cxnChg>
      </pc:sldChg>
      <pc:sldChg chg="delSp mod">
        <pc:chgData name="Matthieu Mabyre" userId="52a89cab-5e6b-49ac-8601-6d3bc79d567b" providerId="ADAL" clId="{159E7C2A-98AF-4A97-9389-7421C3C1E53F}" dt="2020-11-17T21:48:15.630" v="7401" actId="478"/>
        <pc:sldMkLst>
          <pc:docMk/>
          <pc:sldMk cId="1603357931" sldId="494"/>
        </pc:sldMkLst>
        <pc:spChg chg="del">
          <ac:chgData name="Matthieu Mabyre" userId="52a89cab-5e6b-49ac-8601-6d3bc79d567b" providerId="ADAL" clId="{159E7C2A-98AF-4A97-9389-7421C3C1E53F}" dt="2020-11-17T21:48:15.630" v="7401" actId="478"/>
          <ac:spMkLst>
            <pc:docMk/>
            <pc:sldMk cId="1603357931" sldId="494"/>
            <ac:spMk id="3" creationId="{2F2C581C-D9B2-4838-8C09-46CD41005351}"/>
          </ac:spMkLst>
        </pc:spChg>
      </pc:sldChg>
      <pc:sldChg chg="delSp modSp mod">
        <pc:chgData name="Matthieu Mabyre" userId="52a89cab-5e6b-49ac-8601-6d3bc79d567b" providerId="ADAL" clId="{159E7C2A-98AF-4A97-9389-7421C3C1E53F}" dt="2020-11-17T18:08:38.567" v="4575" actId="20577"/>
        <pc:sldMkLst>
          <pc:docMk/>
          <pc:sldMk cId="1268643240" sldId="513"/>
        </pc:sldMkLst>
        <pc:spChg chg="del">
          <ac:chgData name="Matthieu Mabyre" userId="52a89cab-5e6b-49ac-8601-6d3bc79d567b" providerId="ADAL" clId="{159E7C2A-98AF-4A97-9389-7421C3C1E53F}" dt="2020-11-17T12:20:14.586" v="3826" actId="478"/>
          <ac:spMkLst>
            <pc:docMk/>
            <pc:sldMk cId="1268643240" sldId="513"/>
            <ac:spMk id="3" creationId="{4338EDBA-0EF5-4D40-BDC5-078E06DD001E}"/>
          </ac:spMkLst>
        </pc:spChg>
        <pc:spChg chg="mod">
          <ac:chgData name="Matthieu Mabyre" userId="52a89cab-5e6b-49ac-8601-6d3bc79d567b" providerId="ADAL" clId="{159E7C2A-98AF-4A97-9389-7421C3C1E53F}" dt="2020-11-17T17:17:06.680" v="4346" actId="20577"/>
          <ac:spMkLst>
            <pc:docMk/>
            <pc:sldMk cId="1268643240" sldId="513"/>
            <ac:spMk id="25" creationId="{822CB3C9-19F1-48FD-B87F-0FE3265E0570}"/>
          </ac:spMkLst>
        </pc:spChg>
        <pc:graphicFrameChg chg="mod modGraphic">
          <ac:chgData name="Matthieu Mabyre" userId="52a89cab-5e6b-49ac-8601-6d3bc79d567b" providerId="ADAL" clId="{159E7C2A-98AF-4A97-9389-7421C3C1E53F}" dt="2020-11-17T18:08:38.567" v="4575" actId="20577"/>
          <ac:graphicFrameMkLst>
            <pc:docMk/>
            <pc:sldMk cId="1268643240" sldId="513"/>
            <ac:graphicFrameMk id="28" creationId="{994870E9-25EF-4A43-B1A1-38CC6A36FD4D}"/>
          </ac:graphicFrameMkLst>
        </pc:graphicFrameChg>
      </pc:sldChg>
      <pc:sldChg chg="addSp delSp modSp mod">
        <pc:chgData name="Matthieu Mabyre" userId="52a89cab-5e6b-49ac-8601-6d3bc79d567b" providerId="ADAL" clId="{159E7C2A-98AF-4A97-9389-7421C3C1E53F}" dt="2020-11-17T18:12:09.903" v="4625" actId="20577"/>
        <pc:sldMkLst>
          <pc:docMk/>
          <pc:sldMk cId="742559225" sldId="514"/>
        </pc:sldMkLst>
        <pc:spChg chg="mod">
          <ac:chgData name="Matthieu Mabyre" userId="52a89cab-5e6b-49ac-8601-6d3bc79d567b" providerId="ADAL" clId="{159E7C2A-98AF-4A97-9389-7421C3C1E53F}" dt="2020-11-13T09:35:19.750" v="98" actId="20577"/>
          <ac:spMkLst>
            <pc:docMk/>
            <pc:sldMk cId="742559225" sldId="514"/>
            <ac:spMk id="2" creationId="{00000000-0000-0000-0000-000000000000}"/>
          </ac:spMkLst>
        </pc:spChg>
        <pc:spChg chg="mod">
          <ac:chgData name="Matthieu Mabyre" userId="52a89cab-5e6b-49ac-8601-6d3bc79d567b" providerId="ADAL" clId="{159E7C2A-98AF-4A97-9389-7421C3C1E53F}" dt="2020-11-17T16:55:37.016" v="4020" actId="313"/>
          <ac:spMkLst>
            <pc:docMk/>
            <pc:sldMk cId="742559225" sldId="514"/>
            <ac:spMk id="4" creationId="{1D54A381-9ED5-4626-82D3-1EFCE1DF6AEC}"/>
          </ac:spMkLst>
        </pc:spChg>
        <pc:spChg chg="mod">
          <ac:chgData name="Matthieu Mabyre" userId="52a89cab-5e6b-49ac-8601-6d3bc79d567b" providerId="ADAL" clId="{159E7C2A-98AF-4A97-9389-7421C3C1E53F}" dt="2020-11-17T18:12:09.903" v="4625" actId="20577"/>
          <ac:spMkLst>
            <pc:docMk/>
            <pc:sldMk cId="742559225" sldId="514"/>
            <ac:spMk id="21" creationId="{00000000-0000-0000-0000-000000000000}"/>
          </ac:spMkLst>
        </pc:spChg>
        <pc:spChg chg="mod">
          <ac:chgData name="Matthieu Mabyre" userId="52a89cab-5e6b-49ac-8601-6d3bc79d567b" providerId="ADAL" clId="{159E7C2A-98AF-4A97-9389-7421C3C1E53F}" dt="2020-11-13T09:34:04.433" v="58" actId="692"/>
          <ac:spMkLst>
            <pc:docMk/>
            <pc:sldMk cId="742559225" sldId="514"/>
            <ac:spMk id="73" creationId="{4C88BB89-4068-499B-8F3F-29D9CFDEB8D9}"/>
          </ac:spMkLst>
        </pc:spChg>
        <pc:spChg chg="mod">
          <ac:chgData name="Matthieu Mabyre" userId="52a89cab-5e6b-49ac-8601-6d3bc79d567b" providerId="ADAL" clId="{159E7C2A-98AF-4A97-9389-7421C3C1E53F}" dt="2020-11-13T09:34:08.821" v="59" actId="692"/>
          <ac:spMkLst>
            <pc:docMk/>
            <pc:sldMk cId="742559225" sldId="514"/>
            <ac:spMk id="75" creationId="{C3667D43-2D3C-46D6-BEB3-58980BA9DA59}"/>
          </ac:spMkLst>
        </pc:spChg>
        <pc:spChg chg="mod">
          <ac:chgData name="Matthieu Mabyre" userId="52a89cab-5e6b-49ac-8601-6d3bc79d567b" providerId="ADAL" clId="{159E7C2A-98AF-4A97-9389-7421C3C1E53F}" dt="2020-11-13T09:33:54.962" v="56" actId="692"/>
          <ac:spMkLst>
            <pc:docMk/>
            <pc:sldMk cId="742559225" sldId="514"/>
            <ac:spMk id="78" creationId="{00000000-0000-0000-0000-000000000000}"/>
          </ac:spMkLst>
        </pc:spChg>
        <pc:spChg chg="mod">
          <ac:chgData name="Matthieu Mabyre" userId="52a89cab-5e6b-49ac-8601-6d3bc79d567b" providerId="ADAL" clId="{159E7C2A-98AF-4A97-9389-7421C3C1E53F}" dt="2020-11-13T16:29:39.616" v="1292" actId="20577"/>
          <ac:spMkLst>
            <pc:docMk/>
            <pc:sldMk cId="742559225" sldId="514"/>
            <ac:spMk id="81" creationId="{00000000-0000-0000-0000-000000000000}"/>
          </ac:spMkLst>
        </pc:spChg>
        <pc:spChg chg="mod">
          <ac:chgData name="Matthieu Mabyre" userId="52a89cab-5e6b-49ac-8601-6d3bc79d567b" providerId="ADAL" clId="{159E7C2A-98AF-4A97-9389-7421C3C1E53F}" dt="2020-11-13T09:49:46.482" v="319" actId="14100"/>
          <ac:spMkLst>
            <pc:docMk/>
            <pc:sldMk cId="742559225" sldId="514"/>
            <ac:spMk id="82" creationId="{00000000-0000-0000-0000-000000000000}"/>
          </ac:spMkLst>
        </pc:spChg>
        <pc:spChg chg="mod">
          <ac:chgData name="Matthieu Mabyre" userId="52a89cab-5e6b-49ac-8601-6d3bc79d567b" providerId="ADAL" clId="{159E7C2A-98AF-4A97-9389-7421C3C1E53F}" dt="2020-11-13T09:49:46.482" v="319" actId="14100"/>
          <ac:spMkLst>
            <pc:docMk/>
            <pc:sldMk cId="742559225" sldId="514"/>
            <ac:spMk id="83" creationId="{00000000-0000-0000-0000-000000000000}"/>
          </ac:spMkLst>
        </pc:spChg>
        <pc:spChg chg="mod">
          <ac:chgData name="Matthieu Mabyre" userId="52a89cab-5e6b-49ac-8601-6d3bc79d567b" providerId="ADAL" clId="{159E7C2A-98AF-4A97-9389-7421C3C1E53F}" dt="2020-11-13T09:49:46.482" v="319" actId="14100"/>
          <ac:spMkLst>
            <pc:docMk/>
            <pc:sldMk cId="742559225" sldId="514"/>
            <ac:spMk id="84" creationId="{00000000-0000-0000-0000-000000000000}"/>
          </ac:spMkLst>
        </pc:spChg>
        <pc:spChg chg="mod">
          <ac:chgData name="Matthieu Mabyre" userId="52a89cab-5e6b-49ac-8601-6d3bc79d567b" providerId="ADAL" clId="{159E7C2A-98AF-4A97-9389-7421C3C1E53F}" dt="2020-11-13T09:34:13.742" v="60" actId="207"/>
          <ac:spMkLst>
            <pc:docMk/>
            <pc:sldMk cId="742559225" sldId="514"/>
            <ac:spMk id="90" creationId="{00000000-0000-0000-0000-000000000000}"/>
          </ac:spMkLst>
        </pc:spChg>
        <pc:spChg chg="mod">
          <ac:chgData name="Matthieu Mabyre" userId="52a89cab-5e6b-49ac-8601-6d3bc79d567b" providerId="ADAL" clId="{159E7C2A-98AF-4A97-9389-7421C3C1E53F}" dt="2020-11-13T09:50:49.752" v="326" actId="14100"/>
          <ac:spMkLst>
            <pc:docMk/>
            <pc:sldMk cId="742559225" sldId="514"/>
            <ac:spMk id="93" creationId="{00000000-0000-0000-0000-000000000000}"/>
          </ac:spMkLst>
        </pc:spChg>
        <pc:spChg chg="mod">
          <ac:chgData name="Matthieu Mabyre" userId="52a89cab-5e6b-49ac-8601-6d3bc79d567b" providerId="ADAL" clId="{159E7C2A-98AF-4A97-9389-7421C3C1E53F}" dt="2020-11-13T09:50:49.752" v="326" actId="14100"/>
          <ac:spMkLst>
            <pc:docMk/>
            <pc:sldMk cId="742559225" sldId="514"/>
            <ac:spMk id="94" creationId="{00000000-0000-0000-0000-000000000000}"/>
          </ac:spMkLst>
        </pc:spChg>
        <pc:spChg chg="mod">
          <ac:chgData name="Matthieu Mabyre" userId="52a89cab-5e6b-49ac-8601-6d3bc79d567b" providerId="ADAL" clId="{159E7C2A-98AF-4A97-9389-7421C3C1E53F}" dt="2020-11-13T09:50:49.752" v="326" actId="14100"/>
          <ac:spMkLst>
            <pc:docMk/>
            <pc:sldMk cId="742559225" sldId="514"/>
            <ac:spMk id="95" creationId="{00000000-0000-0000-0000-000000000000}"/>
          </ac:spMkLst>
        </pc:spChg>
        <pc:spChg chg="mod">
          <ac:chgData name="Matthieu Mabyre" userId="52a89cab-5e6b-49ac-8601-6d3bc79d567b" providerId="ADAL" clId="{159E7C2A-98AF-4A97-9389-7421C3C1E53F}" dt="2020-11-13T09:34:17.909" v="61" actId="207"/>
          <ac:spMkLst>
            <pc:docMk/>
            <pc:sldMk cId="742559225" sldId="514"/>
            <ac:spMk id="96" creationId="{00000000-0000-0000-0000-000000000000}"/>
          </ac:spMkLst>
        </pc:spChg>
        <pc:spChg chg="mod">
          <ac:chgData name="Matthieu Mabyre" userId="52a89cab-5e6b-49ac-8601-6d3bc79d567b" providerId="ADAL" clId="{159E7C2A-98AF-4A97-9389-7421C3C1E53F}" dt="2020-11-13T09:51:05.967" v="328" actId="14100"/>
          <ac:spMkLst>
            <pc:docMk/>
            <pc:sldMk cId="742559225" sldId="514"/>
            <ac:spMk id="99" creationId="{00000000-0000-0000-0000-000000000000}"/>
          </ac:spMkLst>
        </pc:spChg>
        <pc:spChg chg="mod">
          <ac:chgData name="Matthieu Mabyre" userId="52a89cab-5e6b-49ac-8601-6d3bc79d567b" providerId="ADAL" clId="{159E7C2A-98AF-4A97-9389-7421C3C1E53F}" dt="2020-11-13T09:51:05.967" v="328" actId="14100"/>
          <ac:spMkLst>
            <pc:docMk/>
            <pc:sldMk cId="742559225" sldId="514"/>
            <ac:spMk id="100" creationId="{00000000-0000-0000-0000-000000000000}"/>
          </ac:spMkLst>
        </pc:spChg>
        <pc:spChg chg="mod">
          <ac:chgData name="Matthieu Mabyre" userId="52a89cab-5e6b-49ac-8601-6d3bc79d567b" providerId="ADAL" clId="{159E7C2A-98AF-4A97-9389-7421C3C1E53F}" dt="2020-11-13T09:51:05.967" v="328" actId="14100"/>
          <ac:spMkLst>
            <pc:docMk/>
            <pc:sldMk cId="742559225" sldId="514"/>
            <ac:spMk id="101" creationId="{00000000-0000-0000-0000-000000000000}"/>
          </ac:spMkLst>
        </pc:spChg>
        <pc:spChg chg="mod">
          <ac:chgData name="Matthieu Mabyre" userId="52a89cab-5e6b-49ac-8601-6d3bc79d567b" providerId="ADAL" clId="{159E7C2A-98AF-4A97-9389-7421C3C1E53F}" dt="2020-11-13T16:29:47.277" v="1296" actId="20577"/>
          <ac:spMkLst>
            <pc:docMk/>
            <pc:sldMk cId="742559225" sldId="514"/>
            <ac:spMk id="102" creationId="{00000000-0000-0000-0000-000000000000}"/>
          </ac:spMkLst>
        </pc:spChg>
        <pc:spChg chg="mod">
          <ac:chgData name="Matthieu Mabyre" userId="52a89cab-5e6b-49ac-8601-6d3bc79d567b" providerId="ADAL" clId="{159E7C2A-98AF-4A97-9389-7421C3C1E53F}" dt="2020-11-13T09:51:15.743" v="330" actId="14100"/>
          <ac:spMkLst>
            <pc:docMk/>
            <pc:sldMk cId="742559225" sldId="514"/>
            <ac:spMk id="105" creationId="{00000000-0000-0000-0000-000000000000}"/>
          </ac:spMkLst>
        </pc:spChg>
        <pc:spChg chg="mod">
          <ac:chgData name="Matthieu Mabyre" userId="52a89cab-5e6b-49ac-8601-6d3bc79d567b" providerId="ADAL" clId="{159E7C2A-98AF-4A97-9389-7421C3C1E53F}" dt="2020-11-13T09:51:15.743" v="330" actId="14100"/>
          <ac:spMkLst>
            <pc:docMk/>
            <pc:sldMk cId="742559225" sldId="514"/>
            <ac:spMk id="106" creationId="{00000000-0000-0000-0000-000000000000}"/>
          </ac:spMkLst>
        </pc:spChg>
        <pc:spChg chg="mod">
          <ac:chgData name="Matthieu Mabyre" userId="52a89cab-5e6b-49ac-8601-6d3bc79d567b" providerId="ADAL" clId="{159E7C2A-98AF-4A97-9389-7421C3C1E53F}" dt="2020-11-13T09:51:15.743" v="330" actId="14100"/>
          <ac:spMkLst>
            <pc:docMk/>
            <pc:sldMk cId="742559225" sldId="514"/>
            <ac:spMk id="107" creationId="{00000000-0000-0000-0000-000000000000}"/>
          </ac:spMkLst>
        </pc:spChg>
        <pc:spChg chg="mod">
          <ac:chgData name="Matthieu Mabyre" userId="52a89cab-5e6b-49ac-8601-6d3bc79d567b" providerId="ADAL" clId="{159E7C2A-98AF-4A97-9389-7421C3C1E53F}" dt="2020-11-13T16:29:56.797" v="1298" actId="20577"/>
          <ac:spMkLst>
            <pc:docMk/>
            <pc:sldMk cId="742559225" sldId="514"/>
            <ac:spMk id="108" creationId="{00000000-0000-0000-0000-000000000000}"/>
          </ac:spMkLst>
        </pc:spChg>
        <pc:spChg chg="mod">
          <ac:chgData name="Matthieu Mabyre" userId="52a89cab-5e6b-49ac-8601-6d3bc79d567b" providerId="ADAL" clId="{159E7C2A-98AF-4A97-9389-7421C3C1E53F}" dt="2020-11-13T09:50:26.215" v="324" actId="14100"/>
          <ac:spMkLst>
            <pc:docMk/>
            <pc:sldMk cId="742559225" sldId="514"/>
            <ac:spMk id="110" creationId="{00000000-0000-0000-0000-000000000000}"/>
          </ac:spMkLst>
        </pc:spChg>
        <pc:spChg chg="mod">
          <ac:chgData name="Matthieu Mabyre" userId="52a89cab-5e6b-49ac-8601-6d3bc79d567b" providerId="ADAL" clId="{159E7C2A-98AF-4A97-9389-7421C3C1E53F}" dt="2020-11-13T09:50:26.215" v="324" actId="14100"/>
          <ac:spMkLst>
            <pc:docMk/>
            <pc:sldMk cId="742559225" sldId="514"/>
            <ac:spMk id="111" creationId="{00000000-0000-0000-0000-000000000000}"/>
          </ac:spMkLst>
        </pc:spChg>
        <pc:spChg chg="mod">
          <ac:chgData name="Matthieu Mabyre" userId="52a89cab-5e6b-49ac-8601-6d3bc79d567b" providerId="ADAL" clId="{159E7C2A-98AF-4A97-9389-7421C3C1E53F}" dt="2020-11-13T09:50:26.215" v="324" actId="14100"/>
          <ac:spMkLst>
            <pc:docMk/>
            <pc:sldMk cId="742559225" sldId="514"/>
            <ac:spMk id="112" creationId="{00000000-0000-0000-0000-000000000000}"/>
          </ac:spMkLst>
        </pc:spChg>
        <pc:spChg chg="mod">
          <ac:chgData name="Matthieu Mabyre" userId="52a89cab-5e6b-49ac-8601-6d3bc79d567b" providerId="ADAL" clId="{159E7C2A-98AF-4A97-9389-7421C3C1E53F}" dt="2020-11-13T16:29:21.814" v="1286" actId="20577"/>
          <ac:spMkLst>
            <pc:docMk/>
            <pc:sldMk cId="742559225" sldId="514"/>
            <ac:spMk id="116" creationId="{00000000-0000-0000-0000-000000000000}"/>
          </ac:spMkLst>
        </pc:spChg>
        <pc:spChg chg="mod">
          <ac:chgData name="Matthieu Mabyre" userId="52a89cab-5e6b-49ac-8601-6d3bc79d567b" providerId="ADAL" clId="{159E7C2A-98AF-4A97-9389-7421C3C1E53F}" dt="2020-11-13T16:30:13.573" v="1310" actId="20577"/>
          <ac:spMkLst>
            <pc:docMk/>
            <pc:sldMk cId="742559225" sldId="514"/>
            <ac:spMk id="117" creationId="{00000000-0000-0000-0000-000000000000}"/>
          </ac:spMkLst>
        </pc:spChg>
        <pc:spChg chg="mod">
          <ac:chgData name="Matthieu Mabyre" userId="52a89cab-5e6b-49ac-8601-6d3bc79d567b" providerId="ADAL" clId="{159E7C2A-98AF-4A97-9389-7421C3C1E53F}" dt="2020-11-13T09:51:45.728" v="331" actId="14100"/>
          <ac:spMkLst>
            <pc:docMk/>
            <pc:sldMk cId="742559225" sldId="514"/>
            <ac:spMk id="120" creationId="{00000000-0000-0000-0000-000000000000}"/>
          </ac:spMkLst>
        </pc:spChg>
        <pc:spChg chg="mod">
          <ac:chgData name="Matthieu Mabyre" userId="52a89cab-5e6b-49ac-8601-6d3bc79d567b" providerId="ADAL" clId="{159E7C2A-98AF-4A97-9389-7421C3C1E53F}" dt="2020-11-13T09:51:45.728" v="331" actId="14100"/>
          <ac:spMkLst>
            <pc:docMk/>
            <pc:sldMk cId="742559225" sldId="514"/>
            <ac:spMk id="121" creationId="{00000000-0000-0000-0000-000000000000}"/>
          </ac:spMkLst>
        </pc:spChg>
        <pc:spChg chg="mod">
          <ac:chgData name="Matthieu Mabyre" userId="52a89cab-5e6b-49ac-8601-6d3bc79d567b" providerId="ADAL" clId="{159E7C2A-98AF-4A97-9389-7421C3C1E53F}" dt="2020-11-13T09:51:45.728" v="331" actId="14100"/>
          <ac:spMkLst>
            <pc:docMk/>
            <pc:sldMk cId="742559225" sldId="514"/>
            <ac:spMk id="122" creationId="{00000000-0000-0000-0000-000000000000}"/>
          </ac:spMkLst>
        </pc:spChg>
        <pc:spChg chg="mod">
          <ac:chgData name="Matthieu Mabyre" userId="52a89cab-5e6b-49ac-8601-6d3bc79d567b" providerId="ADAL" clId="{159E7C2A-98AF-4A97-9389-7421C3C1E53F}" dt="2020-11-13T16:29:28.953" v="1288" actId="20577"/>
          <ac:spMkLst>
            <pc:docMk/>
            <pc:sldMk cId="742559225" sldId="514"/>
            <ac:spMk id="123" creationId="{00000000-0000-0000-0000-000000000000}"/>
          </ac:spMkLst>
        </pc:spChg>
        <pc:spChg chg="add del mod">
          <ac:chgData name="Matthieu Mabyre" userId="52a89cab-5e6b-49ac-8601-6d3bc79d567b" providerId="ADAL" clId="{159E7C2A-98AF-4A97-9389-7421C3C1E53F}" dt="2020-11-13T16:32:07.385" v="1339" actId="1038"/>
          <ac:spMkLst>
            <pc:docMk/>
            <pc:sldMk cId="742559225" sldId="514"/>
            <ac:spMk id="135" creationId="{00000000-0000-0000-0000-000000000000}"/>
          </ac:spMkLst>
        </pc:spChg>
        <pc:grpChg chg="mod">
          <ac:chgData name="Matthieu Mabyre" userId="52a89cab-5e6b-49ac-8601-6d3bc79d567b" providerId="ADAL" clId="{159E7C2A-98AF-4A97-9389-7421C3C1E53F}" dt="2020-11-13T09:49:46.482" v="319" actId="14100"/>
          <ac:grpSpMkLst>
            <pc:docMk/>
            <pc:sldMk cId="742559225" sldId="514"/>
            <ac:grpSpMk id="80" creationId="{00000000-0000-0000-0000-000000000000}"/>
          </ac:grpSpMkLst>
        </pc:grpChg>
        <pc:grpChg chg="mod">
          <ac:chgData name="Matthieu Mabyre" userId="52a89cab-5e6b-49ac-8601-6d3bc79d567b" providerId="ADAL" clId="{159E7C2A-98AF-4A97-9389-7421C3C1E53F}" dt="2020-11-13T09:50:49.752" v="326" actId="14100"/>
          <ac:grpSpMkLst>
            <pc:docMk/>
            <pc:sldMk cId="742559225" sldId="514"/>
            <ac:grpSpMk id="92" creationId="{00000000-0000-0000-0000-000000000000}"/>
          </ac:grpSpMkLst>
        </pc:grpChg>
        <pc:grpChg chg="mod">
          <ac:chgData name="Matthieu Mabyre" userId="52a89cab-5e6b-49ac-8601-6d3bc79d567b" providerId="ADAL" clId="{159E7C2A-98AF-4A97-9389-7421C3C1E53F}" dt="2020-11-13T09:51:05.967" v="328" actId="14100"/>
          <ac:grpSpMkLst>
            <pc:docMk/>
            <pc:sldMk cId="742559225" sldId="514"/>
            <ac:grpSpMk id="98" creationId="{00000000-0000-0000-0000-000000000000}"/>
          </ac:grpSpMkLst>
        </pc:grpChg>
        <pc:grpChg chg="mod">
          <ac:chgData name="Matthieu Mabyre" userId="52a89cab-5e6b-49ac-8601-6d3bc79d567b" providerId="ADAL" clId="{159E7C2A-98AF-4A97-9389-7421C3C1E53F}" dt="2020-11-13T09:51:15.743" v="330" actId="14100"/>
          <ac:grpSpMkLst>
            <pc:docMk/>
            <pc:sldMk cId="742559225" sldId="514"/>
            <ac:grpSpMk id="104" creationId="{00000000-0000-0000-0000-000000000000}"/>
          </ac:grpSpMkLst>
        </pc:grpChg>
        <pc:grpChg chg="mod">
          <ac:chgData name="Matthieu Mabyre" userId="52a89cab-5e6b-49ac-8601-6d3bc79d567b" providerId="ADAL" clId="{159E7C2A-98AF-4A97-9389-7421C3C1E53F}" dt="2020-11-13T09:50:26.215" v="324" actId="14100"/>
          <ac:grpSpMkLst>
            <pc:docMk/>
            <pc:sldMk cId="742559225" sldId="514"/>
            <ac:grpSpMk id="109" creationId="{00000000-0000-0000-0000-000000000000}"/>
          </ac:grpSpMkLst>
        </pc:grpChg>
        <pc:grpChg chg="mod">
          <ac:chgData name="Matthieu Mabyre" userId="52a89cab-5e6b-49ac-8601-6d3bc79d567b" providerId="ADAL" clId="{159E7C2A-98AF-4A97-9389-7421C3C1E53F}" dt="2020-11-13T09:51:45.728" v="331" actId="14100"/>
          <ac:grpSpMkLst>
            <pc:docMk/>
            <pc:sldMk cId="742559225" sldId="514"/>
            <ac:grpSpMk id="119" creationId="{00000000-0000-0000-0000-000000000000}"/>
          </ac:grpSpMkLst>
        </pc:grpChg>
      </pc:sldChg>
      <pc:sldChg chg="addSp delSp modSp mod">
        <pc:chgData name="Matthieu Mabyre" userId="52a89cab-5e6b-49ac-8601-6d3bc79d567b" providerId="ADAL" clId="{159E7C2A-98AF-4A97-9389-7421C3C1E53F}" dt="2020-11-13T23:59:52.439" v="2545"/>
        <pc:sldMkLst>
          <pc:docMk/>
          <pc:sldMk cId="3744032214" sldId="515"/>
        </pc:sldMkLst>
        <pc:spChg chg="mod">
          <ac:chgData name="Matthieu Mabyre" userId="52a89cab-5e6b-49ac-8601-6d3bc79d567b" providerId="ADAL" clId="{159E7C2A-98AF-4A97-9389-7421C3C1E53F}" dt="2020-11-13T17:18:55.912" v="2056" actId="20577"/>
          <ac:spMkLst>
            <pc:docMk/>
            <pc:sldMk cId="3744032214" sldId="515"/>
            <ac:spMk id="2" creationId="{00000000-0000-0000-0000-000000000000}"/>
          </ac:spMkLst>
        </pc:spChg>
        <pc:spChg chg="del">
          <ac:chgData name="Matthieu Mabyre" userId="52a89cab-5e6b-49ac-8601-6d3bc79d567b" providerId="ADAL" clId="{159E7C2A-98AF-4A97-9389-7421C3C1E53F}" dt="2020-11-13T17:18:31.283" v="2053" actId="478"/>
          <ac:spMkLst>
            <pc:docMk/>
            <pc:sldMk cId="3744032214" sldId="515"/>
            <ac:spMk id="3" creationId="{1B89049A-4BB3-4902-B6B6-B19580FB4216}"/>
          </ac:spMkLst>
        </pc:spChg>
        <pc:spChg chg="mod">
          <ac:chgData name="Matthieu Mabyre" userId="52a89cab-5e6b-49ac-8601-6d3bc79d567b" providerId="ADAL" clId="{159E7C2A-98AF-4A97-9389-7421C3C1E53F}" dt="2020-11-13T23:59:52.439" v="2545"/>
          <ac:spMkLst>
            <pc:docMk/>
            <pc:sldMk cId="3744032214" sldId="515"/>
            <ac:spMk id="7" creationId="{B633BA49-44C2-41E0-8A5F-10881248D9C0}"/>
          </ac:spMkLst>
        </pc:spChg>
        <pc:spChg chg="mod">
          <ac:chgData name="Matthieu Mabyre" userId="52a89cab-5e6b-49ac-8601-6d3bc79d567b" providerId="ADAL" clId="{159E7C2A-98AF-4A97-9389-7421C3C1E53F}" dt="2020-11-13T17:03:33.009" v="1762" actId="1036"/>
          <ac:spMkLst>
            <pc:docMk/>
            <pc:sldMk cId="3744032214" sldId="515"/>
            <ac:spMk id="9" creationId="{00000000-0000-0000-0000-000000000000}"/>
          </ac:spMkLst>
        </pc:spChg>
        <pc:spChg chg="mod">
          <ac:chgData name="Matthieu Mabyre" userId="52a89cab-5e6b-49ac-8601-6d3bc79d567b" providerId="ADAL" clId="{159E7C2A-98AF-4A97-9389-7421C3C1E53F}" dt="2020-11-13T16:49:14.961" v="1640" actId="1035"/>
          <ac:spMkLst>
            <pc:docMk/>
            <pc:sldMk cId="3744032214" sldId="515"/>
            <ac:spMk id="11" creationId="{00000000-0000-0000-0000-000000000000}"/>
          </ac:spMkLst>
        </pc:spChg>
        <pc:spChg chg="mod">
          <ac:chgData name="Matthieu Mabyre" userId="52a89cab-5e6b-49ac-8601-6d3bc79d567b" providerId="ADAL" clId="{159E7C2A-98AF-4A97-9389-7421C3C1E53F}" dt="2020-11-13T16:49:21.112" v="1642" actId="1035"/>
          <ac:spMkLst>
            <pc:docMk/>
            <pc:sldMk cId="3744032214" sldId="515"/>
            <ac:spMk id="24" creationId="{00000000-0000-0000-0000-000000000000}"/>
          </ac:spMkLst>
        </pc:spChg>
        <pc:spChg chg="mod">
          <ac:chgData name="Matthieu Mabyre" userId="52a89cab-5e6b-49ac-8601-6d3bc79d567b" providerId="ADAL" clId="{159E7C2A-98AF-4A97-9389-7421C3C1E53F}" dt="2020-11-13T16:49:21.112" v="1642" actId="1035"/>
          <ac:spMkLst>
            <pc:docMk/>
            <pc:sldMk cId="3744032214" sldId="515"/>
            <ac:spMk id="25" creationId="{00000000-0000-0000-0000-000000000000}"/>
          </ac:spMkLst>
        </pc:spChg>
        <pc:graphicFrameChg chg="add del">
          <ac:chgData name="Matthieu Mabyre" userId="52a89cab-5e6b-49ac-8601-6d3bc79d567b" providerId="ADAL" clId="{159E7C2A-98AF-4A97-9389-7421C3C1E53F}" dt="2020-11-13T10:02:36.606" v="455" actId="22"/>
          <ac:graphicFrameMkLst>
            <pc:docMk/>
            <pc:sldMk cId="3744032214" sldId="515"/>
            <ac:graphicFrameMk id="4" creationId="{E67979AB-31F1-43D1-AF44-2C18271F8893}"/>
          </ac:graphicFrameMkLst>
        </pc:graphicFrameChg>
        <pc:graphicFrameChg chg="add del mod">
          <ac:chgData name="Matthieu Mabyre" userId="52a89cab-5e6b-49ac-8601-6d3bc79d567b" providerId="ADAL" clId="{159E7C2A-98AF-4A97-9389-7421C3C1E53F}" dt="2020-11-13T10:02:34.512" v="453" actId="478"/>
          <ac:graphicFrameMkLst>
            <pc:docMk/>
            <pc:sldMk cId="3744032214" sldId="515"/>
            <ac:graphicFrameMk id="17" creationId="{BC84B037-1209-4F8E-8154-D9A869F3566F}"/>
          </ac:graphicFrameMkLst>
        </pc:graphicFrameChg>
        <pc:graphicFrameChg chg="add del mod ord">
          <ac:chgData name="Matthieu Mabyre" userId="52a89cab-5e6b-49ac-8601-6d3bc79d567b" providerId="ADAL" clId="{159E7C2A-98AF-4A97-9389-7421C3C1E53F}" dt="2020-11-13T16:47:22.767" v="1620" actId="478"/>
          <ac:graphicFrameMkLst>
            <pc:docMk/>
            <pc:sldMk cId="3744032214" sldId="515"/>
            <ac:graphicFrameMk id="18" creationId="{2D47829E-3B1B-49A8-B495-0C0C2F594066}"/>
          </ac:graphicFrameMkLst>
        </pc:graphicFrameChg>
        <pc:graphicFrameChg chg="add mod ord">
          <ac:chgData name="Matthieu Mabyre" userId="52a89cab-5e6b-49ac-8601-6d3bc79d567b" providerId="ADAL" clId="{159E7C2A-98AF-4A97-9389-7421C3C1E53F}" dt="2020-11-13T17:04:44.372" v="1838"/>
          <ac:graphicFrameMkLst>
            <pc:docMk/>
            <pc:sldMk cId="3744032214" sldId="515"/>
            <ac:graphicFrameMk id="19" creationId="{4A0E6362-6348-4699-8488-331F7CAB3E3C}"/>
          </ac:graphicFrameMkLst>
        </pc:graphicFrameChg>
        <pc:graphicFrameChg chg="mod modGraphic">
          <ac:chgData name="Matthieu Mabyre" userId="52a89cab-5e6b-49ac-8601-6d3bc79d567b" providerId="ADAL" clId="{159E7C2A-98AF-4A97-9389-7421C3C1E53F}" dt="2020-11-13T16:50:31.051" v="1664" actId="20577"/>
          <ac:graphicFrameMkLst>
            <pc:docMk/>
            <pc:sldMk cId="3744032214" sldId="515"/>
            <ac:graphicFrameMk id="20" creationId="{C706CF1C-16BE-40AB-AD10-3D3B1B2FD25F}"/>
          </ac:graphicFrameMkLst>
        </pc:graphicFrameChg>
        <pc:graphicFrameChg chg="add del mod">
          <ac:chgData name="Matthieu Mabyre" userId="52a89cab-5e6b-49ac-8601-6d3bc79d567b" providerId="ADAL" clId="{159E7C2A-98AF-4A97-9389-7421C3C1E53F}" dt="2020-11-13T16:36:37.730" v="1373" actId="478"/>
          <ac:graphicFrameMkLst>
            <pc:docMk/>
            <pc:sldMk cId="3744032214" sldId="515"/>
            <ac:graphicFrameMk id="21" creationId="{D8CF48C2-5AEC-4938-A3AE-8EB0A5192167}"/>
          </ac:graphicFrameMkLst>
        </pc:graphicFrameChg>
        <pc:graphicFrameChg chg="mod modGraphic">
          <ac:chgData name="Matthieu Mabyre" userId="52a89cab-5e6b-49ac-8601-6d3bc79d567b" providerId="ADAL" clId="{159E7C2A-98AF-4A97-9389-7421C3C1E53F}" dt="2020-11-13T17:00:09.548" v="1740" actId="20577"/>
          <ac:graphicFrameMkLst>
            <pc:docMk/>
            <pc:sldMk cId="3744032214" sldId="515"/>
            <ac:graphicFrameMk id="22" creationId="{25ADC611-E4BA-4F2F-9BF9-A6228171DDE2}"/>
          </ac:graphicFrameMkLst>
        </pc:graphicFrameChg>
        <pc:graphicFrameChg chg="mod modGraphic">
          <ac:chgData name="Matthieu Mabyre" userId="52a89cab-5e6b-49ac-8601-6d3bc79d567b" providerId="ADAL" clId="{159E7C2A-98AF-4A97-9389-7421C3C1E53F}" dt="2020-11-13T17:15:37.584" v="2008" actId="20577"/>
          <ac:graphicFrameMkLst>
            <pc:docMk/>
            <pc:sldMk cId="3744032214" sldId="515"/>
            <ac:graphicFrameMk id="23" creationId="{00000000-0000-0000-0000-000000000000}"/>
          </ac:graphicFrameMkLst>
        </pc:graphicFrameChg>
        <pc:graphicFrameChg chg="mod modGraphic">
          <ac:chgData name="Matthieu Mabyre" userId="52a89cab-5e6b-49ac-8601-6d3bc79d567b" providerId="ADAL" clId="{159E7C2A-98AF-4A97-9389-7421C3C1E53F}" dt="2020-11-13T17:03:27.737" v="1756" actId="1035"/>
          <ac:graphicFrameMkLst>
            <pc:docMk/>
            <pc:sldMk cId="3744032214" sldId="515"/>
            <ac:graphicFrameMk id="26" creationId="{A088A704-3458-4A85-A10E-CBFB205EDF51}"/>
          </ac:graphicFrameMkLst>
        </pc:graphicFrameChg>
      </pc:sldChg>
      <pc:sldChg chg="addSp delSp modSp mod">
        <pc:chgData name="Matthieu Mabyre" userId="52a89cab-5e6b-49ac-8601-6d3bc79d567b" providerId="ADAL" clId="{159E7C2A-98AF-4A97-9389-7421C3C1E53F}" dt="2020-11-13T23:59:36.225" v="2542" actId="313"/>
        <pc:sldMkLst>
          <pc:docMk/>
          <pc:sldMk cId="3136490012" sldId="516"/>
        </pc:sldMkLst>
        <pc:spChg chg="del">
          <ac:chgData name="Matthieu Mabyre" userId="52a89cab-5e6b-49ac-8601-6d3bc79d567b" providerId="ADAL" clId="{159E7C2A-98AF-4A97-9389-7421C3C1E53F}" dt="2020-11-13T17:30:00.600" v="2365" actId="478"/>
          <ac:spMkLst>
            <pc:docMk/>
            <pc:sldMk cId="3136490012" sldId="516"/>
            <ac:spMk id="3" creationId="{166125F5-B6A7-49DB-A0B9-0E89C3E3E694}"/>
          </ac:spMkLst>
        </pc:spChg>
        <pc:spChg chg="add mod">
          <ac:chgData name="Matthieu Mabyre" userId="52a89cab-5e6b-49ac-8601-6d3bc79d567b" providerId="ADAL" clId="{159E7C2A-98AF-4A97-9389-7421C3C1E53F}" dt="2020-11-13T17:24:10.418" v="2077" actId="14100"/>
          <ac:spMkLst>
            <pc:docMk/>
            <pc:sldMk cId="3136490012" sldId="516"/>
            <ac:spMk id="5" creationId="{27C25438-679C-410A-837D-0452C0717467}"/>
          </ac:spMkLst>
        </pc:spChg>
        <pc:spChg chg="mod">
          <ac:chgData name="Matthieu Mabyre" userId="52a89cab-5e6b-49ac-8601-6d3bc79d567b" providerId="ADAL" clId="{159E7C2A-98AF-4A97-9389-7421C3C1E53F}" dt="2020-11-13T17:23:34.928" v="2068" actId="14100"/>
          <ac:spMkLst>
            <pc:docMk/>
            <pc:sldMk cId="3136490012" sldId="516"/>
            <ac:spMk id="8" creationId="{0F250931-7AE3-41E3-A718-D4E1AD2BB6FC}"/>
          </ac:spMkLst>
        </pc:spChg>
        <pc:spChg chg="mod">
          <ac:chgData name="Matthieu Mabyre" userId="52a89cab-5e6b-49ac-8601-6d3bc79d567b" providerId="ADAL" clId="{159E7C2A-98AF-4A97-9389-7421C3C1E53F}" dt="2020-11-13T17:24:18.330" v="2078" actId="14100"/>
          <ac:spMkLst>
            <pc:docMk/>
            <pc:sldMk cId="3136490012" sldId="516"/>
            <ac:spMk id="11" creationId="{5109CF6C-4157-403A-8F06-2DA5CB32E773}"/>
          </ac:spMkLst>
        </pc:spChg>
        <pc:spChg chg="mod">
          <ac:chgData name="Matthieu Mabyre" userId="52a89cab-5e6b-49ac-8601-6d3bc79d567b" providerId="ADAL" clId="{159E7C2A-98AF-4A97-9389-7421C3C1E53F}" dt="2020-11-13T09:52:01.862" v="336" actId="20577"/>
          <ac:spMkLst>
            <pc:docMk/>
            <pc:sldMk cId="3136490012" sldId="516"/>
            <ac:spMk id="19" creationId="{8D9A2195-E46A-4A5C-BD11-87B61401C498}"/>
          </ac:spMkLst>
        </pc:spChg>
        <pc:spChg chg="mod">
          <ac:chgData name="Matthieu Mabyre" userId="52a89cab-5e6b-49ac-8601-6d3bc79d567b" providerId="ADAL" clId="{159E7C2A-98AF-4A97-9389-7421C3C1E53F}" dt="2020-11-13T23:59:36.225" v="2542" actId="313"/>
          <ac:spMkLst>
            <pc:docMk/>
            <pc:sldMk cId="3136490012" sldId="516"/>
            <ac:spMk id="33" creationId="{7E419731-076B-4D82-8967-EC2E7DAF53F2}"/>
          </ac:spMkLst>
        </pc:spChg>
        <pc:spChg chg="mod">
          <ac:chgData name="Matthieu Mabyre" userId="52a89cab-5e6b-49ac-8601-6d3bc79d567b" providerId="ADAL" clId="{159E7C2A-98AF-4A97-9389-7421C3C1E53F}" dt="2020-11-13T09:52:37.672" v="353" actId="14100"/>
          <ac:spMkLst>
            <pc:docMk/>
            <pc:sldMk cId="3136490012" sldId="516"/>
            <ac:spMk id="41" creationId="{45964E5A-BE5E-45C2-8E43-74F4B9DD344A}"/>
          </ac:spMkLst>
        </pc:spChg>
        <pc:spChg chg="mod">
          <ac:chgData name="Matthieu Mabyre" userId="52a89cab-5e6b-49ac-8601-6d3bc79d567b" providerId="ADAL" clId="{159E7C2A-98AF-4A97-9389-7421C3C1E53F}" dt="2020-11-13T09:52:37.672" v="353" actId="14100"/>
          <ac:spMkLst>
            <pc:docMk/>
            <pc:sldMk cId="3136490012" sldId="516"/>
            <ac:spMk id="44" creationId="{51E3BAEC-16CE-4528-B1C9-357E4FA66480}"/>
          </ac:spMkLst>
        </pc:spChg>
        <pc:spChg chg="mod">
          <ac:chgData name="Matthieu Mabyre" userId="52a89cab-5e6b-49ac-8601-6d3bc79d567b" providerId="ADAL" clId="{159E7C2A-98AF-4A97-9389-7421C3C1E53F}" dt="2020-11-13T09:52:37.672" v="353" actId="14100"/>
          <ac:spMkLst>
            <pc:docMk/>
            <pc:sldMk cId="3136490012" sldId="516"/>
            <ac:spMk id="45" creationId="{EBCBCBD1-E21B-4393-8D88-21097657E3FB}"/>
          </ac:spMkLst>
        </pc:spChg>
        <pc:spChg chg="mod">
          <ac:chgData name="Matthieu Mabyre" userId="52a89cab-5e6b-49ac-8601-6d3bc79d567b" providerId="ADAL" clId="{159E7C2A-98AF-4A97-9389-7421C3C1E53F}" dt="2020-11-13T09:52:37.672" v="353" actId="14100"/>
          <ac:spMkLst>
            <pc:docMk/>
            <pc:sldMk cId="3136490012" sldId="516"/>
            <ac:spMk id="46" creationId="{706A9863-1AD8-497E-8475-4F9C3C938702}"/>
          </ac:spMkLst>
        </pc:spChg>
        <pc:spChg chg="mod">
          <ac:chgData name="Matthieu Mabyre" userId="52a89cab-5e6b-49ac-8601-6d3bc79d567b" providerId="ADAL" clId="{159E7C2A-98AF-4A97-9389-7421C3C1E53F}" dt="2020-11-13T16:32:19.528" v="1343" actId="20577"/>
          <ac:spMkLst>
            <pc:docMk/>
            <pc:sldMk cId="3136490012" sldId="516"/>
            <ac:spMk id="47" creationId="{6928B57C-8C22-45F2-AE7C-2AFDD3C368DB}"/>
          </ac:spMkLst>
        </pc:spChg>
        <pc:spChg chg="mod">
          <ac:chgData name="Matthieu Mabyre" userId="52a89cab-5e6b-49ac-8601-6d3bc79d567b" providerId="ADAL" clId="{159E7C2A-98AF-4A97-9389-7421C3C1E53F}" dt="2020-11-13T16:32:26.001" v="1344" actId="1038"/>
          <ac:spMkLst>
            <pc:docMk/>
            <pc:sldMk cId="3136490012" sldId="516"/>
            <ac:spMk id="48" creationId="{550B5241-A055-4A97-AFA6-0C804F2553E0}"/>
          </ac:spMkLst>
        </pc:spChg>
        <pc:spChg chg="mod">
          <ac:chgData name="Matthieu Mabyre" userId="52a89cab-5e6b-49ac-8601-6d3bc79d567b" providerId="ADAL" clId="{159E7C2A-98AF-4A97-9389-7421C3C1E53F}" dt="2020-11-13T17:29:57.685" v="2364" actId="20577"/>
          <ac:spMkLst>
            <pc:docMk/>
            <pc:sldMk cId="3136490012" sldId="516"/>
            <ac:spMk id="80" creationId="{6F5A7825-C260-4831-9B48-001AB9DF90D5}"/>
          </ac:spMkLst>
        </pc:spChg>
        <pc:grpChg chg="mod">
          <ac:chgData name="Matthieu Mabyre" userId="52a89cab-5e6b-49ac-8601-6d3bc79d567b" providerId="ADAL" clId="{159E7C2A-98AF-4A97-9389-7421C3C1E53F}" dt="2020-11-13T09:52:37.672" v="353" actId="14100"/>
          <ac:grpSpMkLst>
            <pc:docMk/>
            <pc:sldMk cId="3136490012" sldId="516"/>
            <ac:grpSpMk id="12" creationId="{2FFA7AA6-EF1B-47F4-83B4-7ADD97B76433}"/>
          </ac:grpSpMkLst>
        </pc:grpChg>
        <pc:grpChg chg="mod">
          <ac:chgData name="Matthieu Mabyre" userId="52a89cab-5e6b-49ac-8601-6d3bc79d567b" providerId="ADAL" clId="{159E7C2A-98AF-4A97-9389-7421C3C1E53F}" dt="2020-11-13T09:52:37.672" v="353" actId="14100"/>
          <ac:grpSpMkLst>
            <pc:docMk/>
            <pc:sldMk cId="3136490012" sldId="516"/>
            <ac:grpSpMk id="42" creationId="{88DAE97C-633A-4A00-9D3B-FF12DDC9AD78}"/>
          </ac:grpSpMkLst>
        </pc:grpChg>
        <pc:picChg chg="add mod ord">
          <ac:chgData name="Matthieu Mabyre" userId="52a89cab-5e6b-49ac-8601-6d3bc79d567b" providerId="ADAL" clId="{159E7C2A-98AF-4A97-9389-7421C3C1E53F}" dt="2020-11-13T17:23:01.829" v="2062" actId="167"/>
          <ac:picMkLst>
            <pc:docMk/>
            <pc:sldMk cId="3136490012" sldId="516"/>
            <ac:picMk id="4" creationId="{80C15636-96D6-4A3B-9885-B94B4DC55507}"/>
          </ac:picMkLst>
        </pc:picChg>
      </pc:sldChg>
      <pc:sldChg chg="addSp delSp modSp mod">
        <pc:chgData name="Matthieu Mabyre" userId="52a89cab-5e6b-49ac-8601-6d3bc79d567b" providerId="ADAL" clId="{159E7C2A-98AF-4A97-9389-7421C3C1E53F}" dt="2020-11-17T20:15:59.295" v="5911" actId="478"/>
        <pc:sldMkLst>
          <pc:docMk/>
          <pc:sldMk cId="4175953297" sldId="517"/>
        </pc:sldMkLst>
        <pc:spChg chg="del">
          <ac:chgData name="Matthieu Mabyre" userId="52a89cab-5e6b-49ac-8601-6d3bc79d567b" providerId="ADAL" clId="{159E7C2A-98AF-4A97-9389-7421C3C1E53F}" dt="2020-11-13T11:30:02.732" v="853" actId="478"/>
          <ac:spMkLst>
            <pc:docMk/>
            <pc:sldMk cId="4175953297" sldId="517"/>
            <ac:spMk id="4" creationId="{BB1C348F-DB08-4950-8670-3FEFC0DC0BEA}"/>
          </ac:spMkLst>
        </pc:spChg>
        <pc:spChg chg="mod">
          <ac:chgData name="Matthieu Mabyre" userId="52a89cab-5e6b-49ac-8601-6d3bc79d567b" providerId="ADAL" clId="{159E7C2A-98AF-4A97-9389-7421C3C1E53F}" dt="2020-11-13T16:35:39.798" v="1368" actId="14100"/>
          <ac:spMkLst>
            <pc:docMk/>
            <pc:sldMk cId="4175953297" sldId="517"/>
            <ac:spMk id="8" creationId="{002C3AD6-2F5E-4534-B638-C704D9D3D569}"/>
          </ac:spMkLst>
        </pc:spChg>
        <pc:spChg chg="mod">
          <ac:chgData name="Matthieu Mabyre" userId="52a89cab-5e6b-49ac-8601-6d3bc79d567b" providerId="ADAL" clId="{159E7C2A-98AF-4A97-9389-7421C3C1E53F}" dt="2020-11-13T16:35:51.901" v="1372" actId="14100"/>
          <ac:spMkLst>
            <pc:docMk/>
            <pc:sldMk cId="4175953297" sldId="517"/>
            <ac:spMk id="9" creationId="{BE896D1A-4DC9-460D-A48A-70595726F044}"/>
          </ac:spMkLst>
        </pc:spChg>
        <pc:spChg chg="mod">
          <ac:chgData name="Matthieu Mabyre" userId="52a89cab-5e6b-49ac-8601-6d3bc79d567b" providerId="ADAL" clId="{159E7C2A-98AF-4A97-9389-7421C3C1E53F}" dt="2020-11-13T16:35:44.942" v="1370" actId="14100"/>
          <ac:spMkLst>
            <pc:docMk/>
            <pc:sldMk cId="4175953297" sldId="517"/>
            <ac:spMk id="11" creationId="{0B94B40B-7832-46D5-B46C-5B66F529AF88}"/>
          </ac:spMkLst>
        </pc:spChg>
        <pc:spChg chg="mod">
          <ac:chgData name="Matthieu Mabyre" userId="52a89cab-5e6b-49ac-8601-6d3bc79d567b" providerId="ADAL" clId="{159E7C2A-98AF-4A97-9389-7421C3C1E53F}" dt="2020-11-13T16:56:45.372" v="1718" actId="20577"/>
          <ac:spMkLst>
            <pc:docMk/>
            <pc:sldMk cId="4175953297" sldId="517"/>
            <ac:spMk id="15" creationId="{7F764852-256F-49DF-B500-7AB466E1A418}"/>
          </ac:spMkLst>
        </pc:spChg>
        <pc:spChg chg="mod">
          <ac:chgData name="Matthieu Mabyre" userId="52a89cab-5e6b-49ac-8601-6d3bc79d567b" providerId="ADAL" clId="{159E7C2A-98AF-4A97-9389-7421C3C1E53F}" dt="2020-11-13T09:55:24.605" v="371" actId="20577"/>
          <ac:spMkLst>
            <pc:docMk/>
            <pc:sldMk cId="4175953297" sldId="517"/>
            <ac:spMk id="19" creationId="{A5637282-18F0-4AB5-8A7A-D839BEAE8C8E}"/>
          </ac:spMkLst>
        </pc:spChg>
        <pc:spChg chg="mod">
          <ac:chgData name="Matthieu Mabyre" userId="52a89cab-5e6b-49ac-8601-6d3bc79d567b" providerId="ADAL" clId="{159E7C2A-98AF-4A97-9389-7421C3C1E53F}" dt="2020-11-13T09:54:14.463" v="358" actId="14100"/>
          <ac:spMkLst>
            <pc:docMk/>
            <pc:sldMk cId="4175953297" sldId="517"/>
            <ac:spMk id="26" creationId="{57104545-F8E9-434B-A0B6-77A034D113B9}"/>
          </ac:spMkLst>
        </pc:spChg>
        <pc:spChg chg="mod">
          <ac:chgData name="Matthieu Mabyre" userId="52a89cab-5e6b-49ac-8601-6d3bc79d567b" providerId="ADAL" clId="{159E7C2A-98AF-4A97-9389-7421C3C1E53F}" dt="2020-11-13T16:34:10.713" v="1346" actId="20577"/>
          <ac:spMkLst>
            <pc:docMk/>
            <pc:sldMk cId="4175953297" sldId="517"/>
            <ac:spMk id="28" creationId="{DE1FCFDF-848D-4479-B9CD-70D6D0FD7B86}"/>
          </ac:spMkLst>
        </pc:spChg>
        <pc:spChg chg="mod">
          <ac:chgData name="Matthieu Mabyre" userId="52a89cab-5e6b-49ac-8601-6d3bc79d567b" providerId="ADAL" clId="{159E7C2A-98AF-4A97-9389-7421C3C1E53F}" dt="2020-11-13T09:54:14.463" v="358" actId="14100"/>
          <ac:spMkLst>
            <pc:docMk/>
            <pc:sldMk cId="4175953297" sldId="517"/>
            <ac:spMk id="29" creationId="{4DA7A29A-D95C-40B8-A5EF-CBEBDD3540F4}"/>
          </ac:spMkLst>
        </pc:spChg>
        <pc:spChg chg="mod">
          <ac:chgData name="Matthieu Mabyre" userId="52a89cab-5e6b-49ac-8601-6d3bc79d567b" providerId="ADAL" clId="{159E7C2A-98AF-4A97-9389-7421C3C1E53F}" dt="2020-11-13T09:54:14.463" v="358" actId="14100"/>
          <ac:spMkLst>
            <pc:docMk/>
            <pc:sldMk cId="4175953297" sldId="517"/>
            <ac:spMk id="30" creationId="{5346693D-031F-47AA-B5A4-A8133A9642B0}"/>
          </ac:spMkLst>
        </pc:spChg>
        <pc:spChg chg="mod">
          <ac:chgData name="Matthieu Mabyre" userId="52a89cab-5e6b-49ac-8601-6d3bc79d567b" providerId="ADAL" clId="{159E7C2A-98AF-4A97-9389-7421C3C1E53F}" dt="2020-11-13T09:54:14.463" v="358" actId="14100"/>
          <ac:spMkLst>
            <pc:docMk/>
            <pc:sldMk cId="4175953297" sldId="517"/>
            <ac:spMk id="31" creationId="{CE2BF30C-948B-4A4B-80B6-EB64BBBBC1C2}"/>
          </ac:spMkLst>
        </pc:spChg>
        <pc:spChg chg="mod">
          <ac:chgData name="Matthieu Mabyre" userId="52a89cab-5e6b-49ac-8601-6d3bc79d567b" providerId="ADAL" clId="{159E7C2A-98AF-4A97-9389-7421C3C1E53F}" dt="2020-11-13T23:59:37.044" v="2543" actId="313"/>
          <ac:spMkLst>
            <pc:docMk/>
            <pc:sldMk cId="4175953297" sldId="517"/>
            <ac:spMk id="44" creationId="{AECEF63A-8D6D-434A-B98F-757CEABB2C56}"/>
          </ac:spMkLst>
        </pc:spChg>
        <pc:spChg chg="mod">
          <ac:chgData name="Matthieu Mabyre" userId="52a89cab-5e6b-49ac-8601-6d3bc79d567b" providerId="ADAL" clId="{159E7C2A-98AF-4A97-9389-7421C3C1E53F}" dt="2020-11-13T09:55:34.135" v="398" actId="1038"/>
          <ac:spMkLst>
            <pc:docMk/>
            <pc:sldMk cId="4175953297" sldId="517"/>
            <ac:spMk id="49" creationId="{4593EDF8-B17E-4F23-96F2-7B57265E27C7}"/>
          </ac:spMkLst>
        </pc:spChg>
        <pc:grpChg chg="mod">
          <ac:chgData name="Matthieu Mabyre" userId="52a89cab-5e6b-49ac-8601-6d3bc79d567b" providerId="ADAL" clId="{159E7C2A-98AF-4A97-9389-7421C3C1E53F}" dt="2020-11-13T09:54:14.463" v="358" actId="14100"/>
          <ac:grpSpMkLst>
            <pc:docMk/>
            <pc:sldMk cId="4175953297" sldId="517"/>
            <ac:grpSpMk id="25" creationId="{36C41730-27C6-4116-A7A5-CD6A25361E67}"/>
          </ac:grpSpMkLst>
        </pc:grpChg>
        <pc:grpChg chg="mod">
          <ac:chgData name="Matthieu Mabyre" userId="52a89cab-5e6b-49ac-8601-6d3bc79d567b" providerId="ADAL" clId="{159E7C2A-98AF-4A97-9389-7421C3C1E53F}" dt="2020-11-13T09:54:14.463" v="358" actId="14100"/>
          <ac:grpSpMkLst>
            <pc:docMk/>
            <pc:sldMk cId="4175953297" sldId="517"/>
            <ac:grpSpMk id="27" creationId="{0665A04C-8840-44E3-95C8-BFB8019B6818}"/>
          </ac:grpSpMkLst>
        </pc:grpChg>
        <pc:graphicFrameChg chg="modGraphic">
          <ac:chgData name="Matthieu Mabyre" userId="52a89cab-5e6b-49ac-8601-6d3bc79d567b" providerId="ADAL" clId="{159E7C2A-98AF-4A97-9389-7421C3C1E53F}" dt="2020-11-13T16:54:42.244" v="1701" actId="20577"/>
          <ac:graphicFrameMkLst>
            <pc:docMk/>
            <pc:sldMk cId="4175953297" sldId="517"/>
            <ac:graphicFrameMk id="10" creationId="{215B3BAA-C7A4-4B52-A79A-C282D5DEF2CC}"/>
          </ac:graphicFrameMkLst>
        </pc:graphicFrameChg>
        <pc:graphicFrameChg chg="add mod ord">
          <ac:chgData name="Matthieu Mabyre" userId="52a89cab-5e6b-49ac-8601-6d3bc79d567b" providerId="ADAL" clId="{159E7C2A-98AF-4A97-9389-7421C3C1E53F}" dt="2020-11-13T16:35:17.022" v="1352" actId="167"/>
          <ac:graphicFrameMkLst>
            <pc:docMk/>
            <pc:sldMk cId="4175953297" sldId="517"/>
            <ac:graphicFrameMk id="43" creationId="{A3EBB9A2-CAC4-4812-8F42-7349D4DEF294}"/>
          </ac:graphicFrameMkLst>
        </pc:graphicFrameChg>
        <pc:picChg chg="del">
          <ac:chgData name="Matthieu Mabyre" userId="52a89cab-5e6b-49ac-8601-6d3bc79d567b" providerId="ADAL" clId="{159E7C2A-98AF-4A97-9389-7421C3C1E53F}" dt="2020-11-17T20:15:59.295" v="5911" actId="478"/>
          <ac:picMkLst>
            <pc:docMk/>
            <pc:sldMk cId="4175953297" sldId="517"/>
            <ac:picMk id="3" creationId="{00000000-0000-0000-0000-000000000000}"/>
          </ac:picMkLst>
        </pc:picChg>
        <pc:picChg chg="add mod ord">
          <ac:chgData name="Matthieu Mabyre" userId="52a89cab-5e6b-49ac-8601-6d3bc79d567b" providerId="ADAL" clId="{159E7C2A-98AF-4A97-9389-7421C3C1E53F}" dt="2020-11-13T16:35:21.764" v="1362" actId="1035"/>
          <ac:picMkLst>
            <pc:docMk/>
            <pc:sldMk cId="4175953297" sldId="517"/>
            <ac:picMk id="4" creationId="{F8D928AB-5778-4EC4-ADFF-9534CEBB5D82}"/>
          </ac:picMkLst>
        </pc:picChg>
        <pc:picChg chg="add del mod ord">
          <ac:chgData name="Matthieu Mabyre" userId="52a89cab-5e6b-49ac-8601-6d3bc79d567b" providerId="ADAL" clId="{159E7C2A-98AF-4A97-9389-7421C3C1E53F}" dt="2020-11-13T16:35:05.743" v="1347" actId="478"/>
          <ac:picMkLst>
            <pc:docMk/>
            <pc:sldMk cId="4175953297" sldId="517"/>
            <ac:picMk id="5" creationId="{18A2FF90-FCB3-4E99-AC14-8ABE4FB93E9B}"/>
          </ac:picMkLst>
        </pc:picChg>
      </pc:sldChg>
      <pc:sldChg chg="delSp mod">
        <pc:chgData name="Matthieu Mabyre" userId="52a89cab-5e6b-49ac-8601-6d3bc79d567b" providerId="ADAL" clId="{159E7C2A-98AF-4A97-9389-7421C3C1E53F}" dt="2020-11-18T08:40:24.571" v="7732" actId="478"/>
        <pc:sldMkLst>
          <pc:docMk/>
          <pc:sldMk cId="518674020" sldId="520"/>
        </pc:sldMkLst>
        <pc:spChg chg="del">
          <ac:chgData name="Matthieu Mabyre" userId="52a89cab-5e6b-49ac-8601-6d3bc79d567b" providerId="ADAL" clId="{159E7C2A-98AF-4A97-9389-7421C3C1E53F}" dt="2020-11-18T08:40:24.571" v="7732" actId="478"/>
          <ac:spMkLst>
            <pc:docMk/>
            <pc:sldMk cId="518674020" sldId="520"/>
            <ac:spMk id="3" creationId="{449CE7A4-71B9-46DF-A50C-C23CC9173D94}"/>
          </ac:spMkLst>
        </pc:spChg>
      </pc:sldChg>
      <pc:sldChg chg="delSp modSp mod">
        <pc:chgData name="Matthieu Mabyre" userId="52a89cab-5e6b-49ac-8601-6d3bc79d567b" providerId="ADAL" clId="{159E7C2A-98AF-4A97-9389-7421C3C1E53F}" dt="2020-11-17T18:06:51.943" v="4548" actId="20577"/>
        <pc:sldMkLst>
          <pc:docMk/>
          <pc:sldMk cId="1222016507" sldId="521"/>
        </pc:sldMkLst>
        <pc:spChg chg="mod">
          <ac:chgData name="Matthieu Mabyre" userId="52a89cab-5e6b-49ac-8601-6d3bc79d567b" providerId="ADAL" clId="{159E7C2A-98AF-4A97-9389-7421C3C1E53F}" dt="2020-11-17T18:05:14.888" v="4530" actId="20577"/>
          <ac:spMkLst>
            <pc:docMk/>
            <pc:sldMk cId="1222016507" sldId="521"/>
            <ac:spMk id="2" creationId="{00000000-0000-0000-0000-000000000000}"/>
          </ac:spMkLst>
        </pc:spChg>
        <pc:spChg chg="mod">
          <ac:chgData name="Matthieu Mabyre" userId="52a89cab-5e6b-49ac-8601-6d3bc79d567b" providerId="ADAL" clId="{159E7C2A-98AF-4A97-9389-7421C3C1E53F}" dt="2020-11-17T18:06:51.943" v="4548" actId="20577"/>
          <ac:spMkLst>
            <pc:docMk/>
            <pc:sldMk cId="1222016507" sldId="521"/>
            <ac:spMk id="5" creationId="{57DA03D2-BDDD-4B29-A79F-3BCEC511705B}"/>
          </ac:spMkLst>
        </pc:spChg>
        <pc:spChg chg="del">
          <ac:chgData name="Matthieu Mabyre" userId="52a89cab-5e6b-49ac-8601-6d3bc79d567b" providerId="ADAL" clId="{159E7C2A-98AF-4A97-9389-7421C3C1E53F}" dt="2020-11-17T12:29:15.611" v="3922" actId="478"/>
          <ac:spMkLst>
            <pc:docMk/>
            <pc:sldMk cId="1222016507" sldId="521"/>
            <ac:spMk id="6" creationId="{D9563F3F-CFA5-443C-AC9C-23141FD3C224}"/>
          </ac:spMkLst>
        </pc:spChg>
        <pc:spChg chg="mod">
          <ac:chgData name="Matthieu Mabyre" userId="52a89cab-5e6b-49ac-8601-6d3bc79d567b" providerId="ADAL" clId="{159E7C2A-98AF-4A97-9389-7421C3C1E53F}" dt="2020-11-17T17:16:25.537" v="4339" actId="20577"/>
          <ac:spMkLst>
            <pc:docMk/>
            <pc:sldMk cId="1222016507" sldId="521"/>
            <ac:spMk id="14" creationId="{3ADA01F1-3B4B-4FAA-84E6-17ACC70140F8}"/>
          </ac:spMkLst>
        </pc:spChg>
        <pc:spChg chg="mod">
          <ac:chgData name="Matthieu Mabyre" userId="52a89cab-5e6b-49ac-8601-6d3bc79d567b" providerId="ADAL" clId="{159E7C2A-98AF-4A97-9389-7421C3C1E53F}" dt="2020-11-17T17:18:26.912" v="4354"/>
          <ac:spMkLst>
            <pc:docMk/>
            <pc:sldMk cId="1222016507" sldId="521"/>
            <ac:spMk id="29" creationId="{72CB840D-447D-492C-A14A-718942E7B821}"/>
          </ac:spMkLst>
        </pc:spChg>
        <pc:spChg chg="mod">
          <ac:chgData name="Matthieu Mabyre" userId="52a89cab-5e6b-49ac-8601-6d3bc79d567b" providerId="ADAL" clId="{159E7C2A-98AF-4A97-9389-7421C3C1E53F}" dt="2020-11-17T18:06:28.071" v="4540" actId="20577"/>
          <ac:spMkLst>
            <pc:docMk/>
            <pc:sldMk cId="1222016507" sldId="521"/>
            <ac:spMk id="56" creationId="{3280F2A9-5208-4D26-B8F6-7B5775F8A555}"/>
          </ac:spMkLst>
        </pc:spChg>
        <pc:graphicFrameChg chg="modGraphic">
          <ac:chgData name="Matthieu Mabyre" userId="52a89cab-5e6b-49ac-8601-6d3bc79d567b" providerId="ADAL" clId="{159E7C2A-98AF-4A97-9389-7421C3C1E53F}" dt="2020-11-17T17:29:11.456" v="4486" actId="20577"/>
          <ac:graphicFrameMkLst>
            <pc:docMk/>
            <pc:sldMk cId="1222016507" sldId="521"/>
            <ac:graphicFrameMk id="53" creationId="{E5833FD7-3504-4AE9-9C58-79A4D525D16B}"/>
          </ac:graphicFrameMkLst>
        </pc:graphicFrameChg>
        <pc:graphicFrameChg chg="mod modGraphic">
          <ac:chgData name="Matthieu Mabyre" userId="52a89cab-5e6b-49ac-8601-6d3bc79d567b" providerId="ADAL" clId="{159E7C2A-98AF-4A97-9389-7421C3C1E53F}" dt="2020-11-17T12:29:08.450" v="3919" actId="20577"/>
          <ac:graphicFrameMkLst>
            <pc:docMk/>
            <pc:sldMk cId="1222016507" sldId="521"/>
            <ac:graphicFrameMk id="55" creationId="{A7A9C0A9-652B-44C1-AFD0-CA965CA34DBB}"/>
          </ac:graphicFrameMkLst>
        </pc:graphicFrameChg>
      </pc:sldChg>
      <pc:sldChg chg="addSp delSp modSp mod">
        <pc:chgData name="Matthieu Mabyre" userId="52a89cab-5e6b-49ac-8601-6d3bc79d567b" providerId="ADAL" clId="{159E7C2A-98AF-4A97-9389-7421C3C1E53F}" dt="2020-11-17T17:34:16.358" v="4494" actId="1038"/>
        <pc:sldMkLst>
          <pc:docMk/>
          <pc:sldMk cId="108594913" sldId="522"/>
        </pc:sldMkLst>
        <pc:spChg chg="mod">
          <ac:chgData name="Matthieu Mabyre" userId="52a89cab-5e6b-49ac-8601-6d3bc79d567b" providerId="ADAL" clId="{159E7C2A-98AF-4A97-9389-7421C3C1E53F}" dt="2020-11-17T12:03:22.364" v="3321" actId="1035"/>
          <ac:spMkLst>
            <pc:docMk/>
            <pc:sldMk cId="108594913" sldId="522"/>
            <ac:spMk id="2" creationId="{00000000-0000-0000-0000-000000000000}"/>
          </ac:spMkLst>
        </pc:spChg>
        <pc:spChg chg="add del">
          <ac:chgData name="Matthieu Mabyre" userId="52a89cab-5e6b-49ac-8601-6d3bc79d567b" providerId="ADAL" clId="{159E7C2A-98AF-4A97-9389-7421C3C1E53F}" dt="2020-11-17T12:02:56.305" v="3279" actId="478"/>
          <ac:spMkLst>
            <pc:docMk/>
            <pc:sldMk cId="108594913" sldId="522"/>
            <ac:spMk id="3" creationId="{4983DAF1-6F82-4687-B816-C1F2F7E4602E}"/>
          </ac:spMkLst>
        </pc:spChg>
        <pc:spChg chg="mod">
          <ac:chgData name="Matthieu Mabyre" userId="52a89cab-5e6b-49ac-8601-6d3bc79d567b" providerId="ADAL" clId="{159E7C2A-98AF-4A97-9389-7421C3C1E53F}" dt="2020-11-17T16:54:41.483" v="4013" actId="20577"/>
          <ac:spMkLst>
            <pc:docMk/>
            <pc:sldMk cId="108594913" sldId="522"/>
            <ac:spMk id="20" creationId="{00000000-0000-0000-0000-000000000000}"/>
          </ac:spMkLst>
        </pc:spChg>
        <pc:spChg chg="mod">
          <ac:chgData name="Matthieu Mabyre" userId="52a89cab-5e6b-49ac-8601-6d3bc79d567b" providerId="ADAL" clId="{159E7C2A-98AF-4A97-9389-7421C3C1E53F}" dt="2020-11-17T17:00:46.649" v="4315" actId="20577"/>
          <ac:spMkLst>
            <pc:docMk/>
            <pc:sldMk cId="108594913" sldId="522"/>
            <ac:spMk id="26" creationId="{AEB16DAA-5611-403C-B2AC-BDBDBC7C939C}"/>
          </ac:spMkLst>
        </pc:spChg>
        <pc:spChg chg="mod">
          <ac:chgData name="Matthieu Mabyre" userId="52a89cab-5e6b-49ac-8601-6d3bc79d567b" providerId="ADAL" clId="{159E7C2A-98AF-4A97-9389-7421C3C1E53F}" dt="2020-11-17T12:07:35.729" v="3505" actId="20577"/>
          <ac:spMkLst>
            <pc:docMk/>
            <pc:sldMk cId="108594913" sldId="522"/>
            <ac:spMk id="30" creationId="{BC68C9EA-24FC-4D79-A0C1-213D45B72034}"/>
          </ac:spMkLst>
        </pc:spChg>
        <pc:spChg chg="mod">
          <ac:chgData name="Matthieu Mabyre" userId="52a89cab-5e6b-49ac-8601-6d3bc79d567b" providerId="ADAL" clId="{159E7C2A-98AF-4A97-9389-7421C3C1E53F}" dt="2020-11-17T12:08:36.775" v="3552" actId="20577"/>
          <ac:spMkLst>
            <pc:docMk/>
            <pc:sldMk cId="108594913" sldId="522"/>
            <ac:spMk id="35" creationId="{585C8BDE-00A1-40A8-991A-D9FB72664A3A}"/>
          </ac:spMkLst>
        </pc:spChg>
        <pc:grpChg chg="mod">
          <ac:chgData name="Matthieu Mabyre" userId="52a89cab-5e6b-49ac-8601-6d3bc79d567b" providerId="ADAL" clId="{159E7C2A-98AF-4A97-9389-7421C3C1E53F}" dt="2020-11-17T17:00:21.788" v="4273" actId="1035"/>
          <ac:grpSpMkLst>
            <pc:docMk/>
            <pc:sldMk cId="108594913" sldId="522"/>
            <ac:grpSpMk id="9" creationId="{0C9A9329-34F4-42B3-B417-32AA75A6C343}"/>
          </ac:grpSpMkLst>
        </pc:grpChg>
        <pc:grpChg chg="mod">
          <ac:chgData name="Matthieu Mabyre" userId="52a89cab-5e6b-49ac-8601-6d3bc79d567b" providerId="ADAL" clId="{159E7C2A-98AF-4A97-9389-7421C3C1E53F}" dt="2020-11-17T17:00:54.413" v="4318" actId="1036"/>
          <ac:grpSpMkLst>
            <pc:docMk/>
            <pc:sldMk cId="108594913" sldId="522"/>
            <ac:grpSpMk id="10" creationId="{C4153FF1-0D99-45EB-9EE7-432D02358821}"/>
          </ac:grpSpMkLst>
        </pc:grpChg>
        <pc:grpChg chg="mod">
          <ac:chgData name="Matthieu Mabyre" userId="52a89cab-5e6b-49ac-8601-6d3bc79d567b" providerId="ADAL" clId="{159E7C2A-98AF-4A97-9389-7421C3C1E53F}" dt="2020-11-17T17:00:14.774" v="4261" actId="1035"/>
          <ac:grpSpMkLst>
            <pc:docMk/>
            <pc:sldMk cId="108594913" sldId="522"/>
            <ac:grpSpMk id="31" creationId="{38FC6969-A1FD-4AB4-A0CC-39011B67590E}"/>
          </ac:grpSpMkLst>
        </pc:grpChg>
        <pc:graphicFrameChg chg="add del mod">
          <ac:chgData name="Matthieu Mabyre" userId="52a89cab-5e6b-49ac-8601-6d3bc79d567b" providerId="ADAL" clId="{159E7C2A-98AF-4A97-9389-7421C3C1E53F}" dt="2020-11-17T17:30:04.952" v="4487" actId="478"/>
          <ac:graphicFrameMkLst>
            <pc:docMk/>
            <pc:sldMk cId="108594913" sldId="522"/>
            <ac:graphicFrameMk id="3" creationId="{A7D5D566-856A-47EC-8EB6-322228BCA925}"/>
          </ac:graphicFrameMkLst>
        </pc:graphicFrameChg>
        <pc:graphicFrameChg chg="add mod modGraphic">
          <ac:chgData name="Matthieu Mabyre" userId="52a89cab-5e6b-49ac-8601-6d3bc79d567b" providerId="ADAL" clId="{159E7C2A-98AF-4A97-9389-7421C3C1E53F}" dt="2020-11-17T16:59:49.478" v="4245" actId="20577"/>
          <ac:graphicFrameMkLst>
            <pc:docMk/>
            <pc:sldMk cId="108594913" sldId="522"/>
            <ac:graphicFrameMk id="4" creationId="{773DBB83-D38F-46C2-A3E1-095955935B27}"/>
          </ac:graphicFrameMkLst>
        </pc:graphicFrameChg>
        <pc:graphicFrameChg chg="del">
          <ac:chgData name="Matthieu Mabyre" userId="52a89cab-5e6b-49ac-8601-6d3bc79d567b" providerId="ADAL" clId="{159E7C2A-98AF-4A97-9389-7421C3C1E53F}" dt="2020-11-17T12:00:39.751" v="3233" actId="478"/>
          <ac:graphicFrameMkLst>
            <pc:docMk/>
            <pc:sldMk cId="108594913" sldId="522"/>
            <ac:graphicFrameMk id="4" creationId="{E15926DB-CEE9-4AB9-B7E9-9CD6E2EF3908}"/>
          </ac:graphicFrameMkLst>
        </pc:graphicFrameChg>
        <pc:graphicFrameChg chg="add del mod modGraphic">
          <ac:chgData name="Matthieu Mabyre" userId="52a89cab-5e6b-49ac-8601-6d3bc79d567b" providerId="ADAL" clId="{159E7C2A-98AF-4A97-9389-7421C3C1E53F}" dt="2020-11-17T16:54:51.642" v="4014" actId="478"/>
          <ac:graphicFrameMkLst>
            <pc:docMk/>
            <pc:sldMk cId="108594913" sldId="522"/>
            <ac:graphicFrameMk id="5" creationId="{7A147997-FC9E-4161-A7E7-09A657DAE8F2}"/>
          </ac:graphicFrameMkLst>
        </pc:graphicFrameChg>
        <pc:graphicFrameChg chg="add mod">
          <ac:chgData name="Matthieu Mabyre" userId="52a89cab-5e6b-49ac-8601-6d3bc79d567b" providerId="ADAL" clId="{159E7C2A-98AF-4A97-9389-7421C3C1E53F}" dt="2020-11-17T17:34:16.358" v="4494" actId="1038"/>
          <ac:graphicFrameMkLst>
            <pc:docMk/>
            <pc:sldMk cId="108594913" sldId="522"/>
            <ac:graphicFrameMk id="6" creationId="{1BE35C6F-DDAB-4FEF-AA1D-788A7FDF080A}"/>
          </ac:graphicFrameMkLst>
        </pc:graphicFrameChg>
        <pc:graphicFrameChg chg="add del mod modGraphic">
          <ac:chgData name="Matthieu Mabyre" userId="52a89cab-5e6b-49ac-8601-6d3bc79d567b" providerId="ADAL" clId="{159E7C2A-98AF-4A97-9389-7421C3C1E53F}" dt="2020-11-17T12:02:32.206" v="3263"/>
          <ac:graphicFrameMkLst>
            <pc:docMk/>
            <pc:sldMk cId="108594913" sldId="522"/>
            <ac:graphicFrameMk id="6" creationId="{FFC9B916-D086-40AA-BD08-A6F2C85EA434}"/>
          </ac:graphicFrameMkLst>
        </pc:graphicFrameChg>
        <pc:graphicFrameChg chg="add del mod modGraphic">
          <ac:chgData name="Matthieu Mabyre" userId="52a89cab-5e6b-49ac-8601-6d3bc79d567b" providerId="ADAL" clId="{159E7C2A-98AF-4A97-9389-7421C3C1E53F}" dt="2020-11-17T12:02:50.489" v="3267"/>
          <ac:graphicFrameMkLst>
            <pc:docMk/>
            <pc:sldMk cId="108594913" sldId="522"/>
            <ac:graphicFrameMk id="7" creationId="{3AD3206F-8F0E-4B20-A481-C2538DB42C4C}"/>
          </ac:graphicFrameMkLst>
        </pc:graphicFrameChg>
        <pc:cxnChg chg="mod">
          <ac:chgData name="Matthieu Mabyre" userId="52a89cab-5e6b-49ac-8601-6d3bc79d567b" providerId="ADAL" clId="{159E7C2A-98AF-4A97-9389-7421C3C1E53F}" dt="2020-11-17T12:09:14.947" v="3650" actId="14100"/>
          <ac:cxnSpMkLst>
            <pc:docMk/>
            <pc:sldMk cId="108594913" sldId="522"/>
            <ac:cxnSpMk id="23" creationId="{F41C0268-2872-4102-B669-FC22DD2BC751}"/>
          </ac:cxnSpMkLst>
        </pc:cxnChg>
        <pc:cxnChg chg="mod">
          <ac:chgData name="Matthieu Mabyre" userId="52a89cab-5e6b-49ac-8601-6d3bc79d567b" providerId="ADAL" clId="{159E7C2A-98AF-4A97-9389-7421C3C1E53F}" dt="2020-11-17T12:09:35.839" v="3667" actId="14100"/>
          <ac:cxnSpMkLst>
            <pc:docMk/>
            <pc:sldMk cId="108594913" sldId="522"/>
            <ac:cxnSpMk id="37" creationId="{99059E07-0560-4051-BDA5-10762518F3D6}"/>
          </ac:cxnSpMkLst>
        </pc:cxnChg>
      </pc:sldChg>
      <pc:sldChg chg="delSp modSp mod">
        <pc:chgData name="Matthieu Mabyre" userId="52a89cab-5e6b-49ac-8601-6d3bc79d567b" providerId="ADAL" clId="{159E7C2A-98AF-4A97-9389-7421C3C1E53F}" dt="2020-11-17T10:21:49.534" v="2574" actId="12"/>
        <pc:sldMkLst>
          <pc:docMk/>
          <pc:sldMk cId="1973551745" sldId="523"/>
        </pc:sldMkLst>
        <pc:spChg chg="del">
          <ac:chgData name="Matthieu Mabyre" userId="52a89cab-5e6b-49ac-8601-6d3bc79d567b" providerId="ADAL" clId="{159E7C2A-98AF-4A97-9389-7421C3C1E53F}" dt="2020-11-17T10:20:12.896" v="2564" actId="478"/>
          <ac:spMkLst>
            <pc:docMk/>
            <pc:sldMk cId="1973551745" sldId="523"/>
            <ac:spMk id="3" creationId="{FBFC5B77-DBE6-4751-AE52-6F64202D4E8D}"/>
          </ac:spMkLst>
        </pc:spChg>
        <pc:spChg chg="mod">
          <ac:chgData name="Matthieu Mabyre" userId="52a89cab-5e6b-49ac-8601-6d3bc79d567b" providerId="ADAL" clId="{159E7C2A-98AF-4A97-9389-7421C3C1E53F}" dt="2020-11-17T10:21:49.534" v="2574" actId="12"/>
          <ac:spMkLst>
            <pc:docMk/>
            <pc:sldMk cId="1973551745" sldId="523"/>
            <ac:spMk id="39" creationId="{9B3B3C2B-2D6A-454B-9637-F6BD98B02D8E}"/>
          </ac:spMkLst>
        </pc:spChg>
        <pc:spChg chg="mod">
          <ac:chgData name="Matthieu Mabyre" userId="52a89cab-5e6b-49ac-8601-6d3bc79d567b" providerId="ADAL" clId="{159E7C2A-98AF-4A97-9389-7421C3C1E53F}" dt="2020-11-17T10:19:44.293" v="2552" actId="1035"/>
          <ac:spMkLst>
            <pc:docMk/>
            <pc:sldMk cId="1973551745" sldId="523"/>
            <ac:spMk id="40" creationId="{062DBB7B-8D0C-4648-A550-81B348C37DC4}"/>
          </ac:spMkLst>
        </pc:spChg>
        <pc:picChg chg="mod">
          <ac:chgData name="Matthieu Mabyre" userId="52a89cab-5e6b-49ac-8601-6d3bc79d567b" providerId="ADAL" clId="{159E7C2A-98AF-4A97-9389-7421C3C1E53F}" dt="2020-11-17T10:19:56.430" v="2558" actId="1037"/>
          <ac:picMkLst>
            <pc:docMk/>
            <pc:sldMk cId="1973551745" sldId="523"/>
            <ac:picMk id="4" creationId="{0E094A60-48F2-4692-9164-3B4F6AB4904D}"/>
          </ac:picMkLst>
        </pc:picChg>
      </pc:sldChg>
      <pc:sldChg chg="delSp modSp mod">
        <pc:chgData name="Matthieu Mabyre" userId="52a89cab-5e6b-49ac-8601-6d3bc79d567b" providerId="ADAL" clId="{159E7C2A-98AF-4A97-9389-7421C3C1E53F}" dt="2020-11-18T15:37:12.489" v="8296" actId="20577"/>
        <pc:sldMkLst>
          <pc:docMk/>
          <pc:sldMk cId="1691118265" sldId="524"/>
        </pc:sldMkLst>
        <pc:spChg chg="del">
          <ac:chgData name="Matthieu Mabyre" userId="52a89cab-5e6b-49ac-8601-6d3bc79d567b" providerId="ADAL" clId="{159E7C2A-98AF-4A97-9389-7421C3C1E53F}" dt="2020-11-18T08:57:19.926" v="7801" actId="478"/>
          <ac:spMkLst>
            <pc:docMk/>
            <pc:sldMk cId="1691118265" sldId="524"/>
            <ac:spMk id="6" creationId="{069B514F-2CB3-4680-B3DD-EFC9812CA458}"/>
          </ac:spMkLst>
        </pc:spChg>
        <pc:spChg chg="mod">
          <ac:chgData name="Matthieu Mabyre" userId="52a89cab-5e6b-49ac-8601-6d3bc79d567b" providerId="ADAL" clId="{159E7C2A-98AF-4A97-9389-7421C3C1E53F}" dt="2020-11-18T15:37:12.489" v="8296" actId="20577"/>
          <ac:spMkLst>
            <pc:docMk/>
            <pc:sldMk cId="1691118265" sldId="524"/>
            <ac:spMk id="14" creationId="{C1C0AD37-CCF3-468A-98B5-F34CF1C88E45}"/>
          </ac:spMkLst>
        </pc:spChg>
        <pc:spChg chg="mod">
          <ac:chgData name="Matthieu Mabyre" userId="52a89cab-5e6b-49ac-8601-6d3bc79d567b" providerId="ADAL" clId="{159E7C2A-98AF-4A97-9389-7421C3C1E53F}" dt="2020-11-18T15:12:11.064" v="7964" actId="20577"/>
          <ac:spMkLst>
            <pc:docMk/>
            <pc:sldMk cId="1691118265" sldId="524"/>
            <ac:spMk id="18" creationId="{AEFE1B7A-8C89-49E9-99B9-C28FF04F35A2}"/>
          </ac:spMkLst>
        </pc:spChg>
      </pc:sldChg>
      <pc:sldChg chg="addSp delSp modSp add mod">
        <pc:chgData name="Matthieu Mabyre" userId="52a89cab-5e6b-49ac-8601-6d3bc79d567b" providerId="ADAL" clId="{159E7C2A-98AF-4A97-9389-7421C3C1E53F}" dt="2020-11-18T15:36:40.395" v="8290" actId="13926"/>
        <pc:sldMkLst>
          <pc:docMk/>
          <pc:sldMk cId="525587053" sldId="555"/>
        </pc:sldMkLst>
        <pc:spChg chg="add del">
          <ac:chgData name="Matthieu Mabyre" userId="52a89cab-5e6b-49ac-8601-6d3bc79d567b" providerId="ADAL" clId="{159E7C2A-98AF-4A97-9389-7421C3C1E53F}" dt="2020-11-18T08:37:51.097" v="7718" actId="478"/>
          <ac:spMkLst>
            <pc:docMk/>
            <pc:sldMk cId="525587053" sldId="555"/>
            <ac:spMk id="3" creationId="{12E34D3F-2A88-490F-865C-D51684A8A5E7}"/>
          </ac:spMkLst>
        </pc:spChg>
        <pc:spChg chg="mod">
          <ac:chgData name="Matthieu Mabyre" userId="52a89cab-5e6b-49ac-8601-6d3bc79d567b" providerId="ADAL" clId="{159E7C2A-98AF-4A97-9389-7421C3C1E53F}" dt="2020-11-18T15:27:15.774" v="8077" actId="13926"/>
          <ac:spMkLst>
            <pc:docMk/>
            <pc:sldMk cId="525587053" sldId="555"/>
            <ac:spMk id="25" creationId="{822CB3C9-19F1-48FD-B87F-0FE3265E0570}"/>
          </ac:spMkLst>
        </pc:spChg>
        <pc:graphicFrameChg chg="mod modGraphic">
          <ac:chgData name="Matthieu Mabyre" userId="52a89cab-5e6b-49ac-8601-6d3bc79d567b" providerId="ADAL" clId="{159E7C2A-98AF-4A97-9389-7421C3C1E53F}" dt="2020-11-18T15:36:40.395" v="8290" actId="13926"/>
          <ac:graphicFrameMkLst>
            <pc:docMk/>
            <pc:sldMk cId="525587053" sldId="555"/>
            <ac:graphicFrameMk id="28" creationId="{994870E9-25EF-4A43-B1A1-38CC6A36FD4D}"/>
          </ac:graphicFrameMkLst>
        </pc:graphicFrameChg>
      </pc:sldChg>
    </pc:docChg>
  </pc:docChgLst>
  <pc:docChgLst>
    <pc:chgData name="Matthieu Mabyre" userId="S::m.mabyre@castsoftware.com::52a89cab-5e6b-49ac-8601-6d3bc79d567b" providerId="AD" clId="Web-{CFC519F6-7B9F-4BAC-AF07-984E927E9B19}"/>
    <pc:docChg chg="modSld">
      <pc:chgData name="Matthieu Mabyre" userId="S::m.mabyre@castsoftware.com::52a89cab-5e6b-49ac-8601-6d3bc79d567b" providerId="AD" clId="Web-{CFC519F6-7B9F-4BAC-AF07-984E927E9B19}" dt="2020-11-18T15:50:47.997" v="5" actId="20577"/>
      <pc:docMkLst>
        <pc:docMk/>
      </pc:docMkLst>
      <pc:sldChg chg="modSp">
        <pc:chgData name="Matthieu Mabyre" userId="S::m.mabyre@castsoftware.com::52a89cab-5e6b-49ac-8601-6d3bc79d567b" providerId="AD" clId="Web-{CFC519F6-7B9F-4BAC-AF07-984E927E9B19}" dt="2020-11-18T15:50:47.997" v="5" actId="20577"/>
        <pc:sldMkLst>
          <pc:docMk/>
          <pc:sldMk cId="2762800380" sldId="448"/>
        </pc:sldMkLst>
        <pc:spChg chg="mod">
          <ac:chgData name="Matthieu Mabyre" userId="S::m.mabyre@castsoftware.com::52a89cab-5e6b-49ac-8601-6d3bc79d567b" providerId="AD" clId="Web-{CFC519F6-7B9F-4BAC-AF07-984E927E9B19}" dt="2020-11-18T15:50:47.997" v="5" actId="20577"/>
          <ac:spMkLst>
            <pc:docMk/>
            <pc:sldMk cId="2762800380" sldId="448"/>
            <ac:spMk id="80" creationId="{6F5A7825-C260-4831-9B48-001AB9DF90D5}"/>
          </ac:spMkLst>
        </pc:spChg>
      </pc:sldChg>
    </pc:docChg>
  </pc:docChgLst>
  <pc:docChgLst>
    <pc:chgData name="Matthieu Mabyre" userId="S::m.mabyre@castsoftware.com::52a89cab-5e6b-49ac-8601-6d3bc79d567b" providerId="AD" clId="Web-{31E80309-757D-47C2-BDB0-4DC94BD42930}"/>
    <pc:docChg chg="modSld">
      <pc:chgData name="Matthieu Mabyre" userId="S::m.mabyre@castsoftware.com::52a89cab-5e6b-49ac-8601-6d3bc79d567b" providerId="AD" clId="Web-{31E80309-757D-47C2-BDB0-4DC94BD42930}" dt="2020-10-02T15:54:13.568" v="24" actId="20577"/>
      <pc:docMkLst>
        <pc:docMk/>
      </pc:docMkLst>
      <pc:sldChg chg="modSp">
        <pc:chgData name="Matthieu Mabyre" userId="S::m.mabyre@castsoftware.com::52a89cab-5e6b-49ac-8601-6d3bc79d567b" providerId="AD" clId="Web-{31E80309-757D-47C2-BDB0-4DC94BD42930}" dt="2020-10-02T15:54:03.161" v="16" actId="20577"/>
        <pc:sldMkLst>
          <pc:docMk/>
          <pc:sldMk cId="2797066760" sldId="446"/>
        </pc:sldMkLst>
        <pc:spChg chg="mod">
          <ac:chgData name="Matthieu Mabyre" userId="S::m.mabyre@castsoftware.com::52a89cab-5e6b-49ac-8601-6d3bc79d567b" providerId="AD" clId="Web-{31E80309-757D-47C2-BDB0-4DC94BD42930}" dt="2020-10-02T15:54:03.161" v="16" actId="20577"/>
          <ac:spMkLst>
            <pc:docMk/>
            <pc:sldMk cId="2797066760" sldId="446"/>
            <ac:spMk id="2" creationId="{00000000-0000-0000-0000-000000000000}"/>
          </ac:spMkLst>
        </pc:spChg>
      </pc:sldChg>
      <pc:sldChg chg="modSp">
        <pc:chgData name="Matthieu Mabyre" userId="S::m.mabyre@castsoftware.com::52a89cab-5e6b-49ac-8601-6d3bc79d567b" providerId="AD" clId="Web-{31E80309-757D-47C2-BDB0-4DC94BD42930}" dt="2020-10-02T15:54:13.568" v="23" actId="20577"/>
        <pc:sldMkLst>
          <pc:docMk/>
          <pc:sldMk cId="2005443533" sldId="487"/>
        </pc:sldMkLst>
        <pc:spChg chg="mod">
          <ac:chgData name="Matthieu Mabyre" userId="S::m.mabyre@castsoftware.com::52a89cab-5e6b-49ac-8601-6d3bc79d567b" providerId="AD" clId="Web-{31E80309-757D-47C2-BDB0-4DC94BD42930}" dt="2020-10-02T15:54:13.568" v="23" actId="20577"/>
          <ac:spMkLst>
            <pc:docMk/>
            <pc:sldMk cId="2005443533" sldId="487"/>
            <ac:spMk id="2" creationId="{00000000-0000-0000-0000-000000000000}"/>
          </ac:spMkLst>
        </pc:spChg>
      </pc:sldChg>
    </pc:docChg>
  </pc:docChgLst>
  <pc:docChgLst>
    <pc:chgData name="Ribhu Kansal" userId="S::r.kansal@castsoftware.com::3c3467c4-139b-496f-a6d1-b079f7a0729b" providerId="AD" clId="Web-{00128EE7-1047-44D5-B647-88ADB3776932}"/>
    <pc:docChg chg="modSld">
      <pc:chgData name="Ribhu Kansal" userId="S::r.kansal@castsoftware.com::3c3467c4-139b-496f-a6d1-b079f7a0729b" providerId="AD" clId="Web-{00128EE7-1047-44D5-B647-88ADB3776932}" dt="2021-01-05T19:00:51.293" v="555" actId="1076"/>
      <pc:docMkLst>
        <pc:docMk/>
      </pc:docMkLst>
      <pc:sldChg chg="addSp delSp modSp">
        <pc:chgData name="Ribhu Kansal" userId="S::r.kansal@castsoftware.com::3c3467c4-139b-496f-a6d1-b079f7a0729b" providerId="AD" clId="Web-{00128EE7-1047-44D5-B647-88ADB3776932}" dt="2021-01-05T19:00:51.293" v="555" actId="1076"/>
        <pc:sldMkLst>
          <pc:docMk/>
          <pc:sldMk cId="2361744333" sldId="314"/>
        </pc:sldMkLst>
        <pc:spChg chg="add mod">
          <ac:chgData name="Ribhu Kansal" userId="S::r.kansal@castsoftware.com::3c3467c4-139b-496f-a6d1-b079f7a0729b" providerId="AD" clId="Web-{00128EE7-1047-44D5-B647-88ADB3776932}" dt="2021-01-05T18:59:49.757" v="546" actId="14100"/>
          <ac:spMkLst>
            <pc:docMk/>
            <pc:sldMk cId="2361744333" sldId="314"/>
            <ac:spMk id="3" creationId="{3C8C4393-0A0F-4491-B7FA-C11D317396EB}"/>
          </ac:spMkLst>
        </pc:spChg>
        <pc:spChg chg="add del mod">
          <ac:chgData name="Ribhu Kansal" userId="S::r.kansal@castsoftware.com::3c3467c4-139b-496f-a6d1-b079f7a0729b" providerId="AD" clId="Web-{00128EE7-1047-44D5-B647-88ADB3776932}" dt="2021-01-05T18:57:28.982" v="541"/>
          <ac:spMkLst>
            <pc:docMk/>
            <pc:sldMk cId="2361744333" sldId="314"/>
            <ac:spMk id="4" creationId="{FE42B8B1-2FC7-4A83-92AA-16D8468D00ED}"/>
          </ac:spMkLst>
        </pc:spChg>
        <pc:spChg chg="del mod">
          <ac:chgData name="Ribhu Kansal" userId="S::r.kansal@castsoftware.com::3c3467c4-139b-496f-a6d1-b079f7a0729b" providerId="AD" clId="Web-{00128EE7-1047-44D5-B647-88ADB3776932}" dt="2021-01-05T18:57:55.499" v="542"/>
          <ac:spMkLst>
            <pc:docMk/>
            <pc:sldMk cId="2361744333" sldId="314"/>
            <ac:spMk id="25" creationId="{1E2B3BAB-5482-4B26-9564-9C73CCBBC487}"/>
          </ac:spMkLst>
        </pc:spChg>
        <pc:picChg chg="del">
          <ac:chgData name="Ribhu Kansal" userId="S::r.kansal@castsoftware.com::3c3467c4-139b-496f-a6d1-b079f7a0729b" providerId="AD" clId="Web-{00128EE7-1047-44D5-B647-88ADB3776932}" dt="2021-01-05T18:54:37.610" v="517"/>
          <ac:picMkLst>
            <pc:docMk/>
            <pc:sldMk cId="2361744333" sldId="314"/>
            <ac:picMk id="19" creationId="{70CA1EB2-5079-43AC-ADF4-516874A63010}"/>
          </ac:picMkLst>
        </pc:picChg>
        <pc:picChg chg="mod">
          <ac:chgData name="Ribhu Kansal" userId="S::r.kansal@castsoftware.com::3c3467c4-139b-496f-a6d1-b079f7a0729b" providerId="AD" clId="Web-{00128EE7-1047-44D5-B647-88ADB3776932}" dt="2021-01-05T19:00:51.199" v="551" actId="1076"/>
          <ac:picMkLst>
            <pc:docMk/>
            <pc:sldMk cId="2361744333" sldId="314"/>
            <ac:picMk id="20" creationId="{2D6ABC45-2391-4A7D-A5C9-DB7CBC24DA56}"/>
          </ac:picMkLst>
        </pc:picChg>
        <pc:picChg chg="mod">
          <ac:chgData name="Ribhu Kansal" userId="S::r.kansal@castsoftware.com::3c3467c4-139b-496f-a6d1-b079f7a0729b" providerId="AD" clId="Web-{00128EE7-1047-44D5-B647-88ADB3776932}" dt="2021-01-05T19:00:51.230" v="552" actId="1076"/>
          <ac:picMkLst>
            <pc:docMk/>
            <pc:sldMk cId="2361744333" sldId="314"/>
            <ac:picMk id="21" creationId="{CBC9E97F-F98C-42CD-B183-0D639FA8DB17}"/>
          </ac:picMkLst>
        </pc:picChg>
        <pc:picChg chg="mod">
          <ac:chgData name="Ribhu Kansal" userId="S::r.kansal@castsoftware.com::3c3467c4-139b-496f-a6d1-b079f7a0729b" providerId="AD" clId="Web-{00128EE7-1047-44D5-B647-88ADB3776932}" dt="2021-01-05T19:00:51.262" v="553" actId="1076"/>
          <ac:picMkLst>
            <pc:docMk/>
            <pc:sldMk cId="2361744333" sldId="314"/>
            <ac:picMk id="22" creationId="{92FB944F-A166-4E92-A626-A878D4B73784}"/>
          </ac:picMkLst>
        </pc:picChg>
        <pc:picChg chg="mod">
          <ac:chgData name="Ribhu Kansal" userId="S::r.kansal@castsoftware.com::3c3467c4-139b-496f-a6d1-b079f7a0729b" providerId="AD" clId="Web-{00128EE7-1047-44D5-B647-88ADB3776932}" dt="2021-01-05T19:00:51.277" v="554" actId="1076"/>
          <ac:picMkLst>
            <pc:docMk/>
            <pc:sldMk cId="2361744333" sldId="314"/>
            <ac:picMk id="23" creationId="{0C1DFF49-1780-4783-9301-C86A2DF850CB}"/>
          </ac:picMkLst>
        </pc:picChg>
        <pc:picChg chg="mod">
          <ac:chgData name="Ribhu Kansal" userId="S::r.kansal@castsoftware.com::3c3467c4-139b-496f-a6d1-b079f7a0729b" providerId="AD" clId="Web-{00128EE7-1047-44D5-B647-88ADB3776932}" dt="2021-01-05T19:00:51.293" v="555" actId="1076"/>
          <ac:picMkLst>
            <pc:docMk/>
            <pc:sldMk cId="2361744333" sldId="314"/>
            <ac:picMk id="24" creationId="{011ED157-48C7-408A-AF70-6C530AD78606}"/>
          </ac:picMkLst>
        </pc:picChg>
        <pc:picChg chg="add mod">
          <ac:chgData name="Ribhu Kansal" userId="S::r.kansal@castsoftware.com::3c3467c4-139b-496f-a6d1-b079f7a0729b" providerId="AD" clId="Web-{00128EE7-1047-44D5-B647-88ADB3776932}" dt="2021-01-05T19:00:39.683" v="550" actId="1076"/>
          <ac:picMkLst>
            <pc:docMk/>
            <pc:sldMk cId="2361744333" sldId="314"/>
            <ac:picMk id="26" creationId="{054D53CA-2B0E-41F9-8962-F866F900367A}"/>
          </ac:picMkLst>
        </pc:picChg>
      </pc:sldChg>
      <pc:sldChg chg="addSp delSp modSp">
        <pc:chgData name="Ribhu Kansal" userId="S::r.kansal@castsoftware.com::3c3467c4-139b-496f-a6d1-b079f7a0729b" providerId="AD" clId="Web-{00128EE7-1047-44D5-B647-88ADB3776932}" dt="2021-01-05T18:51:22.549" v="516"/>
        <pc:sldMkLst>
          <pc:docMk/>
          <pc:sldMk cId="2762800380" sldId="448"/>
        </pc:sldMkLst>
        <pc:spChg chg="add mod">
          <ac:chgData name="Ribhu Kansal" userId="S::r.kansal@castsoftware.com::3c3467c4-139b-496f-a6d1-b079f7a0729b" providerId="AD" clId="Web-{00128EE7-1047-44D5-B647-88ADB3776932}" dt="2021-01-05T18:50:28.514" v="509" actId="20577"/>
          <ac:spMkLst>
            <pc:docMk/>
            <pc:sldMk cId="2762800380" sldId="448"/>
            <ac:spMk id="4" creationId="{BB4086DE-FCE4-4AFB-B76A-9F4D429956A8}"/>
          </ac:spMkLst>
        </pc:spChg>
        <pc:spChg chg="add del mod">
          <ac:chgData name="Ribhu Kansal" userId="S::r.kansal@castsoftware.com::3c3467c4-139b-496f-a6d1-b079f7a0729b" providerId="AD" clId="Web-{00128EE7-1047-44D5-B647-88ADB3776932}" dt="2021-01-05T18:50:20.154" v="502"/>
          <ac:spMkLst>
            <pc:docMk/>
            <pc:sldMk cId="2762800380" sldId="448"/>
            <ac:spMk id="5" creationId="{9DD0E18A-66B4-4E44-A904-E200D1262C53}"/>
          </ac:spMkLst>
        </pc:spChg>
        <pc:spChg chg="add mod">
          <ac:chgData name="Ribhu Kansal" userId="S::r.kansal@castsoftware.com::3c3467c4-139b-496f-a6d1-b079f7a0729b" providerId="AD" clId="Web-{00128EE7-1047-44D5-B647-88ADB3776932}" dt="2021-01-05T18:51:22.549" v="516"/>
          <ac:spMkLst>
            <pc:docMk/>
            <pc:sldMk cId="2762800380" sldId="448"/>
            <ac:spMk id="6" creationId="{1BFDA3F8-560D-4C34-980C-28C91C68D5B1}"/>
          </ac:spMkLst>
        </pc:spChg>
        <pc:spChg chg="add del mod">
          <ac:chgData name="Ribhu Kansal" userId="S::r.kansal@castsoftware.com::3c3467c4-139b-496f-a6d1-b079f7a0729b" providerId="AD" clId="Web-{00128EE7-1047-44D5-B647-88ADB3776932}" dt="2021-01-05T18:40:53.989" v="418"/>
          <ac:spMkLst>
            <pc:docMk/>
            <pc:sldMk cId="2762800380" sldId="448"/>
            <ac:spMk id="43" creationId="{04931419-B25A-47BF-B386-9392F85375C1}"/>
          </ac:spMkLst>
        </pc:spChg>
        <pc:spChg chg="add del mod">
          <ac:chgData name="Ribhu Kansal" userId="S::r.kansal@castsoftware.com::3c3467c4-139b-496f-a6d1-b079f7a0729b" providerId="AD" clId="Web-{00128EE7-1047-44D5-B647-88ADB3776932}" dt="2021-01-05T18:43:39.907" v="475"/>
          <ac:spMkLst>
            <pc:docMk/>
            <pc:sldMk cId="2762800380" sldId="448"/>
            <ac:spMk id="49" creationId="{C0DA0856-38C4-4970-B0C7-CE73B43EEC91}"/>
          </ac:spMkLst>
        </pc:spChg>
        <pc:spChg chg="add del mod">
          <ac:chgData name="Ribhu Kansal" userId="S::r.kansal@castsoftware.com::3c3467c4-139b-496f-a6d1-b079f7a0729b" providerId="AD" clId="Web-{00128EE7-1047-44D5-B647-88ADB3776932}" dt="2021-01-05T18:43:41.751" v="476"/>
          <ac:spMkLst>
            <pc:docMk/>
            <pc:sldMk cId="2762800380" sldId="448"/>
            <ac:spMk id="50" creationId="{6AD1FBF0-4435-437D-85ED-666F0C7653EA}"/>
          </ac:spMkLst>
        </pc:spChg>
      </pc:sldChg>
      <pc:sldChg chg="addSp delSp modSp">
        <pc:chgData name="Ribhu Kansal" userId="S::r.kansal@castsoftware.com::3c3467c4-139b-496f-a6d1-b079f7a0729b" providerId="AD" clId="Web-{00128EE7-1047-44D5-B647-88ADB3776932}" dt="2021-01-05T18:33:36.646" v="279" actId="20577"/>
        <pc:sldMkLst>
          <pc:docMk/>
          <pc:sldMk cId="467378802" sldId="492"/>
        </pc:sldMkLst>
        <pc:spChg chg="add del mod">
          <ac:chgData name="Ribhu Kansal" userId="S::r.kansal@castsoftware.com::3c3467c4-139b-496f-a6d1-b079f7a0729b" providerId="AD" clId="Web-{00128EE7-1047-44D5-B647-88ADB3776932}" dt="2021-01-05T18:22:19.223" v="101"/>
          <ac:spMkLst>
            <pc:docMk/>
            <pc:sldMk cId="467378802" sldId="492"/>
            <ac:spMk id="3" creationId="{6BC595A4-07B6-4C2E-85AA-D6D5AACDF9A3}"/>
          </ac:spMkLst>
        </pc:spChg>
        <pc:spChg chg="mod">
          <ac:chgData name="Ribhu Kansal" userId="S::r.kansal@castsoftware.com::3c3467c4-139b-496f-a6d1-b079f7a0729b" providerId="AD" clId="Web-{00128EE7-1047-44D5-B647-88ADB3776932}" dt="2021-01-05T18:33:16.394" v="277" actId="20577"/>
          <ac:spMkLst>
            <pc:docMk/>
            <pc:sldMk cId="467378802" sldId="492"/>
            <ac:spMk id="7" creationId="{B633BA49-44C2-41E0-8A5F-10881248D9C0}"/>
          </ac:spMkLst>
        </pc:spChg>
        <pc:spChg chg="mod">
          <ac:chgData name="Ribhu Kansal" userId="S::r.kansal@castsoftware.com::3c3467c4-139b-496f-a6d1-b079f7a0729b" providerId="AD" clId="Web-{00128EE7-1047-44D5-B647-88ADB3776932}" dt="2021-01-05T18:33:36.646" v="279" actId="20577"/>
          <ac:spMkLst>
            <pc:docMk/>
            <pc:sldMk cId="467378802" sldId="492"/>
            <ac:spMk id="9" creationId="{00000000-0000-0000-0000-000000000000}"/>
          </ac:spMkLst>
        </pc:spChg>
        <pc:spChg chg="mod">
          <ac:chgData name="Ribhu Kansal" userId="S::r.kansal@castsoftware.com::3c3467c4-139b-496f-a6d1-b079f7a0729b" providerId="AD" clId="Web-{00128EE7-1047-44D5-B647-88ADB3776932}" dt="2021-01-05T18:23:08.711" v="121" actId="1076"/>
          <ac:spMkLst>
            <pc:docMk/>
            <pc:sldMk cId="467378802" sldId="492"/>
            <ac:spMk id="15" creationId="{00000000-0000-0000-0000-000000000000}"/>
          </ac:spMkLst>
        </pc:spChg>
        <pc:spChg chg="mod">
          <ac:chgData name="Ribhu Kansal" userId="S::r.kansal@castsoftware.com::3c3467c4-139b-496f-a6d1-b079f7a0729b" providerId="AD" clId="Web-{00128EE7-1047-44D5-B647-88ADB3776932}" dt="2021-01-05T18:32:17.328" v="267" actId="14100"/>
          <ac:spMkLst>
            <pc:docMk/>
            <pc:sldMk cId="467378802" sldId="492"/>
            <ac:spMk id="25" creationId="{00000000-0000-0000-0000-000000000000}"/>
          </ac:spMkLst>
        </pc:spChg>
        <pc:graphicFrameChg chg="mod modGraphic">
          <ac:chgData name="Ribhu Kansal" userId="S::r.kansal@castsoftware.com::3c3467c4-139b-496f-a6d1-b079f7a0729b" providerId="AD" clId="Web-{00128EE7-1047-44D5-B647-88ADB3776932}" dt="2021-01-05T18:32:29.844" v="275"/>
          <ac:graphicFrameMkLst>
            <pc:docMk/>
            <pc:sldMk cId="467378802" sldId="492"/>
            <ac:graphicFrameMk id="22" creationId="{25ADC611-E4BA-4F2F-9BF9-A6228171DDE2}"/>
          </ac:graphicFrameMkLst>
        </pc:graphicFrameChg>
        <pc:graphicFrameChg chg="mod modGraphic">
          <ac:chgData name="Ribhu Kansal" userId="S::r.kansal@castsoftware.com::3c3467c4-139b-496f-a6d1-b079f7a0729b" providerId="AD" clId="Web-{00128EE7-1047-44D5-B647-88ADB3776932}" dt="2021-01-05T18:23:23.680" v="123"/>
          <ac:graphicFrameMkLst>
            <pc:docMk/>
            <pc:sldMk cId="467378802" sldId="492"/>
            <ac:graphicFrameMk id="23" creationId="{00000000-0000-0000-0000-000000000000}"/>
          </ac:graphicFrameMkLst>
        </pc:graphicFrameChg>
      </pc:sldChg>
      <pc:sldChg chg="modSp">
        <pc:chgData name="Ribhu Kansal" userId="S::r.kansal@castsoftware.com::3c3467c4-139b-496f-a6d1-b079f7a0729b" providerId="AD" clId="Web-{00128EE7-1047-44D5-B647-88ADB3776932}" dt="2021-01-05T18:59:08.067" v="544" actId="20577"/>
        <pc:sldMkLst>
          <pc:docMk/>
          <pc:sldMk cId="2756927690" sldId="1416"/>
        </pc:sldMkLst>
        <pc:spChg chg="mod">
          <ac:chgData name="Ribhu Kansal" userId="S::r.kansal@castsoftware.com::3c3467c4-139b-496f-a6d1-b079f7a0729b" providerId="AD" clId="Web-{00128EE7-1047-44D5-B647-88ADB3776932}" dt="2021-01-05T18:59:08.067" v="544" actId="20577"/>
          <ac:spMkLst>
            <pc:docMk/>
            <pc:sldMk cId="2756927690" sldId="1416"/>
            <ac:spMk id="3" creationId="{1E27ED76-C40A-4B9F-8465-9CE86DD0196F}"/>
          </ac:spMkLst>
        </pc:spChg>
      </pc:sldChg>
    </pc:docChg>
  </pc:docChgLst>
  <pc:docChgLst>
    <pc:chgData name="John Livingstone" userId="0ecdaaa2-a21f-4917-a228-bb965c8e88e8" providerId="ADAL" clId="{BF9C4CC4-3C5F-4F1B-8D71-AC8F8AB7BED2}"/>
    <pc:docChg chg="undo redo custSel modSld">
      <pc:chgData name="John Livingstone" userId="0ecdaaa2-a21f-4917-a228-bb965c8e88e8" providerId="ADAL" clId="{BF9C4CC4-3C5F-4F1B-8D71-AC8F8AB7BED2}" dt="2021-01-07T01:22:10.320" v="683" actId="20577"/>
      <pc:docMkLst>
        <pc:docMk/>
      </pc:docMkLst>
      <pc:sldChg chg="modSp mod">
        <pc:chgData name="John Livingstone" userId="0ecdaaa2-a21f-4917-a228-bb965c8e88e8" providerId="ADAL" clId="{BF9C4CC4-3C5F-4F1B-8D71-AC8F8AB7BED2}" dt="2021-01-06T21:57:42.638" v="34" actId="20577"/>
        <pc:sldMkLst>
          <pc:docMk/>
          <pc:sldMk cId="2478486860" sldId="318"/>
        </pc:sldMkLst>
        <pc:spChg chg="mod">
          <ac:chgData name="John Livingstone" userId="0ecdaaa2-a21f-4917-a228-bb965c8e88e8" providerId="ADAL" clId="{BF9C4CC4-3C5F-4F1B-8D71-AC8F8AB7BED2}" dt="2021-01-06T21:57:42.638" v="34" actId="20577"/>
          <ac:spMkLst>
            <pc:docMk/>
            <pc:sldMk cId="2478486860" sldId="318"/>
            <ac:spMk id="5" creationId="{00000000-0000-0000-0000-000000000000}"/>
          </ac:spMkLst>
        </pc:spChg>
      </pc:sldChg>
      <pc:sldChg chg="modSp mod">
        <pc:chgData name="John Livingstone" userId="0ecdaaa2-a21f-4917-a228-bb965c8e88e8" providerId="ADAL" clId="{BF9C4CC4-3C5F-4F1B-8D71-AC8F8AB7BED2}" dt="2021-01-07T01:22:10.320" v="683" actId="20577"/>
        <pc:sldMkLst>
          <pc:docMk/>
          <pc:sldMk cId="231093575" sldId="344"/>
        </pc:sldMkLst>
        <pc:spChg chg="mod">
          <ac:chgData name="John Livingstone" userId="0ecdaaa2-a21f-4917-a228-bb965c8e88e8" providerId="ADAL" clId="{BF9C4CC4-3C5F-4F1B-8D71-AC8F8AB7BED2}" dt="2021-01-07T01:22:10.320" v="683" actId="20577"/>
          <ac:spMkLst>
            <pc:docMk/>
            <pc:sldMk cId="231093575" sldId="344"/>
            <ac:spMk id="30" creationId="{00000000-0000-0000-0000-000000000000}"/>
          </ac:spMkLst>
        </pc:spChg>
      </pc:sldChg>
      <pc:sldChg chg="modSp mod">
        <pc:chgData name="John Livingstone" userId="0ecdaaa2-a21f-4917-a228-bb965c8e88e8" providerId="ADAL" clId="{BF9C4CC4-3C5F-4F1B-8D71-AC8F8AB7BED2}" dt="2021-01-07T01:15:27.750" v="621" actId="13926"/>
        <pc:sldMkLst>
          <pc:docMk/>
          <pc:sldMk cId="2829381692" sldId="393"/>
        </pc:sldMkLst>
        <pc:spChg chg="mod">
          <ac:chgData name="John Livingstone" userId="0ecdaaa2-a21f-4917-a228-bb965c8e88e8" providerId="ADAL" clId="{BF9C4CC4-3C5F-4F1B-8D71-AC8F8AB7BED2}" dt="2021-01-07T01:15:21.586" v="620" actId="13926"/>
          <ac:spMkLst>
            <pc:docMk/>
            <pc:sldMk cId="2829381692" sldId="393"/>
            <ac:spMk id="20" creationId="{00000000-0000-0000-0000-000000000000}"/>
          </ac:spMkLst>
        </pc:spChg>
        <pc:spChg chg="mod">
          <ac:chgData name="John Livingstone" userId="0ecdaaa2-a21f-4917-a228-bb965c8e88e8" providerId="ADAL" clId="{BF9C4CC4-3C5F-4F1B-8D71-AC8F8AB7BED2}" dt="2021-01-07T01:15:27.750" v="621" actId="13926"/>
          <ac:spMkLst>
            <pc:docMk/>
            <pc:sldMk cId="2829381692" sldId="393"/>
            <ac:spMk id="30" creationId="{BC68C9EA-24FC-4D79-A0C1-213D45B72034}"/>
          </ac:spMkLst>
        </pc:spChg>
      </pc:sldChg>
      <pc:sldChg chg="modSp mod">
        <pc:chgData name="John Livingstone" userId="0ecdaaa2-a21f-4917-a228-bb965c8e88e8" providerId="ADAL" clId="{BF9C4CC4-3C5F-4F1B-8D71-AC8F8AB7BED2}" dt="2021-01-06T22:35:31.565" v="40" actId="13926"/>
        <pc:sldMkLst>
          <pc:docMk/>
          <pc:sldMk cId="3705176354" sldId="428"/>
        </pc:sldMkLst>
        <pc:spChg chg="mod">
          <ac:chgData name="John Livingstone" userId="0ecdaaa2-a21f-4917-a228-bb965c8e88e8" providerId="ADAL" clId="{BF9C4CC4-3C5F-4F1B-8D71-AC8F8AB7BED2}" dt="2021-01-06T22:35:10.392" v="39" actId="13926"/>
          <ac:spMkLst>
            <pc:docMk/>
            <pc:sldMk cId="3705176354" sldId="428"/>
            <ac:spMk id="2" creationId="{00000000-0000-0000-0000-000000000000}"/>
          </ac:spMkLst>
        </pc:spChg>
        <pc:spChg chg="mod">
          <ac:chgData name="John Livingstone" userId="0ecdaaa2-a21f-4917-a228-bb965c8e88e8" providerId="ADAL" clId="{BF9C4CC4-3C5F-4F1B-8D71-AC8F8AB7BED2}" dt="2021-01-06T22:35:31.565" v="40" actId="13926"/>
          <ac:spMkLst>
            <pc:docMk/>
            <pc:sldMk cId="3705176354" sldId="428"/>
            <ac:spMk id="21" creationId="{00000000-0000-0000-0000-000000000000}"/>
          </ac:spMkLst>
        </pc:spChg>
      </pc:sldChg>
      <pc:sldChg chg="modSp mod">
        <pc:chgData name="John Livingstone" userId="0ecdaaa2-a21f-4917-a228-bb965c8e88e8" providerId="ADAL" clId="{BF9C4CC4-3C5F-4F1B-8D71-AC8F8AB7BED2}" dt="2021-01-07T01:14:57.339" v="616" actId="13926"/>
        <pc:sldMkLst>
          <pc:docMk/>
          <pc:sldMk cId="3785293199" sldId="445"/>
        </pc:sldMkLst>
        <pc:spChg chg="mod">
          <ac:chgData name="John Livingstone" userId="0ecdaaa2-a21f-4917-a228-bb965c8e88e8" providerId="ADAL" clId="{BF9C4CC4-3C5F-4F1B-8D71-AC8F8AB7BED2}" dt="2021-01-07T01:14:53.228" v="615" actId="13926"/>
          <ac:spMkLst>
            <pc:docMk/>
            <pc:sldMk cId="3785293199" sldId="445"/>
            <ac:spMk id="5" creationId="{57DA03D2-BDDD-4B29-A79F-3BCEC511705B}"/>
          </ac:spMkLst>
        </pc:spChg>
        <pc:spChg chg="mod">
          <ac:chgData name="John Livingstone" userId="0ecdaaa2-a21f-4917-a228-bb965c8e88e8" providerId="ADAL" clId="{BF9C4CC4-3C5F-4F1B-8D71-AC8F8AB7BED2}" dt="2021-01-07T01:14:57.339" v="616" actId="13926"/>
          <ac:spMkLst>
            <pc:docMk/>
            <pc:sldMk cId="3785293199" sldId="445"/>
            <ac:spMk id="14" creationId="{3ADA01F1-3B4B-4FAA-84E6-17ACC70140F8}"/>
          </ac:spMkLst>
        </pc:spChg>
      </pc:sldChg>
      <pc:sldChg chg="modSp mod">
        <pc:chgData name="John Livingstone" userId="0ecdaaa2-a21f-4917-a228-bb965c8e88e8" providerId="ADAL" clId="{BF9C4CC4-3C5F-4F1B-8D71-AC8F8AB7BED2}" dt="2021-01-07T00:58:02.443" v="243" actId="13926"/>
        <pc:sldMkLst>
          <pc:docMk/>
          <pc:sldMk cId="2762800380" sldId="448"/>
        </pc:sldMkLst>
        <pc:spChg chg="mod">
          <ac:chgData name="John Livingstone" userId="0ecdaaa2-a21f-4917-a228-bb965c8e88e8" providerId="ADAL" clId="{BF9C4CC4-3C5F-4F1B-8D71-AC8F8AB7BED2}" dt="2021-01-07T00:58:02.443" v="243" actId="13926"/>
          <ac:spMkLst>
            <pc:docMk/>
            <pc:sldMk cId="2762800380" sldId="448"/>
            <ac:spMk id="2" creationId="{00000000-0000-0000-0000-000000000000}"/>
          </ac:spMkLst>
        </pc:spChg>
      </pc:sldChg>
      <pc:sldChg chg="modSp mod">
        <pc:chgData name="John Livingstone" userId="0ecdaaa2-a21f-4917-a228-bb965c8e88e8" providerId="ADAL" clId="{BF9C4CC4-3C5F-4F1B-8D71-AC8F8AB7BED2}" dt="2021-01-07T01:04:19.424" v="543" actId="20577"/>
        <pc:sldMkLst>
          <pc:docMk/>
          <pc:sldMk cId="780727013" sldId="452"/>
        </pc:sldMkLst>
        <pc:spChg chg="mod">
          <ac:chgData name="John Livingstone" userId="0ecdaaa2-a21f-4917-a228-bb965c8e88e8" providerId="ADAL" clId="{BF9C4CC4-3C5F-4F1B-8D71-AC8F8AB7BED2}" dt="2021-01-07T01:04:19.424" v="543" actId="20577"/>
          <ac:spMkLst>
            <pc:docMk/>
            <pc:sldMk cId="780727013" sldId="452"/>
            <ac:spMk id="15" creationId="{7F764852-256F-49DF-B500-7AB466E1A418}"/>
          </ac:spMkLst>
        </pc:spChg>
      </pc:sldChg>
      <pc:sldChg chg="modSp mod">
        <pc:chgData name="John Livingstone" userId="0ecdaaa2-a21f-4917-a228-bb965c8e88e8" providerId="ADAL" clId="{BF9C4CC4-3C5F-4F1B-8D71-AC8F8AB7BED2}" dt="2021-01-07T01:16:24.445" v="626" actId="13926"/>
        <pc:sldMkLst>
          <pc:docMk/>
          <pc:sldMk cId="3773836689" sldId="491"/>
        </pc:sldMkLst>
        <pc:spChg chg="mod">
          <ac:chgData name="John Livingstone" userId="0ecdaaa2-a21f-4917-a228-bb965c8e88e8" providerId="ADAL" clId="{BF9C4CC4-3C5F-4F1B-8D71-AC8F8AB7BED2}" dt="2021-01-07T01:16:24.445" v="626" actId="13926"/>
          <ac:spMkLst>
            <pc:docMk/>
            <pc:sldMk cId="3773836689" sldId="491"/>
            <ac:spMk id="2" creationId="{00000000-0000-0000-0000-000000000000}"/>
          </ac:spMkLst>
        </pc:spChg>
      </pc:sldChg>
      <pc:sldChg chg="modSp mod">
        <pc:chgData name="John Livingstone" userId="0ecdaaa2-a21f-4917-a228-bb965c8e88e8" providerId="ADAL" clId="{BF9C4CC4-3C5F-4F1B-8D71-AC8F8AB7BED2}" dt="2021-01-07T00:55:46.483" v="212" actId="13926"/>
        <pc:sldMkLst>
          <pc:docMk/>
          <pc:sldMk cId="467378802" sldId="492"/>
        </pc:sldMkLst>
        <pc:spChg chg="mod">
          <ac:chgData name="John Livingstone" userId="0ecdaaa2-a21f-4917-a228-bb965c8e88e8" providerId="ADAL" clId="{BF9C4CC4-3C5F-4F1B-8D71-AC8F8AB7BED2}" dt="2021-01-06T22:35:54.445" v="41" actId="13926"/>
          <ac:spMkLst>
            <pc:docMk/>
            <pc:sldMk cId="467378802" sldId="492"/>
            <ac:spMk id="2" creationId="{00000000-0000-0000-0000-000000000000}"/>
          </ac:spMkLst>
        </pc:spChg>
        <pc:spChg chg="mod">
          <ac:chgData name="John Livingstone" userId="0ecdaaa2-a21f-4917-a228-bb965c8e88e8" providerId="ADAL" clId="{BF9C4CC4-3C5F-4F1B-8D71-AC8F8AB7BED2}" dt="2021-01-07T00:55:46.483" v="212" actId="13926"/>
          <ac:spMkLst>
            <pc:docMk/>
            <pc:sldMk cId="467378802" sldId="492"/>
            <ac:spMk id="7" creationId="{B633BA49-44C2-41E0-8A5F-10881248D9C0}"/>
          </ac:spMkLst>
        </pc:spChg>
        <pc:spChg chg="mod">
          <ac:chgData name="John Livingstone" userId="0ecdaaa2-a21f-4917-a228-bb965c8e88e8" providerId="ADAL" clId="{BF9C4CC4-3C5F-4F1B-8D71-AC8F8AB7BED2}" dt="2021-01-06T22:39:31.962" v="104" actId="14100"/>
          <ac:spMkLst>
            <pc:docMk/>
            <pc:sldMk cId="467378802" sldId="492"/>
            <ac:spMk id="9" creationId="{00000000-0000-0000-0000-000000000000}"/>
          </ac:spMkLst>
        </pc:spChg>
      </pc:sldChg>
      <pc:sldChg chg="modSp mod">
        <pc:chgData name="John Livingstone" userId="0ecdaaa2-a21f-4917-a228-bb965c8e88e8" providerId="ADAL" clId="{BF9C4CC4-3C5F-4F1B-8D71-AC8F8AB7BED2}" dt="2021-01-07T01:14:22.712" v="614" actId="13926"/>
        <pc:sldMkLst>
          <pc:docMk/>
          <pc:sldMk cId="1603357931" sldId="494"/>
        </pc:sldMkLst>
        <pc:spChg chg="mod">
          <ac:chgData name="John Livingstone" userId="0ecdaaa2-a21f-4917-a228-bb965c8e88e8" providerId="ADAL" clId="{BF9C4CC4-3C5F-4F1B-8D71-AC8F8AB7BED2}" dt="2021-01-07T01:14:22.712" v="614" actId="13926"/>
          <ac:spMkLst>
            <pc:docMk/>
            <pc:sldMk cId="1603357931" sldId="494"/>
            <ac:spMk id="76" creationId="{44CA77D8-9CF9-4BA8-9B8A-8E2AAFCEFFE0}"/>
          </ac:spMkLst>
        </pc:spChg>
      </pc:sldChg>
      <pc:sldChg chg="modSp mod">
        <pc:chgData name="John Livingstone" userId="0ecdaaa2-a21f-4917-a228-bb965c8e88e8" providerId="ADAL" clId="{BF9C4CC4-3C5F-4F1B-8D71-AC8F8AB7BED2}" dt="2021-01-07T01:07:19.769" v="590" actId="13926"/>
        <pc:sldMkLst>
          <pc:docMk/>
          <pc:sldMk cId="1144498750" sldId="502"/>
        </pc:sldMkLst>
        <pc:spChg chg="mod">
          <ac:chgData name="John Livingstone" userId="0ecdaaa2-a21f-4917-a228-bb965c8e88e8" providerId="ADAL" clId="{BF9C4CC4-3C5F-4F1B-8D71-AC8F8AB7BED2}" dt="2021-01-07T01:06:15.646" v="569" actId="13926"/>
          <ac:spMkLst>
            <pc:docMk/>
            <pc:sldMk cId="1144498750" sldId="502"/>
            <ac:spMk id="2" creationId="{0F2A2CE9-7B67-443F-97DA-1E45D6288FFE}"/>
          </ac:spMkLst>
        </pc:spChg>
        <pc:spChg chg="mod">
          <ac:chgData name="John Livingstone" userId="0ecdaaa2-a21f-4917-a228-bb965c8e88e8" providerId="ADAL" clId="{BF9C4CC4-3C5F-4F1B-8D71-AC8F8AB7BED2}" dt="2021-01-07T01:07:19.769" v="590" actId="13926"/>
          <ac:spMkLst>
            <pc:docMk/>
            <pc:sldMk cId="1144498750" sldId="502"/>
            <ac:spMk id="11" creationId="{98E1CF3E-7DA7-4F35-9501-EDAE59544965}"/>
          </ac:spMkLst>
        </pc:spChg>
      </pc:sldChg>
      <pc:sldChg chg="modSp mod">
        <pc:chgData name="John Livingstone" userId="0ecdaaa2-a21f-4917-a228-bb965c8e88e8" providerId="ADAL" clId="{BF9C4CC4-3C5F-4F1B-8D71-AC8F8AB7BED2}" dt="2021-01-07T01:13:27.024" v="612" actId="13926"/>
        <pc:sldMkLst>
          <pc:docMk/>
          <pc:sldMk cId="1146825991" sldId="503"/>
        </pc:sldMkLst>
        <pc:spChg chg="mod">
          <ac:chgData name="John Livingstone" userId="0ecdaaa2-a21f-4917-a228-bb965c8e88e8" providerId="ADAL" clId="{BF9C4CC4-3C5F-4F1B-8D71-AC8F8AB7BED2}" dt="2021-01-07T01:08:49.589" v="595" actId="1076"/>
          <ac:spMkLst>
            <pc:docMk/>
            <pc:sldMk cId="1146825991" sldId="503"/>
            <ac:spMk id="10" creationId="{94BCC92F-29DD-45C2-9BAD-9BF4B73964B1}"/>
          </ac:spMkLst>
        </pc:spChg>
        <pc:spChg chg="mod">
          <ac:chgData name="John Livingstone" userId="0ecdaaa2-a21f-4917-a228-bb965c8e88e8" providerId="ADAL" clId="{BF9C4CC4-3C5F-4F1B-8D71-AC8F8AB7BED2}" dt="2021-01-07T01:13:27.024" v="612" actId="13926"/>
          <ac:spMkLst>
            <pc:docMk/>
            <pc:sldMk cId="1146825991" sldId="503"/>
            <ac:spMk id="15" creationId="{7F764852-256F-49DF-B500-7AB466E1A418}"/>
          </ac:spMkLst>
        </pc:spChg>
      </pc:sldChg>
      <pc:sldChg chg="modSp mod">
        <pc:chgData name="John Livingstone" userId="0ecdaaa2-a21f-4917-a228-bb965c8e88e8" providerId="ADAL" clId="{BF9C4CC4-3C5F-4F1B-8D71-AC8F8AB7BED2}" dt="2021-01-07T01:13:58.277" v="613" actId="13926"/>
        <pc:sldMkLst>
          <pc:docMk/>
          <pc:sldMk cId="1618758624" sldId="504"/>
        </pc:sldMkLst>
        <pc:spChg chg="mod">
          <ac:chgData name="John Livingstone" userId="0ecdaaa2-a21f-4917-a228-bb965c8e88e8" providerId="ADAL" clId="{BF9C4CC4-3C5F-4F1B-8D71-AC8F8AB7BED2}" dt="2021-01-07T01:12:15.840" v="607" actId="1076"/>
          <ac:spMkLst>
            <pc:docMk/>
            <pc:sldMk cId="1618758624" sldId="504"/>
            <ac:spMk id="11" creationId="{CA5BF84C-1ED3-44EC-BFC6-239FBAB373B8}"/>
          </ac:spMkLst>
        </pc:spChg>
        <pc:spChg chg="mod">
          <ac:chgData name="John Livingstone" userId="0ecdaaa2-a21f-4917-a228-bb965c8e88e8" providerId="ADAL" clId="{BF9C4CC4-3C5F-4F1B-8D71-AC8F8AB7BED2}" dt="2021-01-07T01:13:58.277" v="613" actId="13926"/>
          <ac:spMkLst>
            <pc:docMk/>
            <pc:sldMk cId="1618758624" sldId="504"/>
            <ac:spMk id="15" creationId="{7F764852-256F-49DF-B500-7AB466E1A418}"/>
          </ac:spMkLst>
        </pc:spChg>
      </pc:sldChg>
      <pc:sldChg chg="modSp mod">
        <pc:chgData name="John Livingstone" userId="0ecdaaa2-a21f-4917-a228-bb965c8e88e8" providerId="ADAL" clId="{BF9C4CC4-3C5F-4F1B-8D71-AC8F8AB7BED2}" dt="2021-01-07T01:08:37.086" v="594" actId="1076"/>
        <pc:sldMkLst>
          <pc:docMk/>
          <pc:sldMk cId="1190348094" sldId="505"/>
        </pc:sldMkLst>
        <pc:spChg chg="mod">
          <ac:chgData name="John Livingstone" userId="0ecdaaa2-a21f-4917-a228-bb965c8e88e8" providerId="ADAL" clId="{BF9C4CC4-3C5F-4F1B-8D71-AC8F8AB7BED2}" dt="2021-01-07T01:08:23.975" v="593" actId="13926"/>
          <ac:spMkLst>
            <pc:docMk/>
            <pc:sldMk cId="1190348094" sldId="505"/>
            <ac:spMk id="3" creationId="{CA14A4FA-C038-4B61-ACBB-4F6D4B7EE2A3}"/>
          </ac:spMkLst>
        </pc:spChg>
        <pc:spChg chg="mod">
          <ac:chgData name="John Livingstone" userId="0ecdaaa2-a21f-4917-a228-bb965c8e88e8" providerId="ADAL" clId="{BF9C4CC4-3C5F-4F1B-8D71-AC8F8AB7BED2}" dt="2021-01-07T01:08:37.086" v="594" actId="1076"/>
          <ac:spMkLst>
            <pc:docMk/>
            <pc:sldMk cId="1190348094" sldId="505"/>
            <ac:spMk id="7" creationId="{CA10F29C-3FDB-4413-A75D-AE918BF41174}"/>
          </ac:spMkLst>
        </pc:spChg>
      </pc:sldChg>
      <pc:sldChg chg="modSp mod">
        <pc:chgData name="John Livingstone" userId="0ecdaaa2-a21f-4917-a228-bb965c8e88e8" providerId="ADAL" clId="{BF9C4CC4-3C5F-4F1B-8D71-AC8F8AB7BED2}" dt="2021-01-06T21:54:14.856" v="29" actId="20577"/>
        <pc:sldMkLst>
          <pc:docMk/>
          <pc:sldMk cId="1691118265" sldId="524"/>
        </pc:sldMkLst>
        <pc:spChg chg="mod">
          <ac:chgData name="John Livingstone" userId="0ecdaaa2-a21f-4917-a228-bb965c8e88e8" providerId="ADAL" clId="{BF9C4CC4-3C5F-4F1B-8D71-AC8F8AB7BED2}" dt="2021-01-06T21:54:14.856" v="29" actId="20577"/>
          <ac:spMkLst>
            <pc:docMk/>
            <pc:sldMk cId="1691118265" sldId="524"/>
            <ac:spMk id="14" creationId="{C1C0AD37-CCF3-468A-98B5-F34CF1C88E45}"/>
          </ac:spMkLst>
        </pc:spChg>
        <pc:spChg chg="mod">
          <ac:chgData name="John Livingstone" userId="0ecdaaa2-a21f-4917-a228-bb965c8e88e8" providerId="ADAL" clId="{BF9C4CC4-3C5F-4F1B-8D71-AC8F8AB7BED2}" dt="2021-01-06T19:54:37.313" v="19" actId="20577"/>
          <ac:spMkLst>
            <pc:docMk/>
            <pc:sldMk cId="1691118265" sldId="524"/>
            <ac:spMk id="18" creationId="{AEFE1B7A-8C89-49E9-99B9-C28FF04F35A2}"/>
          </ac:spMkLst>
        </pc:spChg>
      </pc:sldChg>
      <pc:sldChg chg="modSp mod">
        <pc:chgData name="John Livingstone" userId="0ecdaaa2-a21f-4917-a228-bb965c8e88e8" providerId="ADAL" clId="{BF9C4CC4-3C5F-4F1B-8D71-AC8F8AB7BED2}" dt="2021-01-07T01:17:35.865" v="661" actId="20577"/>
        <pc:sldMkLst>
          <pc:docMk/>
          <pc:sldMk cId="2264986902" sldId="542"/>
        </pc:sldMkLst>
        <pc:graphicFrameChg chg="modGraphic">
          <ac:chgData name="John Livingstone" userId="0ecdaaa2-a21f-4917-a228-bb965c8e88e8" providerId="ADAL" clId="{BF9C4CC4-3C5F-4F1B-8D71-AC8F8AB7BED2}" dt="2021-01-07T01:17:35.865" v="661" actId="20577"/>
          <ac:graphicFrameMkLst>
            <pc:docMk/>
            <pc:sldMk cId="2264986902" sldId="542"/>
            <ac:graphicFrameMk id="28" creationId="{994870E9-25EF-4A43-B1A1-38CC6A36FD4D}"/>
          </ac:graphicFrameMkLst>
        </pc:graphicFrameChg>
      </pc:sldChg>
      <pc:sldChg chg="modSp mod">
        <pc:chgData name="John Livingstone" userId="0ecdaaa2-a21f-4917-a228-bb965c8e88e8" providerId="ADAL" clId="{BF9C4CC4-3C5F-4F1B-8D71-AC8F8AB7BED2}" dt="2021-01-07T01:20:11.877" v="679" actId="6549"/>
        <pc:sldMkLst>
          <pc:docMk/>
          <pc:sldMk cId="629517220" sldId="544"/>
        </pc:sldMkLst>
        <pc:spChg chg="mod">
          <ac:chgData name="John Livingstone" userId="0ecdaaa2-a21f-4917-a228-bb965c8e88e8" providerId="ADAL" clId="{BF9C4CC4-3C5F-4F1B-8D71-AC8F8AB7BED2}" dt="2021-01-07T01:20:11.877" v="679" actId="6549"/>
          <ac:spMkLst>
            <pc:docMk/>
            <pc:sldMk cId="629517220" sldId="544"/>
            <ac:spMk id="38" creationId="{8C348290-F357-4F87-AA50-C9FBFA320325}"/>
          </ac:spMkLst>
        </pc:spChg>
      </pc:sldChg>
      <pc:sldChg chg="modSp mod">
        <pc:chgData name="John Livingstone" userId="0ecdaaa2-a21f-4917-a228-bb965c8e88e8" providerId="ADAL" clId="{BF9C4CC4-3C5F-4F1B-8D71-AC8F8AB7BED2}" dt="2021-01-07T01:05:43.199" v="558" actId="20577"/>
        <pc:sldMkLst>
          <pc:docMk/>
          <pc:sldMk cId="2652568716" sldId="551"/>
        </pc:sldMkLst>
        <pc:spChg chg="mod">
          <ac:chgData name="John Livingstone" userId="0ecdaaa2-a21f-4917-a228-bb965c8e88e8" providerId="ADAL" clId="{BF9C4CC4-3C5F-4F1B-8D71-AC8F8AB7BED2}" dt="2021-01-07T01:05:43.199" v="558" actId="20577"/>
          <ac:spMkLst>
            <pc:docMk/>
            <pc:sldMk cId="2652568716" sldId="551"/>
            <ac:spMk id="2" creationId="{00000000-0000-0000-0000-000000000000}"/>
          </ac:spMkLst>
        </pc:spChg>
      </pc:sldChg>
      <pc:sldChg chg="modSp mod">
        <pc:chgData name="John Livingstone" userId="0ecdaaa2-a21f-4917-a228-bb965c8e88e8" providerId="ADAL" clId="{BF9C4CC4-3C5F-4F1B-8D71-AC8F8AB7BED2}" dt="2021-01-07T01:05:10.492" v="544" actId="13926"/>
        <pc:sldMkLst>
          <pc:docMk/>
          <pc:sldMk cId="3621644946" sldId="561"/>
        </pc:sldMkLst>
        <pc:spChg chg="mod">
          <ac:chgData name="John Livingstone" userId="0ecdaaa2-a21f-4917-a228-bb965c8e88e8" providerId="ADAL" clId="{BF9C4CC4-3C5F-4F1B-8D71-AC8F8AB7BED2}" dt="2021-01-07T01:05:10.492" v="544" actId="13926"/>
          <ac:spMkLst>
            <pc:docMk/>
            <pc:sldMk cId="3621644946" sldId="561"/>
            <ac:spMk id="2" creationId="{00000000-0000-0000-0000-000000000000}"/>
          </ac:spMkLst>
        </pc:spChg>
      </pc:sldChg>
    </pc:docChg>
  </pc:docChgLst>
  <pc:docChgLst>
    <pc:chgData name="Matthieu Mabyre" userId="S::m.mabyre@castsoftware.com::52a89cab-5e6b-49ac-8601-6d3bc79d567b" providerId="AD" clId="Web-{800DF24E-5EEA-4685-BD11-09133186F4B1}"/>
    <pc:docChg chg="addSld delSld modSld sldOrd modSection">
      <pc:chgData name="Matthieu Mabyre" userId="S::m.mabyre@castsoftware.com::52a89cab-5e6b-49ac-8601-6d3bc79d567b" providerId="AD" clId="Web-{800DF24E-5EEA-4685-BD11-09133186F4B1}" dt="2020-10-02T16:07:40.554" v="66" actId="20577"/>
      <pc:docMkLst>
        <pc:docMk/>
      </pc:docMkLst>
      <pc:sldChg chg="del">
        <pc:chgData name="Matthieu Mabyre" userId="S::m.mabyre@castsoftware.com::52a89cab-5e6b-49ac-8601-6d3bc79d567b" providerId="AD" clId="Web-{800DF24E-5EEA-4685-BD11-09133186F4B1}" dt="2020-10-02T16:06:03.413" v="5"/>
        <pc:sldMkLst>
          <pc:docMk/>
          <pc:sldMk cId="2797066760" sldId="446"/>
        </pc:sldMkLst>
      </pc:sldChg>
      <pc:sldChg chg="add del">
        <pc:chgData name="Matthieu Mabyre" userId="S::m.mabyre@castsoftware.com::52a89cab-5e6b-49ac-8601-6d3bc79d567b" providerId="AD" clId="Web-{800DF24E-5EEA-4685-BD11-09133186F4B1}" dt="2020-10-02T16:05:45.288" v="2"/>
        <pc:sldMkLst>
          <pc:docMk/>
          <pc:sldMk cId="824401427" sldId="465"/>
        </pc:sldMkLst>
      </pc:sldChg>
      <pc:sldChg chg="modSp">
        <pc:chgData name="Matthieu Mabyre" userId="S::m.mabyre@castsoftware.com::52a89cab-5e6b-49ac-8601-6d3bc79d567b" providerId="AD" clId="Web-{800DF24E-5EEA-4685-BD11-09133186F4B1}" dt="2020-10-02T16:07:40.554" v="65" actId="20577"/>
        <pc:sldMkLst>
          <pc:docMk/>
          <pc:sldMk cId="2005443533" sldId="487"/>
        </pc:sldMkLst>
        <pc:spChg chg="mod">
          <ac:chgData name="Matthieu Mabyre" userId="S::m.mabyre@castsoftware.com::52a89cab-5e6b-49ac-8601-6d3bc79d567b" providerId="AD" clId="Web-{800DF24E-5EEA-4685-BD11-09133186F4B1}" dt="2020-10-02T16:07:22.867" v="55" actId="20577"/>
          <ac:spMkLst>
            <pc:docMk/>
            <pc:sldMk cId="2005443533" sldId="487"/>
            <ac:spMk id="2" creationId="{00000000-0000-0000-0000-000000000000}"/>
          </ac:spMkLst>
        </pc:spChg>
        <pc:spChg chg="mod">
          <ac:chgData name="Matthieu Mabyre" userId="S::m.mabyre@castsoftware.com::52a89cab-5e6b-49ac-8601-6d3bc79d567b" providerId="AD" clId="Web-{800DF24E-5EEA-4685-BD11-09133186F4B1}" dt="2020-10-02T16:07:31.101" v="60" actId="20577"/>
          <ac:spMkLst>
            <pc:docMk/>
            <pc:sldMk cId="2005443533" sldId="487"/>
            <ac:spMk id="6" creationId="{3DD92FC7-6C25-4186-9364-1C641B6F775B}"/>
          </ac:spMkLst>
        </pc:spChg>
        <pc:spChg chg="mod">
          <ac:chgData name="Matthieu Mabyre" userId="S::m.mabyre@castsoftware.com::52a89cab-5e6b-49ac-8601-6d3bc79d567b" providerId="AD" clId="Web-{800DF24E-5EEA-4685-BD11-09133186F4B1}" dt="2020-10-02T16:07:40.554" v="65" actId="20577"/>
          <ac:spMkLst>
            <pc:docMk/>
            <pc:sldMk cId="2005443533" sldId="487"/>
            <ac:spMk id="7" creationId="{94778117-26F0-439D-BC7A-08492EF17406}"/>
          </ac:spMkLst>
        </pc:spChg>
      </pc:sldChg>
      <pc:sldChg chg="add ord replId">
        <pc:chgData name="Matthieu Mabyre" userId="S::m.mabyre@castsoftware.com::52a89cab-5e6b-49ac-8601-6d3bc79d567b" providerId="AD" clId="Web-{800DF24E-5EEA-4685-BD11-09133186F4B1}" dt="2020-10-02T16:05:55.725" v="4"/>
        <pc:sldMkLst>
          <pc:docMk/>
          <pc:sldMk cId="1957860025" sldId="488"/>
        </pc:sldMkLst>
      </pc:sldChg>
      <pc:sldChg chg="add replId">
        <pc:chgData name="Matthieu Mabyre" userId="S::m.mabyre@castsoftware.com::52a89cab-5e6b-49ac-8601-6d3bc79d567b" providerId="AD" clId="Web-{800DF24E-5EEA-4685-BD11-09133186F4B1}" dt="2020-10-02T16:06:11.507" v="6"/>
        <pc:sldMkLst>
          <pc:docMk/>
          <pc:sldMk cId="1123960982" sldId="489"/>
        </pc:sldMkLst>
      </pc:sldChg>
      <pc:sldChg chg="add del replId">
        <pc:chgData name="Matthieu Mabyre" userId="S::m.mabyre@castsoftware.com::52a89cab-5e6b-49ac-8601-6d3bc79d567b" providerId="AD" clId="Web-{800DF24E-5EEA-4685-BD11-09133186F4B1}" dt="2020-10-02T16:06:54.195" v="9"/>
        <pc:sldMkLst>
          <pc:docMk/>
          <pc:sldMk cId="3280656590" sldId="490"/>
        </pc:sldMkLst>
      </pc:sldChg>
      <pc:sldChg chg="delSp modSp add replId">
        <pc:chgData name="Matthieu Mabyre" userId="S::m.mabyre@castsoftware.com::52a89cab-5e6b-49ac-8601-6d3bc79d567b" providerId="AD" clId="Web-{800DF24E-5EEA-4685-BD11-09133186F4B1}" dt="2020-10-02T16:07:16.179" v="48" actId="20577"/>
        <pc:sldMkLst>
          <pc:docMk/>
          <pc:sldMk cId="3773836689" sldId="491"/>
        </pc:sldMkLst>
        <pc:spChg chg="mod">
          <ac:chgData name="Matthieu Mabyre" userId="S::m.mabyre@castsoftware.com::52a89cab-5e6b-49ac-8601-6d3bc79d567b" providerId="AD" clId="Web-{800DF24E-5EEA-4685-BD11-09133186F4B1}" dt="2020-10-02T16:07:05.898" v="44" actId="20577"/>
          <ac:spMkLst>
            <pc:docMk/>
            <pc:sldMk cId="3773836689" sldId="491"/>
            <ac:spMk id="2" creationId="{00000000-0000-0000-0000-000000000000}"/>
          </ac:spMkLst>
        </pc:spChg>
        <pc:spChg chg="del">
          <ac:chgData name="Matthieu Mabyre" userId="S::m.mabyre@castsoftware.com::52a89cab-5e6b-49ac-8601-6d3bc79d567b" providerId="AD" clId="Web-{800DF24E-5EEA-4685-BD11-09133186F4B1}" dt="2020-10-02T16:07:01.054" v="35"/>
          <ac:spMkLst>
            <pc:docMk/>
            <pc:sldMk cId="3773836689" sldId="491"/>
            <ac:spMk id="7" creationId="{BDE45ABA-C59F-4E4B-8B6E-2CCEC6D64441}"/>
          </ac:spMkLst>
        </pc:spChg>
        <pc:spChg chg="del">
          <ac:chgData name="Matthieu Mabyre" userId="S::m.mabyre@castsoftware.com::52a89cab-5e6b-49ac-8601-6d3bc79d567b" providerId="AD" clId="Web-{800DF24E-5EEA-4685-BD11-09133186F4B1}" dt="2020-10-02T16:07:01.054" v="34"/>
          <ac:spMkLst>
            <pc:docMk/>
            <pc:sldMk cId="3773836689" sldId="491"/>
            <ac:spMk id="8" creationId="{C0A9BC08-A2CF-49A8-96E8-FB143372C7C9}"/>
          </ac:spMkLst>
        </pc:spChg>
        <pc:spChg chg="del">
          <ac:chgData name="Matthieu Mabyre" userId="S::m.mabyre@castsoftware.com::52a89cab-5e6b-49ac-8601-6d3bc79d567b" providerId="AD" clId="Web-{800DF24E-5EEA-4685-BD11-09133186F4B1}" dt="2020-10-02T16:07:01.054" v="32"/>
          <ac:spMkLst>
            <pc:docMk/>
            <pc:sldMk cId="3773836689" sldId="491"/>
            <ac:spMk id="10" creationId="{FE7D522E-34E6-4464-A8B8-CC031AA95B2B}"/>
          </ac:spMkLst>
        </pc:spChg>
        <pc:spChg chg="del">
          <ac:chgData name="Matthieu Mabyre" userId="S::m.mabyre@castsoftware.com::52a89cab-5e6b-49ac-8601-6d3bc79d567b" providerId="AD" clId="Web-{800DF24E-5EEA-4685-BD11-09133186F4B1}" dt="2020-10-02T16:07:01.054" v="31"/>
          <ac:spMkLst>
            <pc:docMk/>
            <pc:sldMk cId="3773836689" sldId="491"/>
            <ac:spMk id="11" creationId="{DC50922F-CFFF-4B96-A6ED-860BC1F17FBB}"/>
          </ac:spMkLst>
        </pc:spChg>
        <pc:spChg chg="del">
          <ac:chgData name="Matthieu Mabyre" userId="S::m.mabyre@castsoftware.com::52a89cab-5e6b-49ac-8601-6d3bc79d567b" providerId="AD" clId="Web-{800DF24E-5EEA-4685-BD11-09133186F4B1}" dt="2020-10-02T16:07:01.054" v="30"/>
          <ac:spMkLst>
            <pc:docMk/>
            <pc:sldMk cId="3773836689" sldId="491"/>
            <ac:spMk id="12" creationId="{79ECE9EC-37F2-4955-91DB-DA2B670E9D4C}"/>
          </ac:spMkLst>
        </pc:spChg>
        <pc:spChg chg="del">
          <ac:chgData name="Matthieu Mabyre" userId="S::m.mabyre@castsoftware.com::52a89cab-5e6b-49ac-8601-6d3bc79d567b" providerId="AD" clId="Web-{800DF24E-5EEA-4685-BD11-09133186F4B1}" dt="2020-10-02T16:07:01.054" v="29"/>
          <ac:spMkLst>
            <pc:docMk/>
            <pc:sldMk cId="3773836689" sldId="491"/>
            <ac:spMk id="13" creationId="{BB5CDEF3-212B-4FD5-9B78-38D4DF86DBDD}"/>
          </ac:spMkLst>
        </pc:spChg>
        <pc:spChg chg="del">
          <ac:chgData name="Matthieu Mabyre" userId="S::m.mabyre@castsoftware.com::52a89cab-5e6b-49ac-8601-6d3bc79d567b" providerId="AD" clId="Web-{800DF24E-5EEA-4685-BD11-09133186F4B1}" dt="2020-10-02T16:07:01.054" v="28"/>
          <ac:spMkLst>
            <pc:docMk/>
            <pc:sldMk cId="3773836689" sldId="491"/>
            <ac:spMk id="14" creationId="{1FAA7961-1E24-4C0B-9ABE-65F06DD07E5C}"/>
          </ac:spMkLst>
        </pc:spChg>
        <pc:spChg chg="del">
          <ac:chgData name="Matthieu Mabyre" userId="S::m.mabyre@castsoftware.com::52a89cab-5e6b-49ac-8601-6d3bc79d567b" providerId="AD" clId="Web-{800DF24E-5EEA-4685-BD11-09133186F4B1}" dt="2020-10-02T16:07:01.054" v="27"/>
          <ac:spMkLst>
            <pc:docMk/>
            <pc:sldMk cId="3773836689" sldId="491"/>
            <ac:spMk id="15" creationId="{B1483C84-9B1F-475D-9C51-D59284D92006}"/>
          </ac:spMkLst>
        </pc:spChg>
        <pc:spChg chg="del">
          <ac:chgData name="Matthieu Mabyre" userId="S::m.mabyre@castsoftware.com::52a89cab-5e6b-49ac-8601-6d3bc79d567b" providerId="AD" clId="Web-{800DF24E-5EEA-4685-BD11-09133186F4B1}" dt="2020-10-02T16:07:01.038" v="14"/>
          <ac:spMkLst>
            <pc:docMk/>
            <pc:sldMk cId="3773836689" sldId="491"/>
            <ac:spMk id="28" creationId="{DEFB6A02-A663-41AA-B58F-4026D3013428}"/>
          </ac:spMkLst>
        </pc:spChg>
        <pc:spChg chg="del">
          <ac:chgData name="Matthieu Mabyre" userId="S::m.mabyre@castsoftware.com::52a89cab-5e6b-49ac-8601-6d3bc79d567b" providerId="AD" clId="Web-{800DF24E-5EEA-4685-BD11-09133186F4B1}" dt="2020-10-02T16:07:01.038" v="13"/>
          <ac:spMkLst>
            <pc:docMk/>
            <pc:sldMk cId="3773836689" sldId="491"/>
            <ac:spMk id="29" creationId="{CEB1C884-59CA-4B7D-998D-129AEAA3A239}"/>
          </ac:spMkLst>
        </pc:spChg>
        <pc:spChg chg="del">
          <ac:chgData name="Matthieu Mabyre" userId="S::m.mabyre@castsoftware.com::52a89cab-5e6b-49ac-8601-6d3bc79d567b" providerId="AD" clId="Web-{800DF24E-5EEA-4685-BD11-09133186F4B1}" dt="2020-10-02T16:07:01.038" v="12"/>
          <ac:spMkLst>
            <pc:docMk/>
            <pc:sldMk cId="3773836689" sldId="491"/>
            <ac:spMk id="30" creationId="{9BC28585-62BA-4B67-A457-16C3FAF69D46}"/>
          </ac:spMkLst>
        </pc:spChg>
        <pc:spChg chg="del">
          <ac:chgData name="Matthieu Mabyre" userId="S::m.mabyre@castsoftware.com::52a89cab-5e6b-49ac-8601-6d3bc79d567b" providerId="AD" clId="Web-{800DF24E-5EEA-4685-BD11-09133186F4B1}" dt="2020-10-02T16:07:01.038" v="11"/>
          <ac:spMkLst>
            <pc:docMk/>
            <pc:sldMk cId="3773836689" sldId="491"/>
            <ac:spMk id="31" creationId="{6C6B8D32-B4CB-4E0C-A52E-9D1AC022AB14}"/>
          </ac:spMkLst>
        </pc:spChg>
        <pc:spChg chg="mod">
          <ac:chgData name="Matthieu Mabyre" userId="S::m.mabyre@castsoftware.com::52a89cab-5e6b-49ac-8601-6d3bc79d567b" providerId="AD" clId="Web-{800DF24E-5EEA-4685-BD11-09133186F4B1}" dt="2020-10-02T16:07:16.179" v="48" actId="20577"/>
          <ac:spMkLst>
            <pc:docMk/>
            <pc:sldMk cId="3773836689" sldId="491"/>
            <ac:spMk id="39" creationId="{9B3B3C2B-2D6A-454B-9637-F6BD98B02D8E}"/>
          </ac:spMkLst>
        </pc:spChg>
        <pc:picChg chg="del">
          <ac:chgData name="Matthieu Mabyre" userId="S::m.mabyre@castsoftware.com::52a89cab-5e6b-49ac-8601-6d3bc79d567b" providerId="AD" clId="Web-{800DF24E-5EEA-4685-BD11-09133186F4B1}" dt="2020-10-02T16:06:57.382" v="10"/>
          <ac:picMkLst>
            <pc:docMk/>
            <pc:sldMk cId="3773836689" sldId="491"/>
            <ac:picMk id="6" creationId="{04DB72C9-DB09-4060-91E0-0E6AE5B0F0F7}"/>
          </ac:picMkLst>
        </pc:picChg>
        <pc:cxnChg chg="del">
          <ac:chgData name="Matthieu Mabyre" userId="S::m.mabyre@castsoftware.com::52a89cab-5e6b-49ac-8601-6d3bc79d567b" providerId="AD" clId="Web-{800DF24E-5EEA-4685-BD11-09133186F4B1}" dt="2020-10-02T16:07:01.054" v="33"/>
          <ac:cxnSpMkLst>
            <pc:docMk/>
            <pc:sldMk cId="3773836689" sldId="491"/>
            <ac:cxnSpMk id="9" creationId="{227096EE-CD50-4D22-8CE4-582CA71A8F79}"/>
          </ac:cxnSpMkLst>
        </pc:cxnChg>
        <pc:cxnChg chg="del">
          <ac:chgData name="Matthieu Mabyre" userId="S::m.mabyre@castsoftware.com::52a89cab-5e6b-49ac-8601-6d3bc79d567b" providerId="AD" clId="Web-{800DF24E-5EEA-4685-BD11-09133186F4B1}" dt="2020-10-02T16:07:01.054" v="26"/>
          <ac:cxnSpMkLst>
            <pc:docMk/>
            <pc:sldMk cId="3773836689" sldId="491"/>
            <ac:cxnSpMk id="16" creationId="{86BFAF22-BC0E-491B-A7AA-E8D9DABF282E}"/>
          </ac:cxnSpMkLst>
        </pc:cxnChg>
        <pc:cxnChg chg="del">
          <ac:chgData name="Matthieu Mabyre" userId="S::m.mabyre@castsoftware.com::52a89cab-5e6b-49ac-8601-6d3bc79d567b" providerId="AD" clId="Web-{800DF24E-5EEA-4685-BD11-09133186F4B1}" dt="2020-10-02T16:07:01.054" v="25"/>
          <ac:cxnSpMkLst>
            <pc:docMk/>
            <pc:sldMk cId="3773836689" sldId="491"/>
            <ac:cxnSpMk id="17" creationId="{0A7E071B-258F-4FC7-A481-402E21623D26}"/>
          </ac:cxnSpMkLst>
        </pc:cxnChg>
        <pc:cxnChg chg="del">
          <ac:chgData name="Matthieu Mabyre" userId="S::m.mabyre@castsoftware.com::52a89cab-5e6b-49ac-8601-6d3bc79d567b" providerId="AD" clId="Web-{800DF24E-5EEA-4685-BD11-09133186F4B1}" dt="2020-10-02T16:07:01.054" v="24"/>
          <ac:cxnSpMkLst>
            <pc:docMk/>
            <pc:sldMk cId="3773836689" sldId="491"/>
            <ac:cxnSpMk id="18" creationId="{D69F846A-D975-488A-9113-FF733EE66070}"/>
          </ac:cxnSpMkLst>
        </pc:cxnChg>
        <pc:cxnChg chg="del">
          <ac:chgData name="Matthieu Mabyre" userId="S::m.mabyre@castsoftware.com::52a89cab-5e6b-49ac-8601-6d3bc79d567b" providerId="AD" clId="Web-{800DF24E-5EEA-4685-BD11-09133186F4B1}" dt="2020-10-02T16:07:01.054" v="23"/>
          <ac:cxnSpMkLst>
            <pc:docMk/>
            <pc:sldMk cId="3773836689" sldId="491"/>
            <ac:cxnSpMk id="19" creationId="{209C31AB-A063-4B2A-8442-B80A4457870B}"/>
          </ac:cxnSpMkLst>
        </pc:cxnChg>
        <pc:cxnChg chg="del">
          <ac:chgData name="Matthieu Mabyre" userId="S::m.mabyre@castsoftware.com::52a89cab-5e6b-49ac-8601-6d3bc79d567b" providerId="AD" clId="Web-{800DF24E-5EEA-4685-BD11-09133186F4B1}" dt="2020-10-02T16:07:01.054" v="22"/>
          <ac:cxnSpMkLst>
            <pc:docMk/>
            <pc:sldMk cId="3773836689" sldId="491"/>
            <ac:cxnSpMk id="20" creationId="{0C7612AD-1C07-47B4-9FF9-7439B85B0297}"/>
          </ac:cxnSpMkLst>
        </pc:cxnChg>
        <pc:cxnChg chg="del">
          <ac:chgData name="Matthieu Mabyre" userId="S::m.mabyre@castsoftware.com::52a89cab-5e6b-49ac-8601-6d3bc79d567b" providerId="AD" clId="Web-{800DF24E-5EEA-4685-BD11-09133186F4B1}" dt="2020-10-02T16:07:01.054" v="21"/>
          <ac:cxnSpMkLst>
            <pc:docMk/>
            <pc:sldMk cId="3773836689" sldId="491"/>
            <ac:cxnSpMk id="21" creationId="{F8819B65-D7FB-4634-836C-BF830AD1615D}"/>
          </ac:cxnSpMkLst>
        </pc:cxnChg>
        <pc:cxnChg chg="del">
          <ac:chgData name="Matthieu Mabyre" userId="S::m.mabyre@castsoftware.com::52a89cab-5e6b-49ac-8601-6d3bc79d567b" providerId="AD" clId="Web-{800DF24E-5EEA-4685-BD11-09133186F4B1}" dt="2020-10-02T16:07:01.054" v="20"/>
          <ac:cxnSpMkLst>
            <pc:docMk/>
            <pc:sldMk cId="3773836689" sldId="491"/>
            <ac:cxnSpMk id="22" creationId="{5655D41D-1CFD-4DE4-9B9C-7C92309664F8}"/>
          </ac:cxnSpMkLst>
        </pc:cxnChg>
        <pc:cxnChg chg="del">
          <ac:chgData name="Matthieu Mabyre" userId="S::m.mabyre@castsoftware.com::52a89cab-5e6b-49ac-8601-6d3bc79d567b" providerId="AD" clId="Web-{800DF24E-5EEA-4685-BD11-09133186F4B1}" dt="2020-10-02T16:07:01.054" v="19"/>
          <ac:cxnSpMkLst>
            <pc:docMk/>
            <pc:sldMk cId="3773836689" sldId="491"/>
            <ac:cxnSpMk id="23" creationId="{FEAC05AA-761D-44E8-BDF3-9FA75AA3A8E2}"/>
          </ac:cxnSpMkLst>
        </pc:cxnChg>
        <pc:cxnChg chg="del">
          <ac:chgData name="Matthieu Mabyre" userId="S::m.mabyre@castsoftware.com::52a89cab-5e6b-49ac-8601-6d3bc79d567b" providerId="AD" clId="Web-{800DF24E-5EEA-4685-BD11-09133186F4B1}" dt="2020-10-02T16:07:01.038" v="18"/>
          <ac:cxnSpMkLst>
            <pc:docMk/>
            <pc:sldMk cId="3773836689" sldId="491"/>
            <ac:cxnSpMk id="24" creationId="{593B8CCC-B631-45F7-9415-631BFDA8B802}"/>
          </ac:cxnSpMkLst>
        </pc:cxnChg>
        <pc:cxnChg chg="del">
          <ac:chgData name="Matthieu Mabyre" userId="S::m.mabyre@castsoftware.com::52a89cab-5e6b-49ac-8601-6d3bc79d567b" providerId="AD" clId="Web-{800DF24E-5EEA-4685-BD11-09133186F4B1}" dt="2020-10-02T16:07:01.038" v="17"/>
          <ac:cxnSpMkLst>
            <pc:docMk/>
            <pc:sldMk cId="3773836689" sldId="491"/>
            <ac:cxnSpMk id="25" creationId="{60CE891C-7BD1-45C2-A4A8-6AA43E1BF8FC}"/>
          </ac:cxnSpMkLst>
        </pc:cxnChg>
        <pc:cxnChg chg="del">
          <ac:chgData name="Matthieu Mabyre" userId="S::m.mabyre@castsoftware.com::52a89cab-5e6b-49ac-8601-6d3bc79d567b" providerId="AD" clId="Web-{800DF24E-5EEA-4685-BD11-09133186F4B1}" dt="2020-10-02T16:07:01.038" v="16"/>
          <ac:cxnSpMkLst>
            <pc:docMk/>
            <pc:sldMk cId="3773836689" sldId="491"/>
            <ac:cxnSpMk id="26" creationId="{F9AA800C-7C45-4496-A6BA-2EFC99855B59}"/>
          </ac:cxnSpMkLst>
        </pc:cxnChg>
        <pc:cxnChg chg="del">
          <ac:chgData name="Matthieu Mabyre" userId="S::m.mabyre@castsoftware.com::52a89cab-5e6b-49ac-8601-6d3bc79d567b" providerId="AD" clId="Web-{800DF24E-5EEA-4685-BD11-09133186F4B1}" dt="2020-10-02T16:07:01.038" v="15"/>
          <ac:cxnSpMkLst>
            <pc:docMk/>
            <pc:sldMk cId="3773836689" sldId="491"/>
            <ac:cxnSpMk id="27" creationId="{B4092BAA-06AC-4679-9367-8977E280D5FF}"/>
          </ac:cxnSpMkLst>
        </pc:cxnChg>
      </pc:sldChg>
    </pc:docChg>
  </pc:docChgLst>
  <pc:docChgLst>
    <pc:chgData name="Matthieu Mabyre" userId="S::m.mabyre@castsoftware.com::52a89cab-5e6b-49ac-8601-6d3bc79d567b" providerId="AD" clId="Web-{D5A19267-0BEF-4D57-8A9C-DE940155E6F7}"/>
    <pc:docChg chg="modSld">
      <pc:chgData name="Matthieu Mabyre" userId="S::m.mabyre@castsoftware.com::52a89cab-5e6b-49ac-8601-6d3bc79d567b" providerId="AD" clId="Web-{D5A19267-0BEF-4D57-8A9C-DE940155E6F7}" dt="2020-11-17T10:18:37.993" v="21" actId="20577"/>
      <pc:docMkLst>
        <pc:docMk/>
      </pc:docMkLst>
      <pc:sldChg chg="addSp modSp">
        <pc:chgData name="Matthieu Mabyre" userId="S::m.mabyre@castsoftware.com::52a89cab-5e6b-49ac-8601-6d3bc79d567b" providerId="AD" clId="Web-{D5A19267-0BEF-4D57-8A9C-DE940155E6F7}" dt="2020-11-17T10:18:37.993" v="21" actId="20577"/>
        <pc:sldMkLst>
          <pc:docMk/>
          <pc:sldMk cId="1973551745" sldId="523"/>
        </pc:sldMkLst>
        <pc:spChg chg="mod">
          <ac:chgData name="Matthieu Mabyre" userId="S::m.mabyre@castsoftware.com::52a89cab-5e6b-49ac-8601-6d3bc79d567b" providerId="AD" clId="Web-{D5A19267-0BEF-4D57-8A9C-DE940155E6F7}" dt="2020-11-17T10:18:37.993" v="21" actId="20577"/>
          <ac:spMkLst>
            <pc:docMk/>
            <pc:sldMk cId="1973551745" sldId="523"/>
            <ac:spMk id="39" creationId="{9B3B3C2B-2D6A-454B-9637-F6BD98B02D8E}"/>
          </ac:spMkLst>
        </pc:spChg>
        <pc:spChg chg="mod">
          <ac:chgData name="Matthieu Mabyre" userId="S::m.mabyre@castsoftware.com::52a89cab-5e6b-49ac-8601-6d3bc79d567b" providerId="AD" clId="Web-{D5A19267-0BEF-4D57-8A9C-DE940155E6F7}" dt="2020-11-17T10:17:38.132" v="11" actId="1076"/>
          <ac:spMkLst>
            <pc:docMk/>
            <pc:sldMk cId="1973551745" sldId="523"/>
            <ac:spMk id="40" creationId="{062DBB7B-8D0C-4648-A550-81B348C37DC4}"/>
          </ac:spMkLst>
        </pc:spChg>
        <pc:picChg chg="add mod ord">
          <ac:chgData name="Matthieu Mabyre" userId="S::m.mabyre@castsoftware.com::52a89cab-5e6b-49ac-8601-6d3bc79d567b" providerId="AD" clId="Web-{D5A19267-0BEF-4D57-8A9C-DE940155E6F7}" dt="2020-11-17T10:17:24.929" v="9"/>
          <ac:picMkLst>
            <pc:docMk/>
            <pc:sldMk cId="1973551745" sldId="523"/>
            <ac:picMk id="4" creationId="{0E094A60-48F2-4692-9164-3B4F6AB4904D}"/>
          </ac:picMkLst>
        </pc:picChg>
      </pc:sldChg>
    </pc:docChg>
  </pc:docChgLst>
  <pc:docChgLst>
    <pc:chgData name="Ribhu Kansal" userId="S::r.kansal@castsoftware.com::3c3467c4-139b-496f-a6d1-b079f7a0729b" providerId="AD" clId="Web-{64C52A0D-C7E2-4062-AF06-A86B095DAAC8}"/>
    <pc:docChg chg="modSld">
      <pc:chgData name="Ribhu Kansal" userId="S::r.kansal@castsoftware.com::3c3467c4-139b-496f-a6d1-b079f7a0729b" providerId="AD" clId="Web-{64C52A0D-C7E2-4062-AF06-A86B095DAAC8}" dt="2020-12-16T20:17:21.601" v="707"/>
      <pc:docMkLst>
        <pc:docMk/>
      </pc:docMkLst>
      <pc:sldChg chg="addSp delSp modSp">
        <pc:chgData name="Ribhu Kansal" userId="S::r.kansal@castsoftware.com::3c3467c4-139b-496f-a6d1-b079f7a0729b" providerId="AD" clId="Web-{64C52A0D-C7E2-4062-AF06-A86B095DAAC8}" dt="2020-12-16T20:17:21.601" v="707"/>
        <pc:sldMkLst>
          <pc:docMk/>
          <pc:sldMk cId="2478486860" sldId="318"/>
        </pc:sldMkLst>
        <pc:spChg chg="add del mod">
          <ac:chgData name="Ribhu Kansal" userId="S::r.kansal@castsoftware.com::3c3467c4-139b-496f-a6d1-b079f7a0729b" providerId="AD" clId="Web-{64C52A0D-C7E2-4062-AF06-A86B095DAAC8}" dt="2020-12-16T20:03:47.798" v="55"/>
          <ac:spMkLst>
            <pc:docMk/>
            <pc:sldMk cId="2478486860" sldId="318"/>
            <ac:spMk id="3" creationId="{7EA3C2B0-AFAE-4A7F-8BE3-2714F926AF46}"/>
          </ac:spMkLst>
        </pc:spChg>
        <pc:spChg chg="mod">
          <ac:chgData name="Ribhu Kansal" userId="S::r.kansal@castsoftware.com::3c3467c4-139b-496f-a6d1-b079f7a0729b" providerId="AD" clId="Web-{64C52A0D-C7E2-4062-AF06-A86B095DAAC8}" dt="2020-12-16T20:16:23.660" v="699" actId="20577"/>
          <ac:spMkLst>
            <pc:docMk/>
            <pc:sldMk cId="2478486860" sldId="318"/>
            <ac:spMk id="4" creationId="{00000000-0000-0000-0000-000000000000}"/>
          </ac:spMkLst>
        </pc:spChg>
        <pc:spChg chg="mod">
          <ac:chgData name="Ribhu Kansal" userId="S::r.kansal@castsoftware.com::3c3467c4-139b-496f-a6d1-b079f7a0729b" providerId="AD" clId="Web-{64C52A0D-C7E2-4062-AF06-A86B095DAAC8}" dt="2020-12-16T20:11:02.903" v="395" actId="20577"/>
          <ac:spMkLst>
            <pc:docMk/>
            <pc:sldMk cId="2478486860" sldId="318"/>
            <ac:spMk id="6" creationId="{00000000-0000-0000-0000-000000000000}"/>
          </ac:spMkLst>
        </pc:spChg>
        <pc:spChg chg="del">
          <ac:chgData name="Ribhu Kansal" userId="S::r.kansal@castsoftware.com::3c3467c4-139b-496f-a6d1-b079f7a0729b" providerId="AD" clId="Web-{64C52A0D-C7E2-4062-AF06-A86B095DAAC8}" dt="2020-12-16T20:16:58.397" v="701"/>
          <ac:spMkLst>
            <pc:docMk/>
            <pc:sldMk cId="2478486860" sldId="318"/>
            <ac:spMk id="26" creationId="{E8648775-700E-42E2-AF20-F42441F0A60A}"/>
          </ac:spMkLst>
        </pc:spChg>
        <pc:spChg chg="del">
          <ac:chgData name="Ribhu Kansal" userId="S::r.kansal@castsoftware.com::3c3467c4-139b-496f-a6d1-b079f7a0729b" providerId="AD" clId="Web-{64C52A0D-C7E2-4062-AF06-A86B095DAAC8}" dt="2020-12-16T20:17:00.022" v="702"/>
          <ac:spMkLst>
            <pc:docMk/>
            <pc:sldMk cId="2478486860" sldId="318"/>
            <ac:spMk id="27" creationId="{ACC7FBDE-1708-442B-8AE0-D629BA855616}"/>
          </ac:spMkLst>
        </pc:spChg>
        <pc:spChg chg="del">
          <ac:chgData name="Ribhu Kansal" userId="S::r.kansal@castsoftware.com::3c3467c4-139b-496f-a6d1-b079f7a0729b" providerId="AD" clId="Web-{64C52A0D-C7E2-4062-AF06-A86B095DAAC8}" dt="2020-12-16T20:17:18.742" v="706"/>
          <ac:spMkLst>
            <pc:docMk/>
            <pc:sldMk cId="2478486860" sldId="318"/>
            <ac:spMk id="28" creationId="{52D37827-EF20-45AF-BC7D-8B3AE0BE4FC2}"/>
          </ac:spMkLst>
        </pc:spChg>
        <pc:spChg chg="add del">
          <ac:chgData name="Ribhu Kansal" userId="S::r.kansal@castsoftware.com::3c3467c4-139b-496f-a6d1-b079f7a0729b" providerId="AD" clId="Web-{64C52A0D-C7E2-4062-AF06-A86B095DAAC8}" dt="2020-12-16T20:17:09.319" v="705"/>
          <ac:spMkLst>
            <pc:docMk/>
            <pc:sldMk cId="2478486860" sldId="318"/>
            <ac:spMk id="29" creationId="{572EDC30-1486-4F4F-8865-B93C0A8FF36C}"/>
          </ac:spMkLst>
        </pc:spChg>
        <pc:grpChg chg="mod">
          <ac:chgData name="Ribhu Kansal" userId="S::r.kansal@castsoftware.com::3c3467c4-139b-496f-a6d1-b079f7a0729b" providerId="AD" clId="Web-{64C52A0D-C7E2-4062-AF06-A86B095DAAC8}" dt="2020-12-16T20:06:59.732" v="301" actId="1076"/>
          <ac:grpSpMkLst>
            <pc:docMk/>
            <pc:sldMk cId="2478486860" sldId="318"/>
            <ac:grpSpMk id="23" creationId="{00000000-0000-0000-0000-000000000000}"/>
          </ac:grpSpMkLst>
        </pc:grpChg>
        <pc:picChg chg="del">
          <ac:chgData name="Ribhu Kansal" userId="S::r.kansal@castsoftware.com::3c3467c4-139b-496f-a6d1-b079f7a0729b" providerId="AD" clId="Web-{64C52A0D-C7E2-4062-AF06-A86B095DAAC8}" dt="2020-12-16T20:17:21.601" v="707"/>
          <ac:picMkLst>
            <pc:docMk/>
            <pc:sldMk cId="2478486860" sldId="318"/>
            <ac:picMk id="14" creationId="{AE9433E2-A246-4A1B-B853-E96F5F17ABC9}"/>
          </ac:picMkLst>
        </pc:picChg>
      </pc:sldChg>
    </pc:docChg>
  </pc:docChgLst>
  <pc:docChgLst>
    <pc:chgData name="Matthieu Mabyre" userId="S::m.mabyre@castsoftware.com::52a89cab-5e6b-49ac-8601-6d3bc79d567b" providerId="AD" clId="Web-{F767158C-75AB-4510-8AB6-D73C794E4AE3}"/>
    <pc:docChg chg="modSld">
      <pc:chgData name="Matthieu Mabyre" userId="S::m.mabyre@castsoftware.com::52a89cab-5e6b-49ac-8601-6d3bc79d567b" providerId="AD" clId="Web-{F767158C-75AB-4510-8AB6-D73C794E4AE3}" dt="2020-11-13T19:16:24.516" v="0" actId="20577"/>
      <pc:docMkLst>
        <pc:docMk/>
      </pc:docMkLst>
      <pc:sldChg chg="modSp">
        <pc:chgData name="Matthieu Mabyre" userId="S::m.mabyre@castsoftware.com::52a89cab-5e6b-49ac-8601-6d3bc79d567b" providerId="AD" clId="Web-{F767158C-75AB-4510-8AB6-D73C794E4AE3}" dt="2020-11-13T19:16:24.516" v="0" actId="20577"/>
        <pc:sldMkLst>
          <pc:docMk/>
          <pc:sldMk cId="742559225" sldId="514"/>
        </pc:sldMkLst>
        <pc:spChg chg="mod">
          <ac:chgData name="Matthieu Mabyre" userId="S::m.mabyre@castsoftware.com::52a89cab-5e6b-49ac-8601-6d3bc79d567b" providerId="AD" clId="Web-{F767158C-75AB-4510-8AB6-D73C794E4AE3}" dt="2020-11-13T19:16:24.516" v="0" actId="20577"/>
          <ac:spMkLst>
            <pc:docMk/>
            <pc:sldMk cId="742559225" sldId="514"/>
            <ac:spMk id="21" creationId="{00000000-0000-0000-0000-000000000000}"/>
          </ac:spMkLst>
        </pc:spChg>
      </pc:sldChg>
    </pc:docChg>
  </pc:docChgLst>
  <pc:docChgLst>
    <pc:chgData name="Manish Sharma" userId="97d895ad-8d7a-4884-8c18-743afd731b6f" providerId="ADAL" clId="{05825897-659E-4E0E-84E5-88D5116C9B00}"/>
    <pc:docChg chg="undo custSel addSld delSld modSld modSection">
      <pc:chgData name="Manish Sharma" userId="97d895ad-8d7a-4884-8c18-743afd731b6f" providerId="ADAL" clId="{05825897-659E-4E0E-84E5-88D5116C9B00}" dt="2020-10-07T16:02:08.817" v="10485" actId="20577"/>
      <pc:docMkLst>
        <pc:docMk/>
      </pc:docMkLst>
      <pc:sldChg chg="delSp modSp mod">
        <pc:chgData name="Manish Sharma" userId="97d895ad-8d7a-4884-8c18-743afd731b6f" providerId="ADAL" clId="{05825897-659E-4E0E-84E5-88D5116C9B00}" dt="2020-10-06T00:57:08.846" v="3587" actId="20577"/>
        <pc:sldMkLst>
          <pc:docMk/>
          <pc:sldMk cId="2478486860" sldId="318"/>
        </pc:sldMkLst>
        <pc:spChg chg="mod">
          <ac:chgData name="Manish Sharma" userId="97d895ad-8d7a-4884-8c18-743afd731b6f" providerId="ADAL" clId="{05825897-659E-4E0E-84E5-88D5116C9B00}" dt="2020-10-06T00:57:08.846" v="3587" actId="20577"/>
          <ac:spMkLst>
            <pc:docMk/>
            <pc:sldMk cId="2478486860" sldId="318"/>
            <ac:spMk id="4" creationId="{00000000-0000-0000-0000-000000000000}"/>
          </ac:spMkLst>
        </pc:spChg>
        <pc:spChg chg="del">
          <ac:chgData name="Manish Sharma" userId="97d895ad-8d7a-4884-8c18-743afd731b6f" providerId="ADAL" clId="{05825897-659E-4E0E-84E5-88D5116C9B00}" dt="2020-10-06T00:25:19.753" v="3453" actId="478"/>
          <ac:spMkLst>
            <pc:docMk/>
            <pc:sldMk cId="2478486860" sldId="318"/>
            <ac:spMk id="14" creationId="{46D7380B-6FD0-4040-9EB6-B3FFC1459608}"/>
          </ac:spMkLst>
        </pc:spChg>
      </pc:sldChg>
      <pc:sldChg chg="addSp delSp modSp del mod">
        <pc:chgData name="Manish Sharma" userId="97d895ad-8d7a-4884-8c18-743afd731b6f" providerId="ADAL" clId="{05825897-659E-4E0E-84E5-88D5116C9B00}" dt="2020-10-05T19:28:37.196" v="1591" actId="47"/>
        <pc:sldMkLst>
          <pc:docMk/>
          <pc:sldMk cId="3229088273" sldId="365"/>
        </pc:sldMkLst>
        <pc:spChg chg="del">
          <ac:chgData name="Manish Sharma" userId="97d895ad-8d7a-4884-8c18-743afd731b6f" providerId="ADAL" clId="{05825897-659E-4E0E-84E5-88D5116C9B00}" dt="2020-10-05T18:06:22.839" v="1580" actId="478"/>
          <ac:spMkLst>
            <pc:docMk/>
            <pc:sldMk cId="3229088273" sldId="365"/>
            <ac:spMk id="3" creationId="{59712540-F550-4ABD-AEDE-AF710581C51C}"/>
          </ac:spMkLst>
        </pc:spChg>
        <pc:spChg chg="mod">
          <ac:chgData name="Manish Sharma" userId="97d895ad-8d7a-4884-8c18-743afd731b6f" providerId="ADAL" clId="{05825897-659E-4E0E-84E5-88D5116C9B00}" dt="2020-10-05T18:08:15.419" v="1589" actId="13926"/>
          <ac:spMkLst>
            <pc:docMk/>
            <pc:sldMk cId="3229088273" sldId="365"/>
            <ac:spMk id="7" creationId="{B633BA49-44C2-41E0-8A5F-10881248D9C0}"/>
          </ac:spMkLst>
        </pc:spChg>
        <pc:graphicFrameChg chg="mod modGraphic">
          <ac:chgData name="Manish Sharma" userId="97d895ad-8d7a-4884-8c18-743afd731b6f" providerId="ADAL" clId="{05825897-659E-4E0E-84E5-88D5116C9B00}" dt="2020-10-05T17:57:02.698" v="1350"/>
          <ac:graphicFrameMkLst>
            <pc:docMk/>
            <pc:sldMk cId="3229088273" sldId="365"/>
            <ac:graphicFrameMk id="20" creationId="{C706CF1C-16BE-40AB-AD10-3D3B1B2FD25F}"/>
          </ac:graphicFrameMkLst>
        </pc:graphicFrameChg>
        <pc:graphicFrameChg chg="modGraphic">
          <ac:chgData name="Manish Sharma" userId="97d895ad-8d7a-4884-8c18-743afd731b6f" providerId="ADAL" clId="{05825897-659E-4E0E-84E5-88D5116C9B00}" dt="2020-10-05T18:01:04.425" v="1358" actId="20577"/>
          <ac:graphicFrameMkLst>
            <pc:docMk/>
            <pc:sldMk cId="3229088273" sldId="365"/>
            <ac:graphicFrameMk id="22" creationId="{25ADC611-E4BA-4F2F-9BF9-A6228171DDE2}"/>
          </ac:graphicFrameMkLst>
        </pc:graphicFrameChg>
        <pc:graphicFrameChg chg="modGraphic">
          <ac:chgData name="Manish Sharma" userId="97d895ad-8d7a-4884-8c18-743afd731b6f" providerId="ADAL" clId="{05825897-659E-4E0E-84E5-88D5116C9B00}" dt="2020-10-05T18:06:39.141" v="1588" actId="6549"/>
          <ac:graphicFrameMkLst>
            <pc:docMk/>
            <pc:sldMk cId="3229088273" sldId="365"/>
            <ac:graphicFrameMk id="23" creationId="{00000000-0000-0000-0000-000000000000}"/>
          </ac:graphicFrameMkLst>
        </pc:graphicFrameChg>
        <pc:graphicFrameChg chg="mod modGraphic">
          <ac:chgData name="Manish Sharma" userId="97d895ad-8d7a-4884-8c18-743afd731b6f" providerId="ADAL" clId="{05825897-659E-4E0E-84E5-88D5116C9B00}" dt="2020-10-05T18:01:13.585" v="1359" actId="2165"/>
          <ac:graphicFrameMkLst>
            <pc:docMk/>
            <pc:sldMk cId="3229088273" sldId="365"/>
            <ac:graphicFrameMk id="26" creationId="{A088A704-3458-4A85-A10E-CBFB205EDF51}"/>
          </ac:graphicFrameMkLst>
        </pc:graphicFrameChg>
        <pc:graphicFrameChg chg="add mod">
          <ac:chgData name="Manish Sharma" userId="97d895ad-8d7a-4884-8c18-743afd731b6f" providerId="ADAL" clId="{05825897-659E-4E0E-84E5-88D5116C9B00}" dt="2020-10-05T18:04:08.963" v="1562"/>
          <ac:graphicFrameMkLst>
            <pc:docMk/>
            <pc:sldMk cId="3229088273" sldId="365"/>
            <ac:graphicFrameMk id="27" creationId="{B1966A9A-BC2F-42B8-BE6B-F94D548DC7E2}"/>
          </ac:graphicFrameMkLst>
        </pc:graphicFrameChg>
        <pc:graphicFrameChg chg="del">
          <ac:chgData name="Manish Sharma" userId="97d895ad-8d7a-4884-8c18-743afd731b6f" providerId="ADAL" clId="{05825897-659E-4E0E-84E5-88D5116C9B00}" dt="2020-10-05T18:04:05.086" v="1560" actId="478"/>
          <ac:graphicFrameMkLst>
            <pc:docMk/>
            <pc:sldMk cId="3229088273" sldId="365"/>
            <ac:graphicFrameMk id="28" creationId="{9E676B55-AD9A-433F-B3CC-A2D4CCE7EF79}"/>
          </ac:graphicFrameMkLst>
        </pc:graphicFrameChg>
        <pc:graphicFrameChg chg="add mod">
          <ac:chgData name="Manish Sharma" userId="97d895ad-8d7a-4884-8c18-743afd731b6f" providerId="ADAL" clId="{05825897-659E-4E0E-84E5-88D5116C9B00}" dt="2020-10-05T18:05:07.186" v="1579"/>
          <ac:graphicFrameMkLst>
            <pc:docMk/>
            <pc:sldMk cId="3229088273" sldId="365"/>
            <ac:graphicFrameMk id="29" creationId="{81CDBA2E-8677-4561-BDAE-10D96C2833F4}"/>
          </ac:graphicFrameMkLst>
        </pc:graphicFrameChg>
      </pc:sldChg>
      <pc:sldChg chg="del">
        <pc:chgData name="Manish Sharma" userId="97d895ad-8d7a-4884-8c18-743afd731b6f" providerId="ADAL" clId="{05825897-659E-4E0E-84E5-88D5116C9B00}" dt="2020-10-06T23:31:38.074" v="4173" actId="47"/>
        <pc:sldMkLst>
          <pc:docMk/>
          <pc:sldMk cId="1518793287" sldId="368"/>
        </pc:sldMkLst>
      </pc:sldChg>
      <pc:sldChg chg="addSp delSp modSp mod">
        <pc:chgData name="Manish Sharma" userId="97d895ad-8d7a-4884-8c18-743afd731b6f" providerId="ADAL" clId="{05825897-659E-4E0E-84E5-88D5116C9B00}" dt="2020-10-07T03:00:55.355" v="7968"/>
        <pc:sldMkLst>
          <pc:docMk/>
          <pc:sldMk cId="2829381692" sldId="393"/>
        </pc:sldMkLst>
        <pc:spChg chg="del">
          <ac:chgData name="Manish Sharma" userId="97d895ad-8d7a-4884-8c18-743afd731b6f" providerId="ADAL" clId="{05825897-659E-4E0E-84E5-88D5116C9B00}" dt="2020-10-06T21:17:55.681" v="3616" actId="478"/>
          <ac:spMkLst>
            <pc:docMk/>
            <pc:sldMk cId="2829381692" sldId="393"/>
            <ac:spMk id="3" creationId="{74CFCB12-6BA0-44C4-B447-325896052D10}"/>
          </ac:spMkLst>
        </pc:spChg>
        <pc:spChg chg="del">
          <ac:chgData name="Manish Sharma" userId="97d895ad-8d7a-4884-8c18-743afd731b6f" providerId="ADAL" clId="{05825897-659E-4E0E-84E5-88D5116C9B00}" dt="2020-10-06T21:18:20.563" v="3621" actId="478"/>
          <ac:spMkLst>
            <pc:docMk/>
            <pc:sldMk cId="2829381692" sldId="393"/>
            <ac:spMk id="6" creationId="{1B139A15-2A8B-435B-9E43-95ED4D4F86D0}"/>
          </ac:spMkLst>
        </pc:spChg>
        <pc:spChg chg="del">
          <ac:chgData name="Manish Sharma" userId="97d895ad-8d7a-4884-8c18-743afd731b6f" providerId="ADAL" clId="{05825897-659E-4E0E-84E5-88D5116C9B00}" dt="2020-10-06T21:18:20.563" v="3621" actId="478"/>
          <ac:spMkLst>
            <pc:docMk/>
            <pc:sldMk cId="2829381692" sldId="393"/>
            <ac:spMk id="7" creationId="{57676C1D-5CD7-4587-9C44-8245D75CC612}"/>
          </ac:spMkLst>
        </pc:spChg>
        <pc:spChg chg="mod">
          <ac:chgData name="Manish Sharma" userId="97d895ad-8d7a-4884-8c18-743afd731b6f" providerId="ADAL" clId="{05825897-659E-4E0E-84E5-88D5116C9B00}" dt="2020-10-06T21:22:21.221" v="3709" actId="207"/>
          <ac:spMkLst>
            <pc:docMk/>
            <pc:sldMk cId="2829381692" sldId="393"/>
            <ac:spMk id="16" creationId="{90E40009-D7A5-4621-8204-224ABC009747}"/>
          </ac:spMkLst>
        </pc:spChg>
        <pc:spChg chg="mod">
          <ac:chgData name="Manish Sharma" userId="97d895ad-8d7a-4884-8c18-743afd731b6f" providerId="ADAL" clId="{05825897-659E-4E0E-84E5-88D5116C9B00}" dt="2020-10-06T21:32:53.099" v="3731" actId="6549"/>
          <ac:spMkLst>
            <pc:docMk/>
            <pc:sldMk cId="2829381692" sldId="393"/>
            <ac:spMk id="20" creationId="{00000000-0000-0000-0000-000000000000}"/>
          </ac:spMkLst>
        </pc:spChg>
        <pc:spChg chg="mod">
          <ac:chgData name="Manish Sharma" userId="97d895ad-8d7a-4884-8c18-743afd731b6f" providerId="ADAL" clId="{05825897-659E-4E0E-84E5-88D5116C9B00}" dt="2020-10-06T21:22:24.803" v="3710" actId="207"/>
          <ac:spMkLst>
            <pc:docMk/>
            <pc:sldMk cId="2829381692" sldId="393"/>
            <ac:spMk id="24" creationId="{323E64DC-A6B0-4990-9F4D-703175765359}"/>
          </ac:spMkLst>
        </pc:spChg>
        <pc:spChg chg="mod">
          <ac:chgData name="Manish Sharma" userId="97d895ad-8d7a-4884-8c18-743afd731b6f" providerId="ADAL" clId="{05825897-659E-4E0E-84E5-88D5116C9B00}" dt="2020-10-06T21:22:21.221" v="3709" actId="207"/>
          <ac:spMkLst>
            <pc:docMk/>
            <pc:sldMk cId="2829381692" sldId="393"/>
            <ac:spMk id="25" creationId="{077381A9-23E6-4F3E-8768-8744299F355D}"/>
          </ac:spMkLst>
        </pc:spChg>
        <pc:spChg chg="mod">
          <ac:chgData name="Manish Sharma" userId="97d895ad-8d7a-4884-8c18-743afd731b6f" providerId="ADAL" clId="{05825897-659E-4E0E-84E5-88D5116C9B00}" dt="2020-10-06T21:22:24.803" v="3710" actId="207"/>
          <ac:spMkLst>
            <pc:docMk/>
            <pc:sldMk cId="2829381692" sldId="393"/>
            <ac:spMk id="26" creationId="{AEB16DAA-5611-403C-B2AC-BDBDBC7C939C}"/>
          </ac:spMkLst>
        </pc:spChg>
        <pc:spChg chg="mod">
          <ac:chgData name="Manish Sharma" userId="97d895ad-8d7a-4884-8c18-743afd731b6f" providerId="ADAL" clId="{05825897-659E-4E0E-84E5-88D5116C9B00}" dt="2020-10-06T21:22:21.221" v="3709" actId="207"/>
          <ac:spMkLst>
            <pc:docMk/>
            <pc:sldMk cId="2829381692" sldId="393"/>
            <ac:spMk id="27" creationId="{E714E7CA-AF0C-41D3-8351-BCEFA128D2C8}"/>
          </ac:spMkLst>
        </pc:spChg>
        <pc:spChg chg="mod">
          <ac:chgData name="Manish Sharma" userId="97d895ad-8d7a-4884-8c18-743afd731b6f" providerId="ADAL" clId="{05825897-659E-4E0E-84E5-88D5116C9B00}" dt="2020-10-06T21:22:24.803" v="3710" actId="207"/>
          <ac:spMkLst>
            <pc:docMk/>
            <pc:sldMk cId="2829381692" sldId="393"/>
            <ac:spMk id="28" creationId="{60809691-D8F4-466E-AE0B-66584789A72C}"/>
          </ac:spMkLst>
        </pc:spChg>
        <pc:spChg chg="mod">
          <ac:chgData name="Manish Sharma" userId="97d895ad-8d7a-4884-8c18-743afd731b6f" providerId="ADAL" clId="{05825897-659E-4E0E-84E5-88D5116C9B00}" dt="2020-10-06T21:33:04.483" v="3734" actId="20577"/>
          <ac:spMkLst>
            <pc:docMk/>
            <pc:sldMk cId="2829381692" sldId="393"/>
            <ac:spMk id="30" creationId="{BC68C9EA-24FC-4D79-A0C1-213D45B72034}"/>
          </ac:spMkLst>
        </pc:spChg>
        <pc:spChg chg="mod">
          <ac:chgData name="Manish Sharma" userId="97d895ad-8d7a-4884-8c18-743afd731b6f" providerId="ADAL" clId="{05825897-659E-4E0E-84E5-88D5116C9B00}" dt="2020-10-06T21:22:27.894" v="3711" actId="207"/>
          <ac:spMkLst>
            <pc:docMk/>
            <pc:sldMk cId="2829381692" sldId="393"/>
            <ac:spMk id="35" creationId="{5E262596-0DCB-447D-B283-4CFED3EF8426}"/>
          </ac:spMkLst>
        </pc:spChg>
        <pc:spChg chg="mod">
          <ac:chgData name="Manish Sharma" userId="97d895ad-8d7a-4884-8c18-743afd731b6f" providerId="ADAL" clId="{05825897-659E-4E0E-84E5-88D5116C9B00}" dt="2020-10-06T21:22:27.894" v="3711" actId="207"/>
          <ac:spMkLst>
            <pc:docMk/>
            <pc:sldMk cId="2829381692" sldId="393"/>
            <ac:spMk id="36" creationId="{ECCE5471-07DD-4525-AD7D-DB37166FDF5C}"/>
          </ac:spMkLst>
        </pc:spChg>
        <pc:spChg chg="mod">
          <ac:chgData name="Manish Sharma" userId="97d895ad-8d7a-4884-8c18-743afd731b6f" providerId="ADAL" clId="{05825897-659E-4E0E-84E5-88D5116C9B00}" dt="2020-10-06T21:22:27.894" v="3711" actId="207"/>
          <ac:spMkLst>
            <pc:docMk/>
            <pc:sldMk cId="2829381692" sldId="393"/>
            <ac:spMk id="38" creationId="{70921EAD-4F90-4313-967A-5F909BFE27E8}"/>
          </ac:spMkLst>
        </pc:spChg>
        <pc:grpChg chg="add mod">
          <ac:chgData name="Manish Sharma" userId="97d895ad-8d7a-4884-8c18-743afd731b6f" providerId="ADAL" clId="{05825897-659E-4E0E-84E5-88D5116C9B00}" dt="2020-10-06T21:21:47.973" v="3708" actId="1076"/>
          <ac:grpSpMkLst>
            <pc:docMk/>
            <pc:sldMk cId="2829381692" sldId="393"/>
            <ac:grpSpMk id="9" creationId="{0C9A9329-34F4-42B3-B417-32AA75A6C343}"/>
          </ac:grpSpMkLst>
        </pc:grpChg>
        <pc:grpChg chg="add mod">
          <ac:chgData name="Manish Sharma" userId="97d895ad-8d7a-4884-8c18-743afd731b6f" providerId="ADAL" clId="{05825897-659E-4E0E-84E5-88D5116C9B00}" dt="2020-10-06T21:21:44.308" v="3707" actId="1076"/>
          <ac:grpSpMkLst>
            <pc:docMk/>
            <pc:sldMk cId="2829381692" sldId="393"/>
            <ac:grpSpMk id="10" creationId="{C4153FF1-0D99-45EB-9EE7-432D02358821}"/>
          </ac:grpSpMkLst>
        </pc:grpChg>
        <pc:grpChg chg="mod">
          <ac:chgData name="Manish Sharma" userId="97d895ad-8d7a-4884-8c18-743afd731b6f" providerId="ADAL" clId="{05825897-659E-4E0E-84E5-88D5116C9B00}" dt="2020-10-06T21:18:00.940" v="3617" actId="164"/>
          <ac:grpSpMkLst>
            <pc:docMk/>
            <pc:sldMk cId="2829381692" sldId="393"/>
            <ac:grpSpMk id="14" creationId="{ADA30913-405A-42C6-93ED-0B02E95B6119}"/>
          </ac:grpSpMkLst>
        </pc:grpChg>
        <pc:grpChg chg="mod">
          <ac:chgData name="Manish Sharma" userId="97d895ad-8d7a-4884-8c18-743afd731b6f" providerId="ADAL" clId="{05825897-659E-4E0E-84E5-88D5116C9B00}" dt="2020-10-06T21:18:15.088" v="3619" actId="164"/>
          <ac:grpSpMkLst>
            <pc:docMk/>
            <pc:sldMk cId="2829381692" sldId="393"/>
            <ac:grpSpMk id="17" creationId="{697B894C-C243-4DE6-8B71-AC7BD64D86EE}"/>
          </ac:grpSpMkLst>
        </pc:grpChg>
        <pc:grpChg chg="add mod">
          <ac:chgData name="Manish Sharma" userId="97d895ad-8d7a-4884-8c18-743afd731b6f" providerId="ADAL" clId="{05825897-659E-4E0E-84E5-88D5116C9B00}" dt="2020-10-06T21:21:25.616" v="3697" actId="1076"/>
          <ac:grpSpMkLst>
            <pc:docMk/>
            <pc:sldMk cId="2829381692" sldId="393"/>
            <ac:grpSpMk id="31" creationId="{E25F4F95-7A0F-42EA-9868-B84486C82AEB}"/>
          </ac:grpSpMkLst>
        </pc:grpChg>
        <pc:grpChg chg="mod">
          <ac:chgData name="Manish Sharma" userId="97d895ad-8d7a-4884-8c18-743afd731b6f" providerId="ADAL" clId="{05825897-659E-4E0E-84E5-88D5116C9B00}" dt="2020-10-06T21:21:21.633" v="3696"/>
          <ac:grpSpMkLst>
            <pc:docMk/>
            <pc:sldMk cId="2829381692" sldId="393"/>
            <ac:grpSpMk id="32" creationId="{59016724-0881-48C6-BB60-A7201FA3CA4E}"/>
          </ac:grpSpMkLst>
        </pc:grpChg>
        <pc:grpChg chg="del">
          <ac:chgData name="Manish Sharma" userId="97d895ad-8d7a-4884-8c18-743afd731b6f" providerId="ADAL" clId="{05825897-659E-4E0E-84E5-88D5116C9B00}" dt="2020-10-06T21:18:20.563" v="3621" actId="478"/>
          <ac:grpSpMkLst>
            <pc:docMk/>
            <pc:sldMk cId="2829381692" sldId="393"/>
            <ac:grpSpMk id="33" creationId="{1CD82E41-0C61-4A46-84F3-B56BC0B373B4}"/>
          </ac:grpSpMkLst>
        </pc:grpChg>
        <pc:graphicFrameChg chg="add mod modGraphic">
          <ac:chgData name="Manish Sharma" userId="97d895ad-8d7a-4884-8c18-743afd731b6f" providerId="ADAL" clId="{05825897-659E-4E0E-84E5-88D5116C9B00}" dt="2020-10-07T03:00:55.355" v="7968"/>
          <ac:graphicFrameMkLst>
            <pc:docMk/>
            <pc:sldMk cId="2829381692" sldId="393"/>
            <ac:graphicFrameMk id="4" creationId="{47BE1CB3-73D3-4B98-B603-C3E7A648EBF5}"/>
          </ac:graphicFrameMkLst>
        </pc:graphicFrameChg>
        <pc:graphicFrameChg chg="del">
          <ac:chgData name="Manish Sharma" userId="97d895ad-8d7a-4884-8c18-743afd731b6f" providerId="ADAL" clId="{05825897-659E-4E0E-84E5-88D5116C9B00}" dt="2020-10-06T21:17:29.805" v="3610" actId="478"/>
          <ac:graphicFrameMkLst>
            <pc:docMk/>
            <pc:sldMk cId="2829381692" sldId="393"/>
            <ac:graphicFrameMk id="5" creationId="{CBCCD75D-9E82-4855-8922-C7ADCD864A31}"/>
          </ac:graphicFrameMkLst>
        </pc:graphicFrameChg>
        <pc:graphicFrameChg chg="del">
          <ac:chgData name="Manish Sharma" userId="97d895ad-8d7a-4884-8c18-743afd731b6f" providerId="ADAL" clId="{05825897-659E-4E0E-84E5-88D5116C9B00}" dt="2020-10-06T21:21:16.578" v="3695" actId="478"/>
          <ac:graphicFrameMkLst>
            <pc:docMk/>
            <pc:sldMk cId="2829381692" sldId="393"/>
            <ac:graphicFrameMk id="8" creationId="{F2F07E77-49D0-4B8D-88A3-E09B5D122DF2}"/>
          </ac:graphicFrameMkLst>
        </pc:graphicFrameChg>
        <pc:graphicFrameChg chg="add del mod">
          <ac:chgData name="Manish Sharma" userId="97d895ad-8d7a-4884-8c18-743afd731b6f" providerId="ADAL" clId="{05825897-659E-4E0E-84E5-88D5116C9B00}" dt="2020-10-06T21:33:40.739" v="3739" actId="478"/>
          <ac:graphicFrameMkLst>
            <pc:docMk/>
            <pc:sldMk cId="2829381692" sldId="393"/>
            <ac:graphicFrameMk id="11" creationId="{4CC63320-4B65-4A49-8059-05383403703D}"/>
          </ac:graphicFrameMkLst>
        </pc:graphicFrameChg>
        <pc:graphicFrameChg chg="add mod">
          <ac:chgData name="Manish Sharma" userId="97d895ad-8d7a-4884-8c18-743afd731b6f" providerId="ADAL" clId="{05825897-659E-4E0E-84E5-88D5116C9B00}" dt="2020-10-06T21:34:16.693" v="3741" actId="1076"/>
          <ac:graphicFrameMkLst>
            <pc:docMk/>
            <pc:sldMk cId="2829381692" sldId="393"/>
            <ac:graphicFrameMk id="22" creationId="{6D6DF940-B8E8-4490-B6F0-052CED940925}"/>
          </ac:graphicFrameMkLst>
        </pc:graphicFrameChg>
        <pc:cxnChg chg="mod">
          <ac:chgData name="Manish Sharma" userId="97d895ad-8d7a-4884-8c18-743afd731b6f" providerId="ADAL" clId="{05825897-659E-4E0E-84E5-88D5116C9B00}" dt="2020-10-06T21:21:21.633" v="3696"/>
          <ac:cxnSpMkLst>
            <pc:docMk/>
            <pc:sldMk cId="2829381692" sldId="393"/>
            <ac:cxnSpMk id="37" creationId="{1DB5101A-B97F-4053-AD3A-C61F2858E791}"/>
          </ac:cxnSpMkLst>
        </pc:cxnChg>
      </pc:sldChg>
      <pc:sldChg chg="delSp modSp mod">
        <pc:chgData name="Manish Sharma" userId="97d895ad-8d7a-4884-8c18-743afd731b6f" providerId="ADAL" clId="{05825897-659E-4E0E-84E5-88D5116C9B00}" dt="2020-10-07T03:29:22.028" v="9191" actId="20577"/>
        <pc:sldMkLst>
          <pc:docMk/>
          <pc:sldMk cId="1999519132" sldId="425"/>
        </pc:sldMkLst>
        <pc:spChg chg="del">
          <ac:chgData name="Manish Sharma" userId="97d895ad-8d7a-4884-8c18-743afd731b6f" providerId="ADAL" clId="{05825897-659E-4E0E-84E5-88D5116C9B00}" dt="2020-10-07T02:48:51.790" v="7896" actId="478"/>
          <ac:spMkLst>
            <pc:docMk/>
            <pc:sldMk cId="1999519132" sldId="425"/>
            <ac:spMk id="3" creationId="{A746D218-EF60-4781-AA69-598A339D803F}"/>
          </ac:spMkLst>
        </pc:spChg>
        <pc:spChg chg="mod">
          <ac:chgData name="Manish Sharma" userId="97d895ad-8d7a-4884-8c18-743afd731b6f" providerId="ADAL" clId="{05825897-659E-4E0E-84E5-88D5116C9B00}" dt="2020-10-07T03:20:28.258" v="8502" actId="14100"/>
          <ac:spMkLst>
            <pc:docMk/>
            <pc:sldMk cId="1999519132" sldId="425"/>
            <ac:spMk id="6" creationId="{2737B36F-D554-4BAD-93B2-42FE857D20B9}"/>
          </ac:spMkLst>
        </pc:spChg>
        <pc:spChg chg="mod">
          <ac:chgData name="Manish Sharma" userId="97d895ad-8d7a-4884-8c18-743afd731b6f" providerId="ADAL" clId="{05825897-659E-4E0E-84E5-88D5116C9B00}" dt="2020-10-07T03:20:35.086" v="8506" actId="20577"/>
          <ac:spMkLst>
            <pc:docMk/>
            <pc:sldMk cId="1999519132" sldId="425"/>
            <ac:spMk id="9" creationId="{6E9E836F-7153-483F-9207-7D653ED2E76B}"/>
          </ac:spMkLst>
        </pc:spChg>
        <pc:spChg chg="mod">
          <ac:chgData name="Manish Sharma" userId="97d895ad-8d7a-4884-8c18-743afd731b6f" providerId="ADAL" clId="{05825897-659E-4E0E-84E5-88D5116C9B00}" dt="2020-10-07T03:29:22.028" v="9191" actId="20577"/>
          <ac:spMkLst>
            <pc:docMk/>
            <pc:sldMk cId="1999519132" sldId="425"/>
            <ac:spMk id="25" creationId="{822CB3C9-19F1-48FD-B87F-0FE3265E0570}"/>
          </ac:spMkLst>
        </pc:spChg>
        <pc:spChg chg="mod">
          <ac:chgData name="Manish Sharma" userId="97d895ad-8d7a-4884-8c18-743afd731b6f" providerId="ADAL" clId="{05825897-659E-4E0E-84E5-88D5116C9B00}" dt="2020-10-07T03:10:01.237" v="8207" actId="1076"/>
          <ac:spMkLst>
            <pc:docMk/>
            <pc:sldMk cId="1999519132" sldId="425"/>
            <ac:spMk id="33" creationId="{E45FF77D-67C6-4A06-AF64-0F07D3C50A91}"/>
          </ac:spMkLst>
        </pc:spChg>
        <pc:graphicFrameChg chg="mod modGraphic">
          <ac:chgData name="Manish Sharma" userId="97d895ad-8d7a-4884-8c18-743afd731b6f" providerId="ADAL" clId="{05825897-659E-4E0E-84E5-88D5116C9B00}" dt="2020-10-07T03:27:08.195" v="9177" actId="20577"/>
          <ac:graphicFrameMkLst>
            <pc:docMk/>
            <pc:sldMk cId="1999519132" sldId="425"/>
            <ac:graphicFrameMk id="28" creationId="{994870E9-25EF-4A43-B1A1-38CC6A36FD4D}"/>
          </ac:graphicFrameMkLst>
        </pc:graphicFrameChg>
      </pc:sldChg>
      <pc:sldChg chg="delSp modSp mod">
        <pc:chgData name="Manish Sharma" userId="97d895ad-8d7a-4884-8c18-743afd731b6f" providerId="ADAL" clId="{05825897-659E-4E0E-84E5-88D5116C9B00}" dt="2020-10-07T15:59:39.365" v="10366" actId="5793"/>
        <pc:sldMkLst>
          <pc:docMk/>
          <pc:sldMk cId="706555508" sldId="426"/>
        </pc:sldMkLst>
        <pc:spChg chg="mod">
          <ac:chgData name="Manish Sharma" userId="97d895ad-8d7a-4884-8c18-743afd731b6f" providerId="ADAL" clId="{05825897-659E-4E0E-84E5-88D5116C9B00}" dt="2020-10-07T15:56:14.843" v="10236" actId="6549"/>
          <ac:spMkLst>
            <pc:docMk/>
            <pc:sldMk cId="706555508" sldId="426"/>
            <ac:spMk id="2" creationId="{00000000-0000-0000-0000-000000000000}"/>
          </ac:spMkLst>
        </pc:spChg>
        <pc:spChg chg="mod">
          <ac:chgData name="Manish Sharma" userId="97d895ad-8d7a-4884-8c18-743afd731b6f" providerId="ADAL" clId="{05825897-659E-4E0E-84E5-88D5116C9B00}" dt="2020-10-07T15:59:39.365" v="10366" actId="5793"/>
          <ac:spMkLst>
            <pc:docMk/>
            <pc:sldMk cId="706555508" sldId="426"/>
            <ac:spMk id="4" creationId="{00000000-0000-0000-0000-000000000000}"/>
          </ac:spMkLst>
        </pc:spChg>
        <pc:spChg chg="del">
          <ac:chgData name="Manish Sharma" userId="97d895ad-8d7a-4884-8c18-743afd731b6f" providerId="ADAL" clId="{05825897-659E-4E0E-84E5-88D5116C9B00}" dt="2020-10-07T03:46:30.318" v="9894" actId="478"/>
          <ac:spMkLst>
            <pc:docMk/>
            <pc:sldMk cId="706555508" sldId="426"/>
            <ac:spMk id="5" creationId="{8B8F61BF-CF9A-4F4F-9759-095FCC122D2C}"/>
          </ac:spMkLst>
        </pc:spChg>
      </pc:sldChg>
      <pc:sldChg chg="addSp delSp modSp mod">
        <pc:chgData name="Manish Sharma" userId="97d895ad-8d7a-4884-8c18-743afd731b6f" providerId="ADAL" clId="{05825897-659E-4E0E-84E5-88D5116C9B00}" dt="2020-10-06T00:17:56.189" v="3452" actId="20577"/>
        <pc:sldMkLst>
          <pc:docMk/>
          <pc:sldMk cId="3705176354" sldId="428"/>
        </pc:sldMkLst>
        <pc:spChg chg="mod">
          <ac:chgData name="Manish Sharma" userId="97d895ad-8d7a-4884-8c18-743afd731b6f" providerId="ADAL" clId="{05825897-659E-4E0E-84E5-88D5116C9B00}" dt="2020-10-05T01:12:11.342" v="203" actId="20577"/>
          <ac:spMkLst>
            <pc:docMk/>
            <pc:sldMk cId="3705176354" sldId="428"/>
            <ac:spMk id="2" creationId="{00000000-0000-0000-0000-000000000000}"/>
          </ac:spMkLst>
        </pc:spChg>
        <pc:spChg chg="del">
          <ac:chgData name="Manish Sharma" userId="97d895ad-8d7a-4884-8c18-743afd731b6f" providerId="ADAL" clId="{05825897-659E-4E0E-84E5-88D5116C9B00}" dt="2020-10-04T21:47:31.350" v="82" actId="478"/>
          <ac:spMkLst>
            <pc:docMk/>
            <pc:sldMk cId="3705176354" sldId="428"/>
            <ac:spMk id="4" creationId="{E5500B19-362D-4F5E-9470-2EBBE5B25EC9}"/>
          </ac:spMkLst>
        </pc:spChg>
        <pc:spChg chg="mod">
          <ac:chgData name="Manish Sharma" userId="97d895ad-8d7a-4884-8c18-743afd731b6f" providerId="ADAL" clId="{05825897-659E-4E0E-84E5-88D5116C9B00}" dt="2020-10-05T02:17:05.800" v="417" actId="14100"/>
          <ac:spMkLst>
            <pc:docMk/>
            <pc:sldMk cId="3705176354" sldId="428"/>
            <ac:spMk id="16" creationId="{00000000-0000-0000-0000-000000000000}"/>
          </ac:spMkLst>
        </pc:spChg>
        <pc:spChg chg="mod">
          <ac:chgData name="Manish Sharma" userId="97d895ad-8d7a-4884-8c18-743afd731b6f" providerId="ADAL" clId="{05825897-659E-4E0E-84E5-88D5116C9B00}" dt="2020-10-06T00:11:16.517" v="3450" actId="20577"/>
          <ac:spMkLst>
            <pc:docMk/>
            <pc:sldMk cId="3705176354" sldId="428"/>
            <ac:spMk id="21" creationId="{00000000-0000-0000-0000-000000000000}"/>
          </ac:spMkLst>
        </pc:spChg>
        <pc:spChg chg="mod">
          <ac:chgData name="Manish Sharma" userId="97d895ad-8d7a-4884-8c18-743afd731b6f" providerId="ADAL" clId="{05825897-659E-4E0E-84E5-88D5116C9B00}" dt="2020-10-05T01:07:46.517" v="175" actId="108"/>
          <ac:spMkLst>
            <pc:docMk/>
            <pc:sldMk cId="3705176354" sldId="428"/>
            <ac:spMk id="73" creationId="{4C88BB89-4068-499B-8F3F-29D9CFDEB8D9}"/>
          </ac:spMkLst>
        </pc:spChg>
        <pc:spChg chg="mod">
          <ac:chgData name="Manish Sharma" userId="97d895ad-8d7a-4884-8c18-743afd731b6f" providerId="ADAL" clId="{05825897-659E-4E0E-84E5-88D5116C9B00}" dt="2020-10-04T21:48:19.634" v="87" actId="108"/>
          <ac:spMkLst>
            <pc:docMk/>
            <pc:sldMk cId="3705176354" sldId="428"/>
            <ac:spMk id="74" creationId="{0331598C-AB42-4ED3-AD29-91628B8360D4}"/>
          </ac:spMkLst>
        </pc:spChg>
        <pc:spChg chg="add del mod">
          <ac:chgData name="Manish Sharma" userId="97d895ad-8d7a-4884-8c18-743afd731b6f" providerId="ADAL" clId="{05825897-659E-4E0E-84E5-88D5116C9B00}" dt="2020-10-05T01:56:50.971" v="415" actId="478"/>
          <ac:spMkLst>
            <pc:docMk/>
            <pc:sldMk cId="3705176354" sldId="428"/>
            <ac:spMk id="76" creationId="{9147C7D9-494C-4007-8238-34CD3E1FD0F8}"/>
          </ac:spMkLst>
        </pc:spChg>
        <pc:spChg chg="mod">
          <ac:chgData name="Manish Sharma" userId="97d895ad-8d7a-4884-8c18-743afd731b6f" providerId="ADAL" clId="{05825897-659E-4E0E-84E5-88D5116C9B00}" dt="2020-10-05T02:17:13.838" v="419" actId="14100"/>
          <ac:spMkLst>
            <pc:docMk/>
            <pc:sldMk cId="3705176354" sldId="428"/>
            <ac:spMk id="77" creationId="{00000000-0000-0000-0000-000000000000}"/>
          </ac:spMkLst>
        </pc:spChg>
        <pc:spChg chg="mod">
          <ac:chgData name="Manish Sharma" userId="97d895ad-8d7a-4884-8c18-743afd731b6f" providerId="ADAL" clId="{05825897-659E-4E0E-84E5-88D5116C9B00}" dt="2020-10-04T21:47:39.914" v="83" actId="208"/>
          <ac:spMkLst>
            <pc:docMk/>
            <pc:sldMk cId="3705176354" sldId="428"/>
            <ac:spMk id="78" creationId="{00000000-0000-0000-0000-000000000000}"/>
          </ac:spMkLst>
        </pc:spChg>
        <pc:spChg chg="add del mod">
          <ac:chgData name="Manish Sharma" userId="97d895ad-8d7a-4884-8c18-743afd731b6f" providerId="ADAL" clId="{05825897-659E-4E0E-84E5-88D5116C9B00}" dt="2020-10-05T01:56:44.138" v="413" actId="478"/>
          <ac:spMkLst>
            <pc:docMk/>
            <pc:sldMk cId="3705176354" sldId="428"/>
            <ac:spMk id="79" creationId="{10C67DCD-69E9-454E-A5AC-C662AC4D49DC}"/>
          </ac:spMkLst>
        </pc:spChg>
        <pc:spChg chg="mod">
          <ac:chgData name="Manish Sharma" userId="97d895ad-8d7a-4884-8c18-743afd731b6f" providerId="ADAL" clId="{05825897-659E-4E0E-84E5-88D5116C9B00}" dt="2020-10-06T00:09:52.600" v="3425" actId="20577"/>
          <ac:spMkLst>
            <pc:docMk/>
            <pc:sldMk cId="3705176354" sldId="428"/>
            <ac:spMk id="81" creationId="{00000000-0000-0000-0000-000000000000}"/>
          </ac:spMkLst>
        </pc:spChg>
        <pc:spChg chg="mod">
          <ac:chgData name="Manish Sharma" userId="97d895ad-8d7a-4884-8c18-743afd731b6f" providerId="ADAL" clId="{05825897-659E-4E0E-84E5-88D5116C9B00}" dt="2020-10-04T21:49:59.568" v="132" actId="1037"/>
          <ac:spMkLst>
            <pc:docMk/>
            <pc:sldMk cId="3705176354" sldId="428"/>
            <ac:spMk id="82" creationId="{00000000-0000-0000-0000-000000000000}"/>
          </ac:spMkLst>
        </pc:spChg>
        <pc:spChg chg="mod">
          <ac:chgData name="Manish Sharma" userId="97d895ad-8d7a-4884-8c18-743afd731b6f" providerId="ADAL" clId="{05825897-659E-4E0E-84E5-88D5116C9B00}" dt="2020-10-04T21:49:59.568" v="132" actId="1037"/>
          <ac:spMkLst>
            <pc:docMk/>
            <pc:sldMk cId="3705176354" sldId="428"/>
            <ac:spMk id="83" creationId="{00000000-0000-0000-0000-000000000000}"/>
          </ac:spMkLst>
        </pc:spChg>
        <pc:spChg chg="mod">
          <ac:chgData name="Manish Sharma" userId="97d895ad-8d7a-4884-8c18-743afd731b6f" providerId="ADAL" clId="{05825897-659E-4E0E-84E5-88D5116C9B00}" dt="2020-10-04T21:49:59.568" v="132" actId="1037"/>
          <ac:spMkLst>
            <pc:docMk/>
            <pc:sldMk cId="3705176354" sldId="428"/>
            <ac:spMk id="84" creationId="{00000000-0000-0000-0000-000000000000}"/>
          </ac:spMkLst>
        </pc:spChg>
        <pc:spChg chg="mod">
          <ac:chgData name="Manish Sharma" userId="97d895ad-8d7a-4884-8c18-743afd731b6f" providerId="ADAL" clId="{05825897-659E-4E0E-84E5-88D5116C9B00}" dt="2020-10-06T00:09:57.130" v="3426" actId="6549"/>
          <ac:spMkLst>
            <pc:docMk/>
            <pc:sldMk cId="3705176354" sldId="428"/>
            <ac:spMk id="90" creationId="{00000000-0000-0000-0000-000000000000}"/>
          </ac:spMkLst>
        </pc:spChg>
        <pc:spChg chg="mod">
          <ac:chgData name="Manish Sharma" userId="97d895ad-8d7a-4884-8c18-743afd731b6f" providerId="ADAL" clId="{05825897-659E-4E0E-84E5-88D5116C9B00}" dt="2020-10-05T01:08:53.540" v="191" actId="14100"/>
          <ac:spMkLst>
            <pc:docMk/>
            <pc:sldMk cId="3705176354" sldId="428"/>
            <ac:spMk id="93" creationId="{00000000-0000-0000-0000-000000000000}"/>
          </ac:spMkLst>
        </pc:spChg>
        <pc:spChg chg="mod">
          <ac:chgData name="Manish Sharma" userId="97d895ad-8d7a-4884-8c18-743afd731b6f" providerId="ADAL" clId="{05825897-659E-4E0E-84E5-88D5116C9B00}" dt="2020-10-05T01:08:53.540" v="191" actId="14100"/>
          <ac:spMkLst>
            <pc:docMk/>
            <pc:sldMk cId="3705176354" sldId="428"/>
            <ac:spMk id="94" creationId="{00000000-0000-0000-0000-000000000000}"/>
          </ac:spMkLst>
        </pc:spChg>
        <pc:spChg chg="mod">
          <ac:chgData name="Manish Sharma" userId="97d895ad-8d7a-4884-8c18-743afd731b6f" providerId="ADAL" clId="{05825897-659E-4E0E-84E5-88D5116C9B00}" dt="2020-10-05T01:08:53.540" v="191" actId="14100"/>
          <ac:spMkLst>
            <pc:docMk/>
            <pc:sldMk cId="3705176354" sldId="428"/>
            <ac:spMk id="95" creationId="{00000000-0000-0000-0000-000000000000}"/>
          </ac:spMkLst>
        </pc:spChg>
        <pc:spChg chg="mod">
          <ac:chgData name="Manish Sharma" userId="97d895ad-8d7a-4884-8c18-743afd731b6f" providerId="ADAL" clId="{05825897-659E-4E0E-84E5-88D5116C9B00}" dt="2020-10-06T00:10:07.889" v="3430" actId="6549"/>
          <ac:spMkLst>
            <pc:docMk/>
            <pc:sldMk cId="3705176354" sldId="428"/>
            <ac:spMk id="96" creationId="{00000000-0000-0000-0000-000000000000}"/>
          </ac:spMkLst>
        </pc:spChg>
        <pc:spChg chg="mod">
          <ac:chgData name="Manish Sharma" userId="97d895ad-8d7a-4884-8c18-743afd731b6f" providerId="ADAL" clId="{05825897-659E-4E0E-84E5-88D5116C9B00}" dt="2020-10-04T21:48:36.846" v="90" actId="14100"/>
          <ac:spMkLst>
            <pc:docMk/>
            <pc:sldMk cId="3705176354" sldId="428"/>
            <ac:spMk id="99" creationId="{00000000-0000-0000-0000-000000000000}"/>
          </ac:spMkLst>
        </pc:spChg>
        <pc:spChg chg="mod">
          <ac:chgData name="Manish Sharma" userId="97d895ad-8d7a-4884-8c18-743afd731b6f" providerId="ADAL" clId="{05825897-659E-4E0E-84E5-88D5116C9B00}" dt="2020-10-04T21:48:36.846" v="90" actId="14100"/>
          <ac:spMkLst>
            <pc:docMk/>
            <pc:sldMk cId="3705176354" sldId="428"/>
            <ac:spMk id="100" creationId="{00000000-0000-0000-0000-000000000000}"/>
          </ac:spMkLst>
        </pc:spChg>
        <pc:spChg chg="mod">
          <ac:chgData name="Manish Sharma" userId="97d895ad-8d7a-4884-8c18-743afd731b6f" providerId="ADAL" clId="{05825897-659E-4E0E-84E5-88D5116C9B00}" dt="2020-10-04T21:48:36.846" v="90" actId="14100"/>
          <ac:spMkLst>
            <pc:docMk/>
            <pc:sldMk cId="3705176354" sldId="428"/>
            <ac:spMk id="101" creationId="{00000000-0000-0000-0000-000000000000}"/>
          </ac:spMkLst>
        </pc:spChg>
        <pc:spChg chg="mod">
          <ac:chgData name="Manish Sharma" userId="97d895ad-8d7a-4884-8c18-743afd731b6f" providerId="ADAL" clId="{05825897-659E-4E0E-84E5-88D5116C9B00}" dt="2020-10-04T21:47:50.342" v="85" actId="108"/>
          <ac:spMkLst>
            <pc:docMk/>
            <pc:sldMk cId="3705176354" sldId="428"/>
            <ac:spMk id="102" creationId="{00000000-0000-0000-0000-000000000000}"/>
          </ac:spMkLst>
        </pc:spChg>
        <pc:spChg chg="mod">
          <ac:chgData name="Manish Sharma" userId="97d895ad-8d7a-4884-8c18-743afd731b6f" providerId="ADAL" clId="{05825897-659E-4E0E-84E5-88D5116C9B00}" dt="2020-10-04T21:48:23.084" v="88" actId="108"/>
          <ac:spMkLst>
            <pc:docMk/>
            <pc:sldMk cId="3705176354" sldId="428"/>
            <ac:spMk id="103" creationId="{00000000-0000-0000-0000-000000000000}"/>
          </ac:spMkLst>
        </pc:spChg>
        <pc:spChg chg="mod">
          <ac:chgData name="Manish Sharma" userId="97d895ad-8d7a-4884-8c18-743afd731b6f" providerId="ADAL" clId="{05825897-659E-4E0E-84E5-88D5116C9B00}" dt="2020-10-04T21:49:35.199" v="113" actId="1037"/>
          <ac:spMkLst>
            <pc:docMk/>
            <pc:sldMk cId="3705176354" sldId="428"/>
            <ac:spMk id="105" creationId="{00000000-0000-0000-0000-000000000000}"/>
          </ac:spMkLst>
        </pc:spChg>
        <pc:spChg chg="mod">
          <ac:chgData name="Manish Sharma" userId="97d895ad-8d7a-4884-8c18-743afd731b6f" providerId="ADAL" clId="{05825897-659E-4E0E-84E5-88D5116C9B00}" dt="2020-10-04T21:49:35.199" v="113" actId="1037"/>
          <ac:spMkLst>
            <pc:docMk/>
            <pc:sldMk cId="3705176354" sldId="428"/>
            <ac:spMk id="106" creationId="{00000000-0000-0000-0000-000000000000}"/>
          </ac:spMkLst>
        </pc:spChg>
        <pc:spChg chg="mod">
          <ac:chgData name="Manish Sharma" userId="97d895ad-8d7a-4884-8c18-743afd731b6f" providerId="ADAL" clId="{05825897-659E-4E0E-84E5-88D5116C9B00}" dt="2020-10-04T21:49:35.199" v="113" actId="1037"/>
          <ac:spMkLst>
            <pc:docMk/>
            <pc:sldMk cId="3705176354" sldId="428"/>
            <ac:spMk id="107" creationId="{00000000-0000-0000-0000-000000000000}"/>
          </ac:spMkLst>
        </pc:spChg>
        <pc:spChg chg="mod">
          <ac:chgData name="Manish Sharma" userId="97d895ad-8d7a-4884-8c18-743afd731b6f" providerId="ADAL" clId="{05825897-659E-4E0E-84E5-88D5116C9B00}" dt="2020-10-04T21:47:51.376" v="86" actId="108"/>
          <ac:spMkLst>
            <pc:docMk/>
            <pc:sldMk cId="3705176354" sldId="428"/>
            <ac:spMk id="108" creationId="{00000000-0000-0000-0000-000000000000}"/>
          </ac:spMkLst>
        </pc:spChg>
        <pc:spChg chg="mod">
          <ac:chgData name="Manish Sharma" userId="97d895ad-8d7a-4884-8c18-743afd731b6f" providerId="ADAL" clId="{05825897-659E-4E0E-84E5-88D5116C9B00}" dt="2020-10-05T01:08:47.239" v="190" actId="14100"/>
          <ac:spMkLst>
            <pc:docMk/>
            <pc:sldMk cId="3705176354" sldId="428"/>
            <ac:spMk id="110" creationId="{00000000-0000-0000-0000-000000000000}"/>
          </ac:spMkLst>
        </pc:spChg>
        <pc:spChg chg="mod">
          <ac:chgData name="Manish Sharma" userId="97d895ad-8d7a-4884-8c18-743afd731b6f" providerId="ADAL" clId="{05825897-659E-4E0E-84E5-88D5116C9B00}" dt="2020-10-05T01:08:47.239" v="190" actId="14100"/>
          <ac:spMkLst>
            <pc:docMk/>
            <pc:sldMk cId="3705176354" sldId="428"/>
            <ac:spMk id="111" creationId="{00000000-0000-0000-0000-000000000000}"/>
          </ac:spMkLst>
        </pc:spChg>
        <pc:spChg chg="mod">
          <ac:chgData name="Manish Sharma" userId="97d895ad-8d7a-4884-8c18-743afd731b6f" providerId="ADAL" clId="{05825897-659E-4E0E-84E5-88D5116C9B00}" dt="2020-10-05T01:08:47.239" v="190" actId="14100"/>
          <ac:spMkLst>
            <pc:docMk/>
            <pc:sldMk cId="3705176354" sldId="428"/>
            <ac:spMk id="112" creationId="{00000000-0000-0000-0000-000000000000}"/>
          </ac:spMkLst>
        </pc:spChg>
        <pc:spChg chg="mod">
          <ac:chgData name="Manish Sharma" userId="97d895ad-8d7a-4884-8c18-743afd731b6f" providerId="ADAL" clId="{05825897-659E-4E0E-84E5-88D5116C9B00}" dt="2020-10-06T00:17:56.189" v="3452" actId="20577"/>
          <ac:spMkLst>
            <pc:docMk/>
            <pc:sldMk cId="3705176354" sldId="428"/>
            <ac:spMk id="116" creationId="{00000000-0000-0000-0000-000000000000}"/>
          </ac:spMkLst>
        </pc:spChg>
        <pc:spChg chg="mod">
          <ac:chgData name="Manish Sharma" userId="97d895ad-8d7a-4884-8c18-743afd731b6f" providerId="ADAL" clId="{05825897-659E-4E0E-84E5-88D5116C9B00}" dt="2020-10-04T21:33:15.077" v="40" actId="20577"/>
          <ac:spMkLst>
            <pc:docMk/>
            <pc:sldMk cId="3705176354" sldId="428"/>
            <ac:spMk id="117" creationId="{00000000-0000-0000-0000-000000000000}"/>
          </ac:spMkLst>
        </pc:spChg>
        <pc:spChg chg="mod">
          <ac:chgData name="Manish Sharma" userId="97d895ad-8d7a-4884-8c18-743afd731b6f" providerId="ADAL" clId="{05825897-659E-4E0E-84E5-88D5116C9B00}" dt="2020-10-05T01:08:03.006" v="178" actId="14100"/>
          <ac:spMkLst>
            <pc:docMk/>
            <pc:sldMk cId="3705176354" sldId="428"/>
            <ac:spMk id="120" creationId="{00000000-0000-0000-0000-000000000000}"/>
          </ac:spMkLst>
        </pc:spChg>
        <pc:spChg chg="mod">
          <ac:chgData name="Manish Sharma" userId="97d895ad-8d7a-4884-8c18-743afd731b6f" providerId="ADAL" clId="{05825897-659E-4E0E-84E5-88D5116C9B00}" dt="2020-10-05T01:08:03.006" v="178" actId="14100"/>
          <ac:spMkLst>
            <pc:docMk/>
            <pc:sldMk cId="3705176354" sldId="428"/>
            <ac:spMk id="121" creationId="{00000000-0000-0000-0000-000000000000}"/>
          </ac:spMkLst>
        </pc:spChg>
        <pc:spChg chg="mod">
          <ac:chgData name="Manish Sharma" userId="97d895ad-8d7a-4884-8c18-743afd731b6f" providerId="ADAL" clId="{05825897-659E-4E0E-84E5-88D5116C9B00}" dt="2020-10-05T01:08:03.006" v="178" actId="14100"/>
          <ac:spMkLst>
            <pc:docMk/>
            <pc:sldMk cId="3705176354" sldId="428"/>
            <ac:spMk id="122" creationId="{00000000-0000-0000-0000-000000000000}"/>
          </ac:spMkLst>
        </pc:spChg>
        <pc:spChg chg="mod">
          <ac:chgData name="Manish Sharma" userId="97d895ad-8d7a-4884-8c18-743afd731b6f" providerId="ADAL" clId="{05825897-659E-4E0E-84E5-88D5116C9B00}" dt="2020-10-06T00:09:45.329" v="3421" actId="20577"/>
          <ac:spMkLst>
            <pc:docMk/>
            <pc:sldMk cId="3705176354" sldId="428"/>
            <ac:spMk id="123" creationId="{00000000-0000-0000-0000-000000000000}"/>
          </ac:spMkLst>
        </pc:spChg>
        <pc:spChg chg="mod">
          <ac:chgData name="Manish Sharma" userId="97d895ad-8d7a-4884-8c18-743afd731b6f" providerId="ADAL" clId="{05825897-659E-4E0E-84E5-88D5116C9B00}" dt="2020-10-05T02:17:25.684" v="454" actId="1038"/>
          <ac:spMkLst>
            <pc:docMk/>
            <pc:sldMk cId="3705176354" sldId="428"/>
            <ac:spMk id="135" creationId="{00000000-0000-0000-0000-000000000000}"/>
          </ac:spMkLst>
        </pc:spChg>
        <pc:grpChg chg="mod">
          <ac:chgData name="Manish Sharma" userId="97d895ad-8d7a-4884-8c18-743afd731b6f" providerId="ADAL" clId="{05825897-659E-4E0E-84E5-88D5116C9B00}" dt="2020-10-04T21:49:59.568" v="132" actId="1037"/>
          <ac:grpSpMkLst>
            <pc:docMk/>
            <pc:sldMk cId="3705176354" sldId="428"/>
            <ac:grpSpMk id="80" creationId="{00000000-0000-0000-0000-000000000000}"/>
          </ac:grpSpMkLst>
        </pc:grpChg>
        <pc:grpChg chg="mod">
          <ac:chgData name="Manish Sharma" userId="97d895ad-8d7a-4884-8c18-743afd731b6f" providerId="ADAL" clId="{05825897-659E-4E0E-84E5-88D5116C9B00}" dt="2020-10-05T01:08:53.540" v="191" actId="14100"/>
          <ac:grpSpMkLst>
            <pc:docMk/>
            <pc:sldMk cId="3705176354" sldId="428"/>
            <ac:grpSpMk id="92" creationId="{00000000-0000-0000-0000-000000000000}"/>
          </ac:grpSpMkLst>
        </pc:grpChg>
        <pc:grpChg chg="mod">
          <ac:chgData name="Manish Sharma" userId="97d895ad-8d7a-4884-8c18-743afd731b6f" providerId="ADAL" clId="{05825897-659E-4E0E-84E5-88D5116C9B00}" dt="2020-10-04T21:48:36.846" v="90" actId="14100"/>
          <ac:grpSpMkLst>
            <pc:docMk/>
            <pc:sldMk cId="3705176354" sldId="428"/>
            <ac:grpSpMk id="98" creationId="{00000000-0000-0000-0000-000000000000}"/>
          </ac:grpSpMkLst>
        </pc:grpChg>
        <pc:grpChg chg="mod">
          <ac:chgData name="Manish Sharma" userId="97d895ad-8d7a-4884-8c18-743afd731b6f" providerId="ADAL" clId="{05825897-659E-4E0E-84E5-88D5116C9B00}" dt="2020-10-04T21:49:35.199" v="113" actId="1037"/>
          <ac:grpSpMkLst>
            <pc:docMk/>
            <pc:sldMk cId="3705176354" sldId="428"/>
            <ac:grpSpMk id="104" creationId="{00000000-0000-0000-0000-000000000000}"/>
          </ac:grpSpMkLst>
        </pc:grpChg>
        <pc:grpChg chg="mod">
          <ac:chgData name="Manish Sharma" userId="97d895ad-8d7a-4884-8c18-743afd731b6f" providerId="ADAL" clId="{05825897-659E-4E0E-84E5-88D5116C9B00}" dt="2020-10-05T01:08:47.239" v="190" actId="14100"/>
          <ac:grpSpMkLst>
            <pc:docMk/>
            <pc:sldMk cId="3705176354" sldId="428"/>
            <ac:grpSpMk id="109" creationId="{00000000-0000-0000-0000-000000000000}"/>
          </ac:grpSpMkLst>
        </pc:grpChg>
        <pc:grpChg chg="mod">
          <ac:chgData name="Manish Sharma" userId="97d895ad-8d7a-4884-8c18-743afd731b6f" providerId="ADAL" clId="{05825897-659E-4E0E-84E5-88D5116C9B00}" dt="2020-10-05T01:08:03.006" v="178" actId="14100"/>
          <ac:grpSpMkLst>
            <pc:docMk/>
            <pc:sldMk cId="3705176354" sldId="428"/>
            <ac:grpSpMk id="119" creationId="{00000000-0000-0000-0000-000000000000}"/>
          </ac:grpSpMkLst>
        </pc:grpChg>
      </pc:sldChg>
      <pc:sldChg chg="delSp mod">
        <pc:chgData name="Manish Sharma" userId="97d895ad-8d7a-4884-8c18-743afd731b6f" providerId="ADAL" clId="{05825897-659E-4E0E-84E5-88D5116C9B00}" dt="2020-10-04T17:40:54.550" v="0" actId="478"/>
        <pc:sldMkLst>
          <pc:docMk/>
          <pc:sldMk cId="2872844160" sldId="440"/>
        </pc:sldMkLst>
        <pc:spChg chg="del">
          <ac:chgData name="Manish Sharma" userId="97d895ad-8d7a-4884-8c18-743afd731b6f" providerId="ADAL" clId="{05825897-659E-4E0E-84E5-88D5116C9B00}" dt="2020-10-04T17:40:54.550" v="0" actId="478"/>
          <ac:spMkLst>
            <pc:docMk/>
            <pc:sldMk cId="2872844160" sldId="440"/>
            <ac:spMk id="3" creationId="{A960877F-3DB9-4462-B2DE-89E2078544E4}"/>
          </ac:spMkLst>
        </pc:spChg>
      </pc:sldChg>
      <pc:sldChg chg="addSp delSp modSp mod">
        <pc:chgData name="Manish Sharma" userId="97d895ad-8d7a-4884-8c18-743afd731b6f" providerId="ADAL" clId="{05825897-659E-4E0E-84E5-88D5116C9B00}" dt="2020-10-07T03:28:48.949" v="9185"/>
        <pc:sldMkLst>
          <pc:docMk/>
          <pc:sldMk cId="3785293199" sldId="445"/>
        </pc:sldMkLst>
        <pc:spChg chg="mod">
          <ac:chgData name="Manish Sharma" userId="97d895ad-8d7a-4884-8c18-743afd731b6f" providerId="ADAL" clId="{05825897-659E-4E0E-84E5-88D5116C9B00}" dt="2020-10-06T21:54:23.036" v="3874" actId="20577"/>
          <ac:spMkLst>
            <pc:docMk/>
            <pc:sldMk cId="3785293199" sldId="445"/>
            <ac:spMk id="2" creationId="{00000000-0000-0000-0000-000000000000}"/>
          </ac:spMkLst>
        </pc:spChg>
        <pc:spChg chg="mod">
          <ac:chgData name="Manish Sharma" userId="97d895ad-8d7a-4884-8c18-743afd731b6f" providerId="ADAL" clId="{05825897-659E-4E0E-84E5-88D5116C9B00}" dt="2020-10-06T21:48:46.380" v="3797" actId="20577"/>
          <ac:spMkLst>
            <pc:docMk/>
            <pc:sldMk cId="3785293199" sldId="445"/>
            <ac:spMk id="3" creationId="{0672AE6E-4D99-4C0B-A871-FED7F8F4E81D}"/>
          </ac:spMkLst>
        </pc:spChg>
        <pc:spChg chg="mod">
          <ac:chgData name="Manish Sharma" userId="97d895ad-8d7a-4884-8c18-743afd731b6f" providerId="ADAL" clId="{05825897-659E-4E0E-84E5-88D5116C9B00}" dt="2020-10-06T21:49:14.923" v="3805" actId="20577"/>
          <ac:spMkLst>
            <pc:docMk/>
            <pc:sldMk cId="3785293199" sldId="445"/>
            <ac:spMk id="4" creationId="{7FA634FB-1523-406D-ABE7-12B19427223A}"/>
          </ac:spMkLst>
        </pc:spChg>
        <pc:spChg chg="mod">
          <ac:chgData name="Manish Sharma" userId="97d895ad-8d7a-4884-8c18-743afd731b6f" providerId="ADAL" clId="{05825897-659E-4E0E-84E5-88D5116C9B00}" dt="2020-10-06T21:53:54.765" v="3871" actId="20577"/>
          <ac:spMkLst>
            <pc:docMk/>
            <pc:sldMk cId="3785293199" sldId="445"/>
            <ac:spMk id="5" creationId="{57DA03D2-BDDD-4B29-A79F-3BCEC511705B}"/>
          </ac:spMkLst>
        </pc:spChg>
        <pc:spChg chg="del">
          <ac:chgData name="Manish Sharma" userId="97d895ad-8d7a-4884-8c18-743afd731b6f" providerId="ADAL" clId="{05825897-659E-4E0E-84E5-88D5116C9B00}" dt="2020-10-06T21:23:25.979" v="3714" actId="478"/>
          <ac:spMkLst>
            <pc:docMk/>
            <pc:sldMk cId="3785293199" sldId="445"/>
            <ac:spMk id="6" creationId="{5009A32F-6A07-43E0-A258-5968CFEC77E4}"/>
          </ac:spMkLst>
        </pc:spChg>
        <pc:spChg chg="mod">
          <ac:chgData name="Manish Sharma" userId="97d895ad-8d7a-4884-8c18-743afd731b6f" providerId="ADAL" clId="{05825897-659E-4E0E-84E5-88D5116C9B00}" dt="2020-10-06T21:48:22.266" v="3792" actId="13926"/>
          <ac:spMkLst>
            <pc:docMk/>
            <pc:sldMk cId="3785293199" sldId="445"/>
            <ac:spMk id="14" creationId="{3ADA01F1-3B4B-4FAA-84E6-17ACC70140F8}"/>
          </ac:spMkLst>
        </pc:spChg>
        <pc:spChg chg="mod">
          <ac:chgData name="Manish Sharma" userId="97d895ad-8d7a-4884-8c18-743afd731b6f" providerId="ADAL" clId="{05825897-659E-4E0E-84E5-88D5116C9B00}" dt="2020-10-06T21:24:30.441" v="3722" actId="14100"/>
          <ac:spMkLst>
            <pc:docMk/>
            <pc:sldMk cId="3785293199" sldId="445"/>
            <ac:spMk id="25" creationId="{2A68DE28-217C-4D58-BA92-1AC7776A922E}"/>
          </ac:spMkLst>
        </pc:spChg>
        <pc:spChg chg="mod">
          <ac:chgData name="Manish Sharma" userId="97d895ad-8d7a-4884-8c18-743afd731b6f" providerId="ADAL" clId="{05825897-659E-4E0E-84E5-88D5116C9B00}" dt="2020-10-07T03:28:48.949" v="9185"/>
          <ac:spMkLst>
            <pc:docMk/>
            <pc:sldMk cId="3785293199" sldId="445"/>
            <ac:spMk id="27" creationId="{813FD8F9-6E60-45F9-A8B5-18176FF3E434}"/>
          </ac:spMkLst>
        </pc:spChg>
        <pc:spChg chg="mod">
          <ac:chgData name="Manish Sharma" userId="97d895ad-8d7a-4884-8c18-743afd731b6f" providerId="ADAL" clId="{05825897-659E-4E0E-84E5-88D5116C9B00}" dt="2020-10-07T03:28:36.417" v="9184"/>
          <ac:spMkLst>
            <pc:docMk/>
            <pc:sldMk cId="3785293199" sldId="445"/>
            <ac:spMk id="29" creationId="{72CB840D-447D-492C-A14A-718942E7B821}"/>
          </ac:spMkLst>
        </pc:spChg>
        <pc:spChg chg="mod">
          <ac:chgData name="Manish Sharma" userId="97d895ad-8d7a-4884-8c18-743afd731b6f" providerId="ADAL" clId="{05825897-659E-4E0E-84E5-88D5116C9B00}" dt="2020-10-06T21:49:55.583" v="3827" actId="20577"/>
          <ac:spMkLst>
            <pc:docMk/>
            <pc:sldMk cId="3785293199" sldId="445"/>
            <ac:spMk id="56" creationId="{3280F2A9-5208-4D26-B8F6-7B5775F8A555}"/>
          </ac:spMkLst>
        </pc:spChg>
        <pc:spChg chg="mod">
          <ac:chgData name="Manish Sharma" userId="97d895ad-8d7a-4884-8c18-743afd731b6f" providerId="ADAL" clId="{05825897-659E-4E0E-84E5-88D5116C9B00}" dt="2020-10-06T21:24:45.287" v="3724" actId="1076"/>
          <ac:spMkLst>
            <pc:docMk/>
            <pc:sldMk cId="3785293199" sldId="445"/>
            <ac:spMk id="63" creationId="{9AC51A3A-B846-4ED0-B9D4-D7C0C83B2679}"/>
          </ac:spMkLst>
        </pc:spChg>
        <pc:graphicFrameChg chg="add del mod">
          <ac:chgData name="Manish Sharma" userId="97d895ad-8d7a-4884-8c18-743afd731b6f" providerId="ADAL" clId="{05825897-659E-4E0E-84E5-88D5116C9B00}" dt="2020-10-07T03:28:28.918" v="9182"/>
          <ac:graphicFrameMkLst>
            <pc:docMk/>
            <pc:sldMk cId="3785293199" sldId="445"/>
            <ac:graphicFrameMk id="6" creationId="{78BE17C2-17CC-4316-8C66-5846E67A6942}"/>
          </ac:graphicFrameMkLst>
        </pc:graphicFrameChg>
        <pc:graphicFrameChg chg="mod modGraphic">
          <ac:chgData name="Manish Sharma" userId="97d895ad-8d7a-4884-8c18-743afd731b6f" providerId="ADAL" clId="{05825897-659E-4E0E-84E5-88D5116C9B00}" dt="2020-10-06T22:55:51.686" v="4030"/>
          <ac:graphicFrameMkLst>
            <pc:docMk/>
            <pc:sldMk cId="3785293199" sldId="445"/>
            <ac:graphicFrameMk id="53" creationId="{E5833FD7-3504-4AE9-9C58-79A4D525D16B}"/>
          </ac:graphicFrameMkLst>
        </pc:graphicFrameChg>
        <pc:graphicFrameChg chg="mod modGraphic">
          <ac:chgData name="Manish Sharma" userId="97d895ad-8d7a-4884-8c18-743afd731b6f" providerId="ADAL" clId="{05825897-659E-4E0E-84E5-88D5116C9B00}" dt="2020-10-06T22:55:46.937" v="4028"/>
          <ac:graphicFrameMkLst>
            <pc:docMk/>
            <pc:sldMk cId="3785293199" sldId="445"/>
            <ac:graphicFrameMk id="55" creationId="{A7A9C0A9-652B-44C1-AFD0-CA965CA34DBB}"/>
          </ac:graphicFrameMkLst>
        </pc:graphicFrameChg>
        <pc:cxnChg chg="mod">
          <ac:chgData name="Manish Sharma" userId="97d895ad-8d7a-4884-8c18-743afd731b6f" providerId="ADAL" clId="{05825897-659E-4E0E-84E5-88D5116C9B00}" dt="2020-10-06T21:24:30.441" v="3722" actId="14100"/>
          <ac:cxnSpMkLst>
            <pc:docMk/>
            <pc:sldMk cId="3785293199" sldId="445"/>
            <ac:cxnSpMk id="26" creationId="{E0400683-ABD0-44CD-A290-42A6F4B8ADBF}"/>
          </ac:cxnSpMkLst>
        </pc:cxnChg>
      </pc:sldChg>
      <pc:sldChg chg="addSp delSp modSp mod">
        <pc:chgData name="Manish Sharma" userId="97d895ad-8d7a-4884-8c18-743afd731b6f" providerId="ADAL" clId="{05825897-659E-4E0E-84E5-88D5116C9B00}" dt="2020-10-07T02:18:49.669" v="6709" actId="1038"/>
        <pc:sldMkLst>
          <pc:docMk/>
          <pc:sldMk cId="2762800380" sldId="448"/>
        </pc:sldMkLst>
        <pc:spChg chg="mod">
          <ac:chgData name="Manish Sharma" userId="97d895ad-8d7a-4884-8c18-743afd731b6f" providerId="ADAL" clId="{05825897-659E-4E0E-84E5-88D5116C9B00}" dt="2020-10-07T01:27:13.008" v="4607" actId="20577"/>
          <ac:spMkLst>
            <pc:docMk/>
            <pc:sldMk cId="2762800380" sldId="448"/>
            <ac:spMk id="2" creationId="{00000000-0000-0000-0000-000000000000}"/>
          </ac:spMkLst>
        </pc:spChg>
        <pc:spChg chg="del">
          <ac:chgData name="Manish Sharma" userId="97d895ad-8d7a-4884-8c18-743afd731b6f" providerId="ADAL" clId="{05825897-659E-4E0E-84E5-88D5116C9B00}" dt="2020-10-07T01:27:17.031" v="4608" actId="478"/>
          <ac:spMkLst>
            <pc:docMk/>
            <pc:sldMk cId="2762800380" sldId="448"/>
            <ac:spMk id="4" creationId="{DD047AB2-9A4F-459B-9F56-B09EA23CE669}"/>
          </ac:spMkLst>
        </pc:spChg>
        <pc:spChg chg="mod">
          <ac:chgData name="Manish Sharma" userId="97d895ad-8d7a-4884-8c18-743afd731b6f" providerId="ADAL" clId="{05825897-659E-4E0E-84E5-88D5116C9B00}" dt="2020-10-07T01:44:29.382" v="4627" actId="14100"/>
          <ac:spMkLst>
            <pc:docMk/>
            <pc:sldMk cId="2762800380" sldId="448"/>
            <ac:spMk id="7" creationId="{09E2691E-B29D-45D6-AAB6-ABF31D80F444}"/>
          </ac:spMkLst>
        </pc:spChg>
        <pc:spChg chg="mod">
          <ac:chgData name="Manish Sharma" userId="97d895ad-8d7a-4884-8c18-743afd731b6f" providerId="ADAL" clId="{05825897-659E-4E0E-84E5-88D5116C9B00}" dt="2020-10-07T01:44:09.435" v="4622" actId="14100"/>
          <ac:spMkLst>
            <pc:docMk/>
            <pc:sldMk cId="2762800380" sldId="448"/>
            <ac:spMk id="8" creationId="{0F250931-7AE3-41E3-A718-D4E1AD2BB6FC}"/>
          </ac:spMkLst>
        </pc:spChg>
        <pc:spChg chg="mod">
          <ac:chgData name="Manish Sharma" userId="97d895ad-8d7a-4884-8c18-743afd731b6f" providerId="ADAL" clId="{05825897-659E-4E0E-84E5-88D5116C9B00}" dt="2020-10-07T01:44:33.040" v="4628" actId="14100"/>
          <ac:spMkLst>
            <pc:docMk/>
            <pc:sldMk cId="2762800380" sldId="448"/>
            <ac:spMk id="11" creationId="{5109CF6C-4157-403A-8F06-2DA5CB32E773}"/>
          </ac:spMkLst>
        </pc:spChg>
        <pc:spChg chg="mod">
          <ac:chgData name="Manish Sharma" userId="97d895ad-8d7a-4884-8c18-743afd731b6f" providerId="ADAL" clId="{05825897-659E-4E0E-84E5-88D5116C9B00}" dt="2020-10-07T01:39:05.467" v="4614" actId="14100"/>
          <ac:spMkLst>
            <pc:docMk/>
            <pc:sldMk cId="2762800380" sldId="448"/>
            <ac:spMk id="41" creationId="{45964E5A-BE5E-45C2-8E43-74F4B9DD344A}"/>
          </ac:spMkLst>
        </pc:spChg>
        <pc:spChg chg="mod">
          <ac:chgData name="Manish Sharma" userId="97d895ad-8d7a-4884-8c18-743afd731b6f" providerId="ADAL" clId="{05825897-659E-4E0E-84E5-88D5116C9B00}" dt="2020-10-07T01:39:05.467" v="4614" actId="14100"/>
          <ac:spMkLst>
            <pc:docMk/>
            <pc:sldMk cId="2762800380" sldId="448"/>
            <ac:spMk id="44" creationId="{51E3BAEC-16CE-4528-B1C9-357E4FA66480}"/>
          </ac:spMkLst>
        </pc:spChg>
        <pc:spChg chg="mod">
          <ac:chgData name="Manish Sharma" userId="97d895ad-8d7a-4884-8c18-743afd731b6f" providerId="ADAL" clId="{05825897-659E-4E0E-84E5-88D5116C9B00}" dt="2020-10-07T01:39:05.467" v="4614" actId="14100"/>
          <ac:spMkLst>
            <pc:docMk/>
            <pc:sldMk cId="2762800380" sldId="448"/>
            <ac:spMk id="45" creationId="{EBCBCBD1-E21B-4393-8D88-21097657E3FB}"/>
          </ac:spMkLst>
        </pc:spChg>
        <pc:spChg chg="mod">
          <ac:chgData name="Manish Sharma" userId="97d895ad-8d7a-4884-8c18-743afd731b6f" providerId="ADAL" clId="{05825897-659E-4E0E-84E5-88D5116C9B00}" dt="2020-10-07T01:39:05.467" v="4614" actId="14100"/>
          <ac:spMkLst>
            <pc:docMk/>
            <pc:sldMk cId="2762800380" sldId="448"/>
            <ac:spMk id="46" creationId="{706A9863-1AD8-497E-8475-4F9C3C938702}"/>
          </ac:spMkLst>
        </pc:spChg>
        <pc:spChg chg="mod">
          <ac:chgData name="Manish Sharma" userId="97d895ad-8d7a-4884-8c18-743afd731b6f" providerId="ADAL" clId="{05825897-659E-4E0E-84E5-88D5116C9B00}" dt="2020-10-07T01:39:05.467" v="4614" actId="14100"/>
          <ac:spMkLst>
            <pc:docMk/>
            <pc:sldMk cId="2762800380" sldId="448"/>
            <ac:spMk id="47" creationId="{6928B57C-8C22-45F2-AE7C-2AFDD3C368DB}"/>
          </ac:spMkLst>
        </pc:spChg>
        <pc:spChg chg="mod">
          <ac:chgData name="Manish Sharma" userId="97d895ad-8d7a-4884-8c18-743afd731b6f" providerId="ADAL" clId="{05825897-659E-4E0E-84E5-88D5116C9B00}" dt="2020-10-07T02:18:49.669" v="6709" actId="1038"/>
          <ac:spMkLst>
            <pc:docMk/>
            <pc:sldMk cId="2762800380" sldId="448"/>
            <ac:spMk id="48" creationId="{550B5241-A055-4A97-AFA6-0C804F2553E0}"/>
          </ac:spMkLst>
        </pc:spChg>
        <pc:spChg chg="mod">
          <ac:chgData name="Manish Sharma" userId="97d895ad-8d7a-4884-8c18-743afd731b6f" providerId="ADAL" clId="{05825897-659E-4E0E-84E5-88D5116C9B00}" dt="2020-10-07T02:07:21.587" v="5802" actId="14100"/>
          <ac:spMkLst>
            <pc:docMk/>
            <pc:sldMk cId="2762800380" sldId="448"/>
            <ac:spMk id="80" creationId="{6F5A7825-C260-4831-9B48-001AB9DF90D5}"/>
          </ac:spMkLst>
        </pc:spChg>
        <pc:grpChg chg="mod">
          <ac:chgData name="Manish Sharma" userId="97d895ad-8d7a-4884-8c18-743afd731b6f" providerId="ADAL" clId="{05825897-659E-4E0E-84E5-88D5116C9B00}" dt="2020-10-07T01:39:05.467" v="4614" actId="14100"/>
          <ac:grpSpMkLst>
            <pc:docMk/>
            <pc:sldMk cId="2762800380" sldId="448"/>
            <ac:grpSpMk id="12" creationId="{2FFA7AA6-EF1B-47F4-83B4-7ADD97B76433}"/>
          </ac:grpSpMkLst>
        </pc:grpChg>
        <pc:grpChg chg="mod">
          <ac:chgData name="Manish Sharma" userId="97d895ad-8d7a-4884-8c18-743afd731b6f" providerId="ADAL" clId="{05825897-659E-4E0E-84E5-88D5116C9B00}" dt="2020-10-07T01:39:05.467" v="4614" actId="14100"/>
          <ac:grpSpMkLst>
            <pc:docMk/>
            <pc:sldMk cId="2762800380" sldId="448"/>
            <ac:grpSpMk id="42" creationId="{88DAE97C-633A-4A00-9D3B-FF12DDC9AD78}"/>
          </ac:grpSpMkLst>
        </pc:grpChg>
        <pc:picChg chg="del">
          <ac:chgData name="Manish Sharma" userId="97d895ad-8d7a-4884-8c18-743afd731b6f" providerId="ADAL" clId="{05825897-659E-4E0E-84E5-88D5116C9B00}" dt="2020-10-07T01:39:07.787" v="4615" actId="478"/>
          <ac:picMkLst>
            <pc:docMk/>
            <pc:sldMk cId="2762800380" sldId="448"/>
            <ac:picMk id="6" creationId="{B3449933-E1FE-4D79-A771-CFEC4F7C4BAF}"/>
          </ac:picMkLst>
        </pc:picChg>
        <pc:picChg chg="add mod ord">
          <ac:chgData name="Manish Sharma" userId="97d895ad-8d7a-4884-8c18-743afd731b6f" providerId="ADAL" clId="{05825897-659E-4E0E-84E5-88D5116C9B00}" dt="2020-10-07T01:44:02.827" v="4620" actId="167"/>
          <ac:picMkLst>
            <pc:docMk/>
            <pc:sldMk cId="2762800380" sldId="448"/>
            <ac:picMk id="9" creationId="{90FE13C4-96AE-481E-936E-F80F1C1F43A8}"/>
          </ac:picMkLst>
        </pc:picChg>
      </pc:sldChg>
      <pc:sldChg chg="addSp delSp modSp mod">
        <pc:chgData name="Manish Sharma" userId="97d895ad-8d7a-4884-8c18-743afd731b6f" providerId="ADAL" clId="{05825897-659E-4E0E-84E5-88D5116C9B00}" dt="2020-10-07T02:40:05.472" v="7790" actId="1038"/>
        <pc:sldMkLst>
          <pc:docMk/>
          <pc:sldMk cId="780727013" sldId="452"/>
        </pc:sldMkLst>
        <pc:spChg chg="mod">
          <ac:chgData name="Manish Sharma" userId="97d895ad-8d7a-4884-8c18-743afd731b6f" providerId="ADAL" clId="{05825897-659E-4E0E-84E5-88D5116C9B00}" dt="2020-10-07T02:39:49.932" v="7761" actId="6549"/>
          <ac:spMkLst>
            <pc:docMk/>
            <pc:sldMk cId="780727013" sldId="452"/>
            <ac:spMk id="2" creationId="{00000000-0000-0000-0000-000000000000}"/>
          </ac:spMkLst>
        </pc:spChg>
        <pc:spChg chg="del">
          <ac:chgData name="Manish Sharma" userId="97d895ad-8d7a-4884-8c18-743afd731b6f" providerId="ADAL" clId="{05825897-659E-4E0E-84E5-88D5116C9B00}" dt="2020-10-07T02:38:28.065" v="7489" actId="478"/>
          <ac:spMkLst>
            <pc:docMk/>
            <pc:sldMk cId="780727013" sldId="452"/>
            <ac:spMk id="4" creationId="{8EAA724A-B4B0-41EF-82F5-DF2D666E0A6E}"/>
          </ac:spMkLst>
        </pc:spChg>
        <pc:spChg chg="del">
          <ac:chgData name="Manish Sharma" userId="97d895ad-8d7a-4884-8c18-743afd731b6f" providerId="ADAL" clId="{05825897-659E-4E0E-84E5-88D5116C9B00}" dt="2020-10-07T02:34:38.630" v="7201" actId="478"/>
          <ac:spMkLst>
            <pc:docMk/>
            <pc:sldMk cId="780727013" sldId="452"/>
            <ac:spMk id="7" creationId="{7274C141-6B67-47CE-AF3C-01945568D4EB}"/>
          </ac:spMkLst>
        </pc:spChg>
        <pc:spChg chg="mod">
          <ac:chgData name="Manish Sharma" userId="97d895ad-8d7a-4884-8c18-743afd731b6f" providerId="ADAL" clId="{05825897-659E-4E0E-84E5-88D5116C9B00}" dt="2020-10-07T02:34:37.189" v="7200" actId="14100"/>
          <ac:spMkLst>
            <pc:docMk/>
            <pc:sldMk cId="780727013" sldId="452"/>
            <ac:spMk id="8" creationId="{002C3AD6-2F5E-4534-B638-C704D9D3D569}"/>
          </ac:spMkLst>
        </pc:spChg>
        <pc:spChg chg="mod">
          <ac:chgData name="Manish Sharma" userId="97d895ad-8d7a-4884-8c18-743afd731b6f" providerId="ADAL" clId="{05825897-659E-4E0E-84E5-88D5116C9B00}" dt="2020-10-07T02:34:42.522" v="7203" actId="14100"/>
          <ac:spMkLst>
            <pc:docMk/>
            <pc:sldMk cId="780727013" sldId="452"/>
            <ac:spMk id="9" creationId="{BE896D1A-4DC9-460D-A48A-70595726F044}"/>
          </ac:spMkLst>
        </pc:spChg>
        <pc:spChg chg="mod">
          <ac:chgData name="Manish Sharma" userId="97d895ad-8d7a-4884-8c18-743afd731b6f" providerId="ADAL" clId="{05825897-659E-4E0E-84E5-88D5116C9B00}" dt="2020-10-07T02:39:54.375" v="7762" actId="6549"/>
          <ac:spMkLst>
            <pc:docMk/>
            <pc:sldMk cId="780727013" sldId="452"/>
            <ac:spMk id="15" creationId="{7F764852-256F-49DF-B500-7AB466E1A418}"/>
          </ac:spMkLst>
        </pc:spChg>
        <pc:spChg chg="mod">
          <ac:chgData name="Manish Sharma" userId="97d895ad-8d7a-4884-8c18-743afd731b6f" providerId="ADAL" clId="{05825897-659E-4E0E-84E5-88D5116C9B00}" dt="2020-10-07T02:30:52.853" v="7064" actId="6549"/>
          <ac:spMkLst>
            <pc:docMk/>
            <pc:sldMk cId="780727013" sldId="452"/>
            <ac:spMk id="28" creationId="{DE1FCFDF-848D-4479-B9CD-70D6D0FD7B86}"/>
          </ac:spMkLst>
        </pc:spChg>
        <pc:spChg chg="mod">
          <ac:chgData name="Manish Sharma" userId="97d895ad-8d7a-4884-8c18-743afd731b6f" providerId="ADAL" clId="{05825897-659E-4E0E-84E5-88D5116C9B00}" dt="2020-10-07T02:40:05.472" v="7790" actId="1038"/>
          <ac:spMkLst>
            <pc:docMk/>
            <pc:sldMk cId="780727013" sldId="452"/>
            <ac:spMk id="49" creationId="{4593EDF8-B17E-4F23-96F2-7B57265E27C7}"/>
          </ac:spMkLst>
        </pc:spChg>
        <pc:graphicFrameChg chg="mod">
          <ac:chgData name="Manish Sharma" userId="97d895ad-8d7a-4884-8c18-743afd731b6f" providerId="ADAL" clId="{05825897-659E-4E0E-84E5-88D5116C9B00}" dt="2020-10-07T02:31:59.784" v="7070"/>
          <ac:graphicFrameMkLst>
            <pc:docMk/>
            <pc:sldMk cId="780727013" sldId="452"/>
            <ac:graphicFrameMk id="10" creationId="{215B3BAA-C7A4-4B52-A79A-C282D5DEF2CC}"/>
          </ac:graphicFrameMkLst>
        </pc:graphicFrameChg>
        <pc:picChg chg="del">
          <ac:chgData name="Manish Sharma" userId="97d895ad-8d7a-4884-8c18-743afd731b6f" providerId="ADAL" clId="{05825897-659E-4E0E-84E5-88D5116C9B00}" dt="2020-10-07T02:34:10.714" v="7192" actId="478"/>
          <ac:picMkLst>
            <pc:docMk/>
            <pc:sldMk cId="780727013" sldId="452"/>
            <ac:picMk id="6" creationId="{EC33E9AF-5B4F-4DC4-A247-22D038CED427}"/>
          </ac:picMkLst>
        </pc:picChg>
        <pc:picChg chg="add mod ord">
          <ac:chgData name="Manish Sharma" userId="97d895ad-8d7a-4884-8c18-743afd731b6f" providerId="ADAL" clId="{05825897-659E-4E0E-84E5-88D5116C9B00}" dt="2020-10-07T02:34:31.749" v="7198" actId="167"/>
          <ac:picMkLst>
            <pc:docMk/>
            <pc:sldMk cId="780727013" sldId="452"/>
            <ac:picMk id="11" creationId="{1361839C-D976-4C63-8C23-CA25488BBA3B}"/>
          </ac:picMkLst>
        </pc:picChg>
      </pc:sldChg>
      <pc:sldChg chg="delSp modSp mod">
        <pc:chgData name="Manish Sharma" userId="97d895ad-8d7a-4884-8c18-743afd731b6f" providerId="ADAL" clId="{05825897-659E-4E0E-84E5-88D5116C9B00}" dt="2020-10-06T01:08:02.503" v="3605" actId="20577"/>
        <pc:sldMkLst>
          <pc:docMk/>
          <pc:sldMk cId="318827490" sldId="456"/>
        </pc:sldMkLst>
        <pc:spChg chg="mod">
          <ac:chgData name="Manish Sharma" userId="97d895ad-8d7a-4884-8c18-743afd731b6f" providerId="ADAL" clId="{05825897-659E-4E0E-84E5-88D5116C9B00}" dt="2020-10-05T02:35:04.203" v="692" actId="20577"/>
          <ac:spMkLst>
            <pc:docMk/>
            <pc:sldMk cId="318827490" sldId="456"/>
            <ac:spMk id="2" creationId="{00000000-0000-0000-0000-000000000000}"/>
          </ac:spMkLst>
        </pc:spChg>
        <pc:spChg chg="del">
          <ac:chgData name="Manish Sharma" userId="97d895ad-8d7a-4884-8c18-743afd731b6f" providerId="ADAL" clId="{05825897-659E-4E0E-84E5-88D5116C9B00}" dt="2020-10-05T02:35:06.845" v="693" actId="478"/>
          <ac:spMkLst>
            <pc:docMk/>
            <pc:sldMk cId="318827490" sldId="456"/>
            <ac:spMk id="4" creationId="{F61AA9C2-87EC-4A6F-BE41-401526484818}"/>
          </ac:spMkLst>
        </pc:spChg>
        <pc:spChg chg="mod">
          <ac:chgData name="Manish Sharma" userId="97d895ad-8d7a-4884-8c18-743afd731b6f" providerId="ADAL" clId="{05825897-659E-4E0E-84E5-88D5116C9B00}" dt="2020-10-06T01:08:02.503" v="3605" actId="20577"/>
          <ac:spMkLst>
            <pc:docMk/>
            <pc:sldMk cId="318827490" sldId="456"/>
            <ac:spMk id="21" creationId="{00000000-0000-0000-0000-000000000000}"/>
          </ac:spMkLst>
        </pc:spChg>
        <pc:spChg chg="mod">
          <ac:chgData name="Manish Sharma" userId="97d895ad-8d7a-4884-8c18-743afd731b6f" providerId="ADAL" clId="{05825897-659E-4E0E-84E5-88D5116C9B00}" dt="2020-10-05T02:36:09.249" v="753" actId="108"/>
          <ac:spMkLst>
            <pc:docMk/>
            <pc:sldMk cId="318827490" sldId="456"/>
            <ac:spMk id="73" creationId="{4C88BB89-4068-499B-8F3F-29D9CFDEB8D9}"/>
          </ac:spMkLst>
        </pc:spChg>
        <pc:spChg chg="mod">
          <ac:chgData name="Manish Sharma" userId="97d895ad-8d7a-4884-8c18-743afd731b6f" providerId="ADAL" clId="{05825897-659E-4E0E-84E5-88D5116C9B00}" dt="2020-10-05T02:36:12.202" v="755" actId="108"/>
          <ac:spMkLst>
            <pc:docMk/>
            <pc:sldMk cId="318827490" sldId="456"/>
            <ac:spMk id="74" creationId="{0331598C-AB42-4ED3-AD29-91628B8360D4}"/>
          </ac:spMkLst>
        </pc:spChg>
        <pc:spChg chg="mod">
          <ac:chgData name="Manish Sharma" userId="97d895ad-8d7a-4884-8c18-743afd731b6f" providerId="ADAL" clId="{05825897-659E-4E0E-84E5-88D5116C9B00}" dt="2020-10-05T02:36:11.100" v="754" actId="108"/>
          <ac:spMkLst>
            <pc:docMk/>
            <pc:sldMk cId="318827490" sldId="456"/>
            <ac:spMk id="75" creationId="{C3667D43-2D3C-46D6-BEB3-58980BA9DA59}"/>
          </ac:spMkLst>
        </pc:spChg>
        <pc:spChg chg="mod">
          <ac:chgData name="Manish Sharma" userId="97d895ad-8d7a-4884-8c18-743afd731b6f" providerId="ADAL" clId="{05825897-659E-4E0E-84E5-88D5116C9B00}" dt="2020-10-05T02:36:02.132" v="752" actId="208"/>
          <ac:spMkLst>
            <pc:docMk/>
            <pc:sldMk cId="318827490" sldId="456"/>
            <ac:spMk id="78" creationId="{00000000-0000-0000-0000-000000000000}"/>
          </ac:spMkLst>
        </pc:spChg>
        <pc:spChg chg="mod">
          <ac:chgData name="Manish Sharma" userId="97d895ad-8d7a-4884-8c18-743afd731b6f" providerId="ADAL" clId="{05825897-659E-4E0E-84E5-88D5116C9B00}" dt="2020-10-05T02:36:20.240" v="757" actId="207"/>
          <ac:spMkLst>
            <pc:docMk/>
            <pc:sldMk cId="318827490" sldId="456"/>
            <ac:spMk id="81" creationId="{00000000-0000-0000-0000-000000000000}"/>
          </ac:spMkLst>
        </pc:spChg>
        <pc:spChg chg="mod">
          <ac:chgData name="Manish Sharma" userId="97d895ad-8d7a-4884-8c18-743afd731b6f" providerId="ADAL" clId="{05825897-659E-4E0E-84E5-88D5116C9B00}" dt="2020-10-05T02:35:30.878" v="745" actId="14100"/>
          <ac:spMkLst>
            <pc:docMk/>
            <pc:sldMk cId="318827490" sldId="456"/>
            <ac:spMk id="82" creationId="{00000000-0000-0000-0000-000000000000}"/>
          </ac:spMkLst>
        </pc:spChg>
        <pc:spChg chg="mod">
          <ac:chgData name="Manish Sharma" userId="97d895ad-8d7a-4884-8c18-743afd731b6f" providerId="ADAL" clId="{05825897-659E-4E0E-84E5-88D5116C9B00}" dt="2020-10-05T02:35:30.878" v="745" actId="14100"/>
          <ac:spMkLst>
            <pc:docMk/>
            <pc:sldMk cId="318827490" sldId="456"/>
            <ac:spMk id="83" creationId="{00000000-0000-0000-0000-000000000000}"/>
          </ac:spMkLst>
        </pc:spChg>
        <pc:spChg chg="mod">
          <ac:chgData name="Manish Sharma" userId="97d895ad-8d7a-4884-8c18-743afd731b6f" providerId="ADAL" clId="{05825897-659E-4E0E-84E5-88D5116C9B00}" dt="2020-10-05T02:35:30.878" v="745" actId="14100"/>
          <ac:spMkLst>
            <pc:docMk/>
            <pc:sldMk cId="318827490" sldId="456"/>
            <ac:spMk id="84" creationId="{00000000-0000-0000-0000-000000000000}"/>
          </ac:spMkLst>
        </pc:spChg>
        <pc:spChg chg="mod">
          <ac:chgData name="Manish Sharma" userId="97d895ad-8d7a-4884-8c18-743afd731b6f" providerId="ADAL" clId="{05825897-659E-4E0E-84E5-88D5116C9B00}" dt="2020-10-05T02:36:24.937" v="758" actId="108"/>
          <ac:spMkLst>
            <pc:docMk/>
            <pc:sldMk cId="318827490" sldId="456"/>
            <ac:spMk id="90" creationId="{00000000-0000-0000-0000-000000000000}"/>
          </ac:spMkLst>
        </pc:spChg>
        <pc:spChg chg="mod">
          <ac:chgData name="Manish Sharma" userId="97d895ad-8d7a-4884-8c18-743afd731b6f" providerId="ADAL" clId="{05825897-659E-4E0E-84E5-88D5116C9B00}" dt="2020-10-05T02:35:44.970" v="747" actId="14100"/>
          <ac:spMkLst>
            <pc:docMk/>
            <pc:sldMk cId="318827490" sldId="456"/>
            <ac:spMk id="93" creationId="{00000000-0000-0000-0000-000000000000}"/>
          </ac:spMkLst>
        </pc:spChg>
        <pc:spChg chg="mod">
          <ac:chgData name="Manish Sharma" userId="97d895ad-8d7a-4884-8c18-743afd731b6f" providerId="ADAL" clId="{05825897-659E-4E0E-84E5-88D5116C9B00}" dt="2020-10-05T02:35:44.970" v="747" actId="14100"/>
          <ac:spMkLst>
            <pc:docMk/>
            <pc:sldMk cId="318827490" sldId="456"/>
            <ac:spMk id="94" creationId="{00000000-0000-0000-0000-000000000000}"/>
          </ac:spMkLst>
        </pc:spChg>
        <pc:spChg chg="mod">
          <ac:chgData name="Manish Sharma" userId="97d895ad-8d7a-4884-8c18-743afd731b6f" providerId="ADAL" clId="{05825897-659E-4E0E-84E5-88D5116C9B00}" dt="2020-10-05T02:35:44.970" v="747" actId="14100"/>
          <ac:spMkLst>
            <pc:docMk/>
            <pc:sldMk cId="318827490" sldId="456"/>
            <ac:spMk id="95" creationId="{00000000-0000-0000-0000-000000000000}"/>
          </ac:spMkLst>
        </pc:spChg>
        <pc:spChg chg="mod">
          <ac:chgData name="Manish Sharma" userId="97d895ad-8d7a-4884-8c18-743afd731b6f" providerId="ADAL" clId="{05825897-659E-4E0E-84E5-88D5116C9B00}" dt="2020-10-05T02:36:26.051" v="759" actId="108"/>
          <ac:spMkLst>
            <pc:docMk/>
            <pc:sldMk cId="318827490" sldId="456"/>
            <ac:spMk id="96" creationId="{00000000-0000-0000-0000-000000000000}"/>
          </ac:spMkLst>
        </pc:spChg>
        <pc:spChg chg="mod">
          <ac:chgData name="Manish Sharma" userId="97d895ad-8d7a-4884-8c18-743afd731b6f" providerId="ADAL" clId="{05825897-659E-4E0E-84E5-88D5116C9B00}" dt="2020-10-05T02:35:47.902" v="748" actId="14100"/>
          <ac:spMkLst>
            <pc:docMk/>
            <pc:sldMk cId="318827490" sldId="456"/>
            <ac:spMk id="99" creationId="{00000000-0000-0000-0000-000000000000}"/>
          </ac:spMkLst>
        </pc:spChg>
        <pc:spChg chg="mod">
          <ac:chgData name="Manish Sharma" userId="97d895ad-8d7a-4884-8c18-743afd731b6f" providerId="ADAL" clId="{05825897-659E-4E0E-84E5-88D5116C9B00}" dt="2020-10-05T02:35:47.902" v="748" actId="14100"/>
          <ac:spMkLst>
            <pc:docMk/>
            <pc:sldMk cId="318827490" sldId="456"/>
            <ac:spMk id="100" creationId="{00000000-0000-0000-0000-000000000000}"/>
          </ac:spMkLst>
        </pc:spChg>
        <pc:spChg chg="mod">
          <ac:chgData name="Manish Sharma" userId="97d895ad-8d7a-4884-8c18-743afd731b6f" providerId="ADAL" clId="{05825897-659E-4E0E-84E5-88D5116C9B00}" dt="2020-10-05T02:35:47.902" v="748" actId="14100"/>
          <ac:spMkLst>
            <pc:docMk/>
            <pc:sldMk cId="318827490" sldId="456"/>
            <ac:spMk id="101" creationId="{00000000-0000-0000-0000-000000000000}"/>
          </ac:spMkLst>
        </pc:spChg>
        <pc:spChg chg="mod">
          <ac:chgData name="Manish Sharma" userId="97d895ad-8d7a-4884-8c18-743afd731b6f" providerId="ADAL" clId="{05825897-659E-4E0E-84E5-88D5116C9B00}" dt="2020-10-05T02:36:26.847" v="760" actId="108"/>
          <ac:spMkLst>
            <pc:docMk/>
            <pc:sldMk cId="318827490" sldId="456"/>
            <ac:spMk id="102" creationId="{00000000-0000-0000-0000-000000000000}"/>
          </ac:spMkLst>
        </pc:spChg>
        <pc:spChg chg="mod">
          <ac:chgData name="Manish Sharma" userId="97d895ad-8d7a-4884-8c18-743afd731b6f" providerId="ADAL" clId="{05825897-659E-4E0E-84E5-88D5116C9B00}" dt="2020-10-05T02:36:13.624" v="756" actId="108"/>
          <ac:spMkLst>
            <pc:docMk/>
            <pc:sldMk cId="318827490" sldId="456"/>
            <ac:spMk id="103" creationId="{00000000-0000-0000-0000-000000000000}"/>
          </ac:spMkLst>
        </pc:spChg>
        <pc:spChg chg="mod">
          <ac:chgData name="Manish Sharma" userId="97d895ad-8d7a-4884-8c18-743afd731b6f" providerId="ADAL" clId="{05825897-659E-4E0E-84E5-88D5116C9B00}" dt="2020-10-05T02:35:50.856" v="749" actId="14100"/>
          <ac:spMkLst>
            <pc:docMk/>
            <pc:sldMk cId="318827490" sldId="456"/>
            <ac:spMk id="105" creationId="{00000000-0000-0000-0000-000000000000}"/>
          </ac:spMkLst>
        </pc:spChg>
        <pc:spChg chg="mod">
          <ac:chgData name="Manish Sharma" userId="97d895ad-8d7a-4884-8c18-743afd731b6f" providerId="ADAL" clId="{05825897-659E-4E0E-84E5-88D5116C9B00}" dt="2020-10-05T02:35:50.856" v="749" actId="14100"/>
          <ac:spMkLst>
            <pc:docMk/>
            <pc:sldMk cId="318827490" sldId="456"/>
            <ac:spMk id="106" creationId="{00000000-0000-0000-0000-000000000000}"/>
          </ac:spMkLst>
        </pc:spChg>
        <pc:spChg chg="mod">
          <ac:chgData name="Manish Sharma" userId="97d895ad-8d7a-4884-8c18-743afd731b6f" providerId="ADAL" clId="{05825897-659E-4E0E-84E5-88D5116C9B00}" dt="2020-10-05T02:35:50.856" v="749" actId="14100"/>
          <ac:spMkLst>
            <pc:docMk/>
            <pc:sldMk cId="318827490" sldId="456"/>
            <ac:spMk id="107" creationId="{00000000-0000-0000-0000-000000000000}"/>
          </ac:spMkLst>
        </pc:spChg>
        <pc:spChg chg="mod">
          <ac:chgData name="Manish Sharma" userId="97d895ad-8d7a-4884-8c18-743afd731b6f" providerId="ADAL" clId="{05825897-659E-4E0E-84E5-88D5116C9B00}" dt="2020-10-05T02:36:27.787" v="761" actId="108"/>
          <ac:spMkLst>
            <pc:docMk/>
            <pc:sldMk cId="318827490" sldId="456"/>
            <ac:spMk id="108" creationId="{00000000-0000-0000-0000-000000000000}"/>
          </ac:spMkLst>
        </pc:spChg>
        <pc:spChg chg="mod">
          <ac:chgData name="Manish Sharma" userId="97d895ad-8d7a-4884-8c18-743afd731b6f" providerId="ADAL" clId="{05825897-659E-4E0E-84E5-88D5116C9B00}" dt="2020-10-05T02:35:39.160" v="746" actId="14100"/>
          <ac:spMkLst>
            <pc:docMk/>
            <pc:sldMk cId="318827490" sldId="456"/>
            <ac:spMk id="110" creationId="{00000000-0000-0000-0000-000000000000}"/>
          </ac:spMkLst>
        </pc:spChg>
        <pc:spChg chg="mod">
          <ac:chgData name="Manish Sharma" userId="97d895ad-8d7a-4884-8c18-743afd731b6f" providerId="ADAL" clId="{05825897-659E-4E0E-84E5-88D5116C9B00}" dt="2020-10-05T02:35:39.160" v="746" actId="14100"/>
          <ac:spMkLst>
            <pc:docMk/>
            <pc:sldMk cId="318827490" sldId="456"/>
            <ac:spMk id="111" creationId="{00000000-0000-0000-0000-000000000000}"/>
          </ac:spMkLst>
        </pc:spChg>
        <pc:spChg chg="mod">
          <ac:chgData name="Manish Sharma" userId="97d895ad-8d7a-4884-8c18-743afd731b6f" providerId="ADAL" clId="{05825897-659E-4E0E-84E5-88D5116C9B00}" dt="2020-10-05T02:35:39.160" v="746" actId="14100"/>
          <ac:spMkLst>
            <pc:docMk/>
            <pc:sldMk cId="318827490" sldId="456"/>
            <ac:spMk id="112" creationId="{00000000-0000-0000-0000-000000000000}"/>
          </ac:spMkLst>
        </pc:spChg>
        <pc:spChg chg="mod">
          <ac:chgData name="Manish Sharma" userId="97d895ad-8d7a-4884-8c18-743afd731b6f" providerId="ADAL" clId="{05825897-659E-4E0E-84E5-88D5116C9B00}" dt="2020-10-05T02:34:15.601" v="672" actId="20577"/>
          <ac:spMkLst>
            <pc:docMk/>
            <pc:sldMk cId="318827490" sldId="456"/>
            <ac:spMk id="116" creationId="{00000000-0000-0000-0000-000000000000}"/>
          </ac:spMkLst>
        </pc:spChg>
        <pc:spChg chg="mod">
          <ac:chgData name="Manish Sharma" userId="97d895ad-8d7a-4884-8c18-743afd731b6f" providerId="ADAL" clId="{05825897-659E-4E0E-84E5-88D5116C9B00}" dt="2020-10-05T02:34:08.222" v="667" actId="20577"/>
          <ac:spMkLst>
            <pc:docMk/>
            <pc:sldMk cId="318827490" sldId="456"/>
            <ac:spMk id="117" creationId="{00000000-0000-0000-0000-000000000000}"/>
          </ac:spMkLst>
        </pc:spChg>
        <pc:spChg chg="mod">
          <ac:chgData name="Manish Sharma" userId="97d895ad-8d7a-4884-8c18-743afd731b6f" providerId="ADAL" clId="{05825897-659E-4E0E-84E5-88D5116C9B00}" dt="2020-10-05T02:35:17.980" v="695" actId="14100"/>
          <ac:spMkLst>
            <pc:docMk/>
            <pc:sldMk cId="318827490" sldId="456"/>
            <ac:spMk id="120" creationId="{00000000-0000-0000-0000-000000000000}"/>
          </ac:spMkLst>
        </pc:spChg>
        <pc:spChg chg="mod">
          <ac:chgData name="Manish Sharma" userId="97d895ad-8d7a-4884-8c18-743afd731b6f" providerId="ADAL" clId="{05825897-659E-4E0E-84E5-88D5116C9B00}" dt="2020-10-05T02:35:17.980" v="695" actId="14100"/>
          <ac:spMkLst>
            <pc:docMk/>
            <pc:sldMk cId="318827490" sldId="456"/>
            <ac:spMk id="121" creationId="{00000000-0000-0000-0000-000000000000}"/>
          </ac:spMkLst>
        </pc:spChg>
        <pc:spChg chg="mod">
          <ac:chgData name="Manish Sharma" userId="97d895ad-8d7a-4884-8c18-743afd731b6f" providerId="ADAL" clId="{05825897-659E-4E0E-84E5-88D5116C9B00}" dt="2020-10-05T02:35:17.980" v="695" actId="14100"/>
          <ac:spMkLst>
            <pc:docMk/>
            <pc:sldMk cId="318827490" sldId="456"/>
            <ac:spMk id="122" creationId="{00000000-0000-0000-0000-000000000000}"/>
          </ac:spMkLst>
        </pc:spChg>
        <pc:spChg chg="mod">
          <ac:chgData name="Manish Sharma" userId="97d895ad-8d7a-4884-8c18-743afd731b6f" providerId="ADAL" clId="{05825897-659E-4E0E-84E5-88D5116C9B00}" dt="2020-10-05T02:33:57.598" v="662" actId="20577"/>
          <ac:spMkLst>
            <pc:docMk/>
            <pc:sldMk cId="318827490" sldId="456"/>
            <ac:spMk id="123" creationId="{00000000-0000-0000-0000-000000000000}"/>
          </ac:spMkLst>
        </pc:spChg>
        <pc:spChg chg="mod">
          <ac:chgData name="Manish Sharma" userId="97d895ad-8d7a-4884-8c18-743afd731b6f" providerId="ADAL" clId="{05825897-659E-4E0E-84E5-88D5116C9B00}" dt="2020-10-05T02:35:25.142" v="744" actId="1038"/>
          <ac:spMkLst>
            <pc:docMk/>
            <pc:sldMk cId="318827490" sldId="456"/>
            <ac:spMk id="135" creationId="{00000000-0000-0000-0000-000000000000}"/>
          </ac:spMkLst>
        </pc:spChg>
        <pc:grpChg chg="mod">
          <ac:chgData name="Manish Sharma" userId="97d895ad-8d7a-4884-8c18-743afd731b6f" providerId="ADAL" clId="{05825897-659E-4E0E-84E5-88D5116C9B00}" dt="2020-10-05T02:35:30.878" v="745" actId="14100"/>
          <ac:grpSpMkLst>
            <pc:docMk/>
            <pc:sldMk cId="318827490" sldId="456"/>
            <ac:grpSpMk id="80" creationId="{00000000-0000-0000-0000-000000000000}"/>
          </ac:grpSpMkLst>
        </pc:grpChg>
        <pc:grpChg chg="mod">
          <ac:chgData name="Manish Sharma" userId="97d895ad-8d7a-4884-8c18-743afd731b6f" providerId="ADAL" clId="{05825897-659E-4E0E-84E5-88D5116C9B00}" dt="2020-10-05T02:35:44.970" v="747" actId="14100"/>
          <ac:grpSpMkLst>
            <pc:docMk/>
            <pc:sldMk cId="318827490" sldId="456"/>
            <ac:grpSpMk id="92" creationId="{00000000-0000-0000-0000-000000000000}"/>
          </ac:grpSpMkLst>
        </pc:grpChg>
        <pc:grpChg chg="mod">
          <ac:chgData name="Manish Sharma" userId="97d895ad-8d7a-4884-8c18-743afd731b6f" providerId="ADAL" clId="{05825897-659E-4E0E-84E5-88D5116C9B00}" dt="2020-10-05T02:35:47.902" v="748" actId="14100"/>
          <ac:grpSpMkLst>
            <pc:docMk/>
            <pc:sldMk cId="318827490" sldId="456"/>
            <ac:grpSpMk id="98" creationId="{00000000-0000-0000-0000-000000000000}"/>
          </ac:grpSpMkLst>
        </pc:grpChg>
        <pc:grpChg chg="mod">
          <ac:chgData name="Manish Sharma" userId="97d895ad-8d7a-4884-8c18-743afd731b6f" providerId="ADAL" clId="{05825897-659E-4E0E-84E5-88D5116C9B00}" dt="2020-10-05T02:35:50.856" v="749" actId="14100"/>
          <ac:grpSpMkLst>
            <pc:docMk/>
            <pc:sldMk cId="318827490" sldId="456"/>
            <ac:grpSpMk id="104" creationId="{00000000-0000-0000-0000-000000000000}"/>
          </ac:grpSpMkLst>
        </pc:grpChg>
        <pc:grpChg chg="mod">
          <ac:chgData name="Manish Sharma" userId="97d895ad-8d7a-4884-8c18-743afd731b6f" providerId="ADAL" clId="{05825897-659E-4E0E-84E5-88D5116C9B00}" dt="2020-10-05T02:35:39.160" v="746" actId="14100"/>
          <ac:grpSpMkLst>
            <pc:docMk/>
            <pc:sldMk cId="318827490" sldId="456"/>
            <ac:grpSpMk id="109" creationId="{00000000-0000-0000-0000-000000000000}"/>
          </ac:grpSpMkLst>
        </pc:grpChg>
        <pc:grpChg chg="mod">
          <ac:chgData name="Manish Sharma" userId="97d895ad-8d7a-4884-8c18-743afd731b6f" providerId="ADAL" clId="{05825897-659E-4E0E-84E5-88D5116C9B00}" dt="2020-10-05T02:35:17.980" v="695" actId="14100"/>
          <ac:grpSpMkLst>
            <pc:docMk/>
            <pc:sldMk cId="318827490" sldId="456"/>
            <ac:grpSpMk id="119" creationId="{00000000-0000-0000-0000-000000000000}"/>
          </ac:grpSpMkLst>
        </pc:grpChg>
      </pc:sldChg>
      <pc:sldChg chg="addSp delSp modSp mod">
        <pc:chgData name="Manish Sharma" userId="97d895ad-8d7a-4884-8c18-743afd731b6f" providerId="ADAL" clId="{05825897-659E-4E0E-84E5-88D5116C9B00}" dt="2020-10-06T01:08:54.278" v="3609" actId="20577"/>
        <pc:sldMkLst>
          <pc:docMk/>
          <pc:sldMk cId="64462132" sldId="457"/>
        </pc:sldMkLst>
        <pc:spChg chg="del">
          <ac:chgData name="Manish Sharma" userId="97d895ad-8d7a-4884-8c18-743afd731b6f" providerId="ADAL" clId="{05825897-659E-4E0E-84E5-88D5116C9B00}" dt="2020-10-05T20:46:14.514" v="2740" actId="478"/>
          <ac:spMkLst>
            <pc:docMk/>
            <pc:sldMk cId="64462132" sldId="457"/>
            <ac:spMk id="3" creationId="{30B74498-E3E0-4825-B266-5A36310B6D06}"/>
          </ac:spMkLst>
        </pc:spChg>
        <pc:spChg chg="mod">
          <ac:chgData name="Manish Sharma" userId="97d895ad-8d7a-4884-8c18-743afd731b6f" providerId="ADAL" clId="{05825897-659E-4E0E-84E5-88D5116C9B00}" dt="2020-10-05T22:09:42.045" v="3401" actId="20577"/>
          <ac:spMkLst>
            <pc:docMk/>
            <pc:sldMk cId="64462132" sldId="457"/>
            <ac:spMk id="7" creationId="{B633BA49-44C2-41E0-8A5F-10881248D9C0}"/>
          </ac:spMkLst>
        </pc:spChg>
        <pc:graphicFrameChg chg="mod modGraphic">
          <ac:chgData name="Manish Sharma" userId="97d895ad-8d7a-4884-8c18-743afd731b6f" providerId="ADAL" clId="{05825897-659E-4E0E-84E5-88D5116C9B00}" dt="2020-10-05T20:48:06.310" v="2790"/>
          <ac:graphicFrameMkLst>
            <pc:docMk/>
            <pc:sldMk cId="64462132" sldId="457"/>
            <ac:graphicFrameMk id="20" creationId="{C706CF1C-16BE-40AB-AD10-3D3B1B2FD25F}"/>
          </ac:graphicFrameMkLst>
        </pc:graphicFrameChg>
        <pc:graphicFrameChg chg="modGraphic">
          <ac:chgData name="Manish Sharma" userId="97d895ad-8d7a-4884-8c18-743afd731b6f" providerId="ADAL" clId="{05825897-659E-4E0E-84E5-88D5116C9B00}" dt="2020-10-06T01:08:50.454" v="3607" actId="20577"/>
          <ac:graphicFrameMkLst>
            <pc:docMk/>
            <pc:sldMk cId="64462132" sldId="457"/>
            <ac:graphicFrameMk id="22" creationId="{25ADC611-E4BA-4F2F-9BF9-A6228171DDE2}"/>
          </ac:graphicFrameMkLst>
        </pc:graphicFrameChg>
        <pc:graphicFrameChg chg="modGraphic">
          <ac:chgData name="Manish Sharma" userId="97d895ad-8d7a-4884-8c18-743afd731b6f" providerId="ADAL" clId="{05825897-659E-4E0E-84E5-88D5116C9B00}" dt="2020-10-06T01:08:54.278" v="3609" actId="20577"/>
          <ac:graphicFrameMkLst>
            <pc:docMk/>
            <pc:sldMk cId="64462132" sldId="457"/>
            <ac:graphicFrameMk id="23" creationId="{00000000-0000-0000-0000-000000000000}"/>
          </ac:graphicFrameMkLst>
        </pc:graphicFrameChg>
        <pc:graphicFrameChg chg="mod modGraphic">
          <ac:chgData name="Manish Sharma" userId="97d895ad-8d7a-4884-8c18-743afd731b6f" providerId="ADAL" clId="{05825897-659E-4E0E-84E5-88D5116C9B00}" dt="2020-10-05T22:07:05.195" v="2938" actId="14734"/>
          <ac:graphicFrameMkLst>
            <pc:docMk/>
            <pc:sldMk cId="64462132" sldId="457"/>
            <ac:graphicFrameMk id="26" creationId="{A088A704-3458-4A85-A10E-CBFB205EDF51}"/>
          </ac:graphicFrameMkLst>
        </pc:graphicFrameChg>
        <pc:graphicFrameChg chg="add mod">
          <ac:chgData name="Manish Sharma" userId="97d895ad-8d7a-4884-8c18-743afd731b6f" providerId="ADAL" clId="{05825897-659E-4E0E-84E5-88D5116C9B00}" dt="2020-10-05T20:46:11.055" v="2739" actId="1076"/>
          <ac:graphicFrameMkLst>
            <pc:docMk/>
            <pc:sldMk cId="64462132" sldId="457"/>
            <ac:graphicFrameMk id="27" creationId="{CBFFA360-562E-4DD4-AA89-B1445004AE0C}"/>
          </ac:graphicFrameMkLst>
        </pc:graphicFrameChg>
        <pc:graphicFrameChg chg="del">
          <ac:chgData name="Manish Sharma" userId="97d895ad-8d7a-4884-8c18-743afd731b6f" providerId="ADAL" clId="{05825897-659E-4E0E-84E5-88D5116C9B00}" dt="2020-10-05T20:46:01.848" v="2736" actId="478"/>
          <ac:graphicFrameMkLst>
            <pc:docMk/>
            <pc:sldMk cId="64462132" sldId="457"/>
            <ac:graphicFrameMk id="30" creationId="{56645DE4-9770-48B7-9AA0-A244685A9565}"/>
          </ac:graphicFrameMkLst>
        </pc:graphicFrameChg>
      </pc:sldChg>
      <pc:sldChg chg="addSp delSp modSp mod">
        <pc:chgData name="Manish Sharma" userId="97d895ad-8d7a-4884-8c18-743afd731b6f" providerId="ADAL" clId="{05825897-659E-4E0E-84E5-88D5116C9B00}" dt="2020-10-07T16:02:08.817" v="10485" actId="20577"/>
        <pc:sldMkLst>
          <pc:docMk/>
          <pc:sldMk cId="1282065873" sldId="458"/>
        </pc:sldMkLst>
        <pc:spChg chg="del">
          <ac:chgData name="Manish Sharma" userId="97d895ad-8d7a-4884-8c18-743afd731b6f" providerId="ADAL" clId="{05825897-659E-4E0E-84E5-88D5116C9B00}" dt="2020-10-07T02:10:06.430" v="5831" actId="478"/>
          <ac:spMkLst>
            <pc:docMk/>
            <pc:sldMk cId="1282065873" sldId="458"/>
            <ac:spMk id="4" creationId="{4B477770-CB8F-4297-A59C-8AAC1CC99612}"/>
          </ac:spMkLst>
        </pc:spChg>
        <pc:spChg chg="del">
          <ac:chgData name="Manish Sharma" userId="97d895ad-8d7a-4884-8c18-743afd731b6f" providerId="ADAL" clId="{05825897-659E-4E0E-84E5-88D5116C9B00}" dt="2020-10-07T02:10:28.861" v="5838" actId="478"/>
          <ac:spMkLst>
            <pc:docMk/>
            <pc:sldMk cId="1282065873" sldId="458"/>
            <ac:spMk id="36" creationId="{66CE62D1-A6C6-4C4D-B25F-B7DD51577209}"/>
          </ac:spMkLst>
        </pc:spChg>
        <pc:spChg chg="mod">
          <ac:chgData name="Manish Sharma" userId="97d895ad-8d7a-4884-8c18-743afd731b6f" providerId="ADAL" clId="{05825897-659E-4E0E-84E5-88D5116C9B00}" dt="2020-10-07T02:10:26.980" v="5837" actId="14100"/>
          <ac:spMkLst>
            <pc:docMk/>
            <pc:sldMk cId="1282065873" sldId="458"/>
            <ac:spMk id="37" creationId="{325EF9B9-84A6-4E51-9D65-2C32AE911138}"/>
          </ac:spMkLst>
        </pc:spChg>
        <pc:spChg chg="mod">
          <ac:chgData name="Manish Sharma" userId="97d895ad-8d7a-4884-8c18-743afd731b6f" providerId="ADAL" clId="{05825897-659E-4E0E-84E5-88D5116C9B00}" dt="2020-10-07T02:10:33.755" v="5840" actId="14100"/>
          <ac:spMkLst>
            <pc:docMk/>
            <pc:sldMk cId="1282065873" sldId="458"/>
            <ac:spMk id="38" creationId="{E5B73010-784B-48E2-B39A-84AD18ABCE1F}"/>
          </ac:spMkLst>
        </pc:spChg>
        <pc:spChg chg="mod">
          <ac:chgData name="Manish Sharma" userId="97d895ad-8d7a-4884-8c18-743afd731b6f" providerId="ADAL" clId="{05825897-659E-4E0E-84E5-88D5116C9B00}" dt="2020-10-07T02:08:44.316" v="5830" actId="14100"/>
          <ac:spMkLst>
            <pc:docMk/>
            <pc:sldMk cId="1282065873" sldId="458"/>
            <ac:spMk id="41" creationId="{45964E5A-BE5E-45C2-8E43-74F4B9DD344A}"/>
          </ac:spMkLst>
        </pc:spChg>
        <pc:spChg chg="mod">
          <ac:chgData name="Manish Sharma" userId="97d895ad-8d7a-4884-8c18-743afd731b6f" providerId="ADAL" clId="{05825897-659E-4E0E-84E5-88D5116C9B00}" dt="2020-10-07T02:08:44.316" v="5830" actId="14100"/>
          <ac:spMkLst>
            <pc:docMk/>
            <pc:sldMk cId="1282065873" sldId="458"/>
            <ac:spMk id="44" creationId="{51E3BAEC-16CE-4528-B1C9-357E4FA66480}"/>
          </ac:spMkLst>
        </pc:spChg>
        <pc:spChg chg="mod">
          <ac:chgData name="Manish Sharma" userId="97d895ad-8d7a-4884-8c18-743afd731b6f" providerId="ADAL" clId="{05825897-659E-4E0E-84E5-88D5116C9B00}" dt="2020-10-07T02:08:44.316" v="5830" actId="14100"/>
          <ac:spMkLst>
            <pc:docMk/>
            <pc:sldMk cId="1282065873" sldId="458"/>
            <ac:spMk id="45" creationId="{EBCBCBD1-E21B-4393-8D88-21097657E3FB}"/>
          </ac:spMkLst>
        </pc:spChg>
        <pc:spChg chg="mod">
          <ac:chgData name="Manish Sharma" userId="97d895ad-8d7a-4884-8c18-743afd731b6f" providerId="ADAL" clId="{05825897-659E-4E0E-84E5-88D5116C9B00}" dt="2020-10-07T02:08:44.316" v="5830" actId="14100"/>
          <ac:spMkLst>
            <pc:docMk/>
            <pc:sldMk cId="1282065873" sldId="458"/>
            <ac:spMk id="46" creationId="{706A9863-1AD8-497E-8475-4F9C3C938702}"/>
          </ac:spMkLst>
        </pc:spChg>
        <pc:spChg chg="mod">
          <ac:chgData name="Manish Sharma" userId="97d895ad-8d7a-4884-8c18-743afd731b6f" providerId="ADAL" clId="{05825897-659E-4E0E-84E5-88D5116C9B00}" dt="2020-10-07T02:08:44.316" v="5830" actId="14100"/>
          <ac:spMkLst>
            <pc:docMk/>
            <pc:sldMk cId="1282065873" sldId="458"/>
            <ac:spMk id="47" creationId="{6928B57C-8C22-45F2-AE7C-2AFDD3C368DB}"/>
          </ac:spMkLst>
        </pc:spChg>
        <pc:spChg chg="mod">
          <ac:chgData name="Manish Sharma" userId="97d895ad-8d7a-4884-8c18-743afd731b6f" providerId="ADAL" clId="{05825897-659E-4E0E-84E5-88D5116C9B00}" dt="2020-10-07T02:18:40.661" v="6694" actId="1037"/>
          <ac:spMkLst>
            <pc:docMk/>
            <pc:sldMk cId="1282065873" sldId="458"/>
            <ac:spMk id="48" creationId="{550B5241-A055-4A97-AFA6-0C804F2553E0}"/>
          </ac:spMkLst>
        </pc:spChg>
        <pc:spChg chg="mod">
          <ac:chgData name="Manish Sharma" userId="97d895ad-8d7a-4884-8c18-743afd731b6f" providerId="ADAL" clId="{05825897-659E-4E0E-84E5-88D5116C9B00}" dt="2020-10-07T16:02:08.817" v="10485" actId="20577"/>
          <ac:spMkLst>
            <pc:docMk/>
            <pc:sldMk cId="1282065873" sldId="458"/>
            <ac:spMk id="80" creationId="{6F5A7825-C260-4831-9B48-001AB9DF90D5}"/>
          </ac:spMkLst>
        </pc:spChg>
        <pc:grpChg chg="mod">
          <ac:chgData name="Manish Sharma" userId="97d895ad-8d7a-4884-8c18-743afd731b6f" providerId="ADAL" clId="{05825897-659E-4E0E-84E5-88D5116C9B00}" dt="2020-10-07T02:08:44.316" v="5830" actId="14100"/>
          <ac:grpSpMkLst>
            <pc:docMk/>
            <pc:sldMk cId="1282065873" sldId="458"/>
            <ac:grpSpMk id="12" creationId="{2FFA7AA6-EF1B-47F4-83B4-7ADD97B76433}"/>
          </ac:grpSpMkLst>
        </pc:grpChg>
        <pc:grpChg chg="mod">
          <ac:chgData name="Manish Sharma" userId="97d895ad-8d7a-4884-8c18-743afd731b6f" providerId="ADAL" clId="{05825897-659E-4E0E-84E5-88D5116C9B00}" dt="2020-10-07T02:08:44.316" v="5830" actId="14100"/>
          <ac:grpSpMkLst>
            <pc:docMk/>
            <pc:sldMk cId="1282065873" sldId="458"/>
            <ac:grpSpMk id="42" creationId="{88DAE97C-633A-4A00-9D3B-FF12DDC9AD78}"/>
          </ac:grpSpMkLst>
        </pc:grpChg>
        <pc:picChg chg="del">
          <ac:chgData name="Manish Sharma" userId="97d895ad-8d7a-4884-8c18-743afd731b6f" providerId="ADAL" clId="{05825897-659E-4E0E-84E5-88D5116C9B00}" dt="2020-10-07T02:07:40.438" v="5803" actId="478"/>
          <ac:picMkLst>
            <pc:docMk/>
            <pc:sldMk cId="1282065873" sldId="458"/>
            <ac:picMk id="6" creationId="{6237AA62-7B3F-4587-9EEF-4C8AE28CA950}"/>
          </ac:picMkLst>
        </pc:picChg>
        <pc:picChg chg="add mod ord">
          <ac:chgData name="Manish Sharma" userId="97d895ad-8d7a-4884-8c18-743afd731b6f" providerId="ADAL" clId="{05825897-659E-4E0E-84E5-88D5116C9B00}" dt="2020-10-07T02:10:16.661" v="5835" actId="167"/>
          <ac:picMkLst>
            <pc:docMk/>
            <pc:sldMk cId="1282065873" sldId="458"/>
            <ac:picMk id="7" creationId="{5E2C39BF-6CC7-4B11-9535-FA8F9662F1CF}"/>
          </ac:picMkLst>
        </pc:picChg>
      </pc:sldChg>
      <pc:sldChg chg="addSp delSp modSp mod">
        <pc:chgData name="Manish Sharma" userId="97d895ad-8d7a-4884-8c18-743afd731b6f" providerId="ADAL" clId="{05825897-659E-4E0E-84E5-88D5116C9B00}" dt="2020-10-07T02:29:30.614" v="7060" actId="1038"/>
        <pc:sldMkLst>
          <pc:docMk/>
          <pc:sldMk cId="2955311574" sldId="459"/>
        </pc:sldMkLst>
        <pc:spChg chg="del">
          <ac:chgData name="Manish Sharma" userId="97d895ad-8d7a-4884-8c18-743afd731b6f" providerId="ADAL" clId="{05825897-659E-4E0E-84E5-88D5116C9B00}" dt="2020-10-07T02:19:16.853" v="6710" actId="478"/>
          <ac:spMkLst>
            <pc:docMk/>
            <pc:sldMk cId="2955311574" sldId="459"/>
            <ac:spMk id="4" creationId="{C58A7A76-ED1F-4ED2-98E2-DDAA20093EDE}"/>
          </ac:spMkLst>
        </pc:spChg>
        <pc:spChg chg="del">
          <ac:chgData name="Manish Sharma" userId="97d895ad-8d7a-4884-8c18-743afd731b6f" providerId="ADAL" clId="{05825897-659E-4E0E-84E5-88D5116C9B00}" dt="2020-10-07T02:20:32.843" v="6725" actId="478"/>
          <ac:spMkLst>
            <pc:docMk/>
            <pc:sldMk cId="2955311574" sldId="459"/>
            <ac:spMk id="7" creationId="{643FC8FB-4CBD-4A0E-8964-5EA2494D7CF0}"/>
          </ac:spMkLst>
        </pc:spChg>
        <pc:spChg chg="del">
          <ac:chgData name="Manish Sharma" userId="97d895ad-8d7a-4884-8c18-743afd731b6f" providerId="ADAL" clId="{05825897-659E-4E0E-84E5-88D5116C9B00}" dt="2020-10-07T02:20:31.550" v="6724" actId="478"/>
          <ac:spMkLst>
            <pc:docMk/>
            <pc:sldMk cId="2955311574" sldId="459"/>
            <ac:spMk id="8" creationId="{C13C9D30-AC54-4802-93EB-0373FBE15DEF}"/>
          </ac:spMkLst>
        </pc:spChg>
        <pc:spChg chg="mod">
          <ac:chgData name="Manish Sharma" userId="97d895ad-8d7a-4884-8c18-743afd731b6f" providerId="ADAL" clId="{05825897-659E-4E0E-84E5-88D5116C9B00}" dt="2020-10-07T02:20:39.160" v="6727" actId="14100"/>
          <ac:spMkLst>
            <pc:docMk/>
            <pc:sldMk cId="2955311574" sldId="459"/>
            <ac:spMk id="9" creationId="{22047666-D773-4F74-8C4D-6433AFD0A8C5}"/>
          </ac:spMkLst>
        </pc:spChg>
        <pc:spChg chg="add mod">
          <ac:chgData name="Manish Sharma" userId="97d895ad-8d7a-4884-8c18-743afd731b6f" providerId="ADAL" clId="{05825897-659E-4E0E-84E5-88D5116C9B00}" dt="2020-10-07T02:20:47.445" v="6730" actId="14100"/>
          <ac:spMkLst>
            <pc:docMk/>
            <pc:sldMk cId="2955311574" sldId="459"/>
            <ac:spMk id="13" creationId="{C140A395-9ADD-4ED8-BC65-6A8E692F9C99}"/>
          </ac:spMkLst>
        </pc:spChg>
        <pc:spChg chg="mod">
          <ac:chgData name="Manish Sharma" userId="97d895ad-8d7a-4884-8c18-743afd731b6f" providerId="ADAL" clId="{05825897-659E-4E0E-84E5-88D5116C9B00}" dt="2020-10-07T02:29:16.982" v="7010" actId="20577"/>
          <ac:spMkLst>
            <pc:docMk/>
            <pc:sldMk cId="2955311574" sldId="459"/>
            <ac:spMk id="15" creationId="{7F764852-256F-49DF-B500-7AB466E1A418}"/>
          </ac:spMkLst>
        </pc:spChg>
        <pc:spChg chg="mod">
          <ac:chgData name="Manish Sharma" userId="97d895ad-8d7a-4884-8c18-743afd731b6f" providerId="ADAL" clId="{05825897-659E-4E0E-84E5-88D5116C9B00}" dt="2020-10-07T02:19:27.318" v="6714" actId="14100"/>
          <ac:spMkLst>
            <pc:docMk/>
            <pc:sldMk cId="2955311574" sldId="459"/>
            <ac:spMk id="26" creationId="{57104545-F8E9-434B-A0B6-77A034D113B9}"/>
          </ac:spMkLst>
        </pc:spChg>
        <pc:spChg chg="mod">
          <ac:chgData name="Manish Sharma" userId="97d895ad-8d7a-4884-8c18-743afd731b6f" providerId="ADAL" clId="{05825897-659E-4E0E-84E5-88D5116C9B00}" dt="2020-10-07T02:19:39.478" v="6716" actId="207"/>
          <ac:spMkLst>
            <pc:docMk/>
            <pc:sldMk cId="2955311574" sldId="459"/>
            <ac:spMk id="28" creationId="{DE1FCFDF-848D-4479-B9CD-70D6D0FD7B86}"/>
          </ac:spMkLst>
        </pc:spChg>
        <pc:spChg chg="mod">
          <ac:chgData name="Manish Sharma" userId="97d895ad-8d7a-4884-8c18-743afd731b6f" providerId="ADAL" clId="{05825897-659E-4E0E-84E5-88D5116C9B00}" dt="2020-10-07T02:19:27.318" v="6714" actId="14100"/>
          <ac:spMkLst>
            <pc:docMk/>
            <pc:sldMk cId="2955311574" sldId="459"/>
            <ac:spMk id="29" creationId="{4DA7A29A-D95C-40B8-A5EF-CBEBDD3540F4}"/>
          </ac:spMkLst>
        </pc:spChg>
        <pc:spChg chg="mod">
          <ac:chgData name="Manish Sharma" userId="97d895ad-8d7a-4884-8c18-743afd731b6f" providerId="ADAL" clId="{05825897-659E-4E0E-84E5-88D5116C9B00}" dt="2020-10-07T02:19:27.318" v="6714" actId="14100"/>
          <ac:spMkLst>
            <pc:docMk/>
            <pc:sldMk cId="2955311574" sldId="459"/>
            <ac:spMk id="30" creationId="{5346693D-031F-47AA-B5A4-A8133A9642B0}"/>
          </ac:spMkLst>
        </pc:spChg>
        <pc:spChg chg="mod">
          <ac:chgData name="Manish Sharma" userId="97d895ad-8d7a-4884-8c18-743afd731b6f" providerId="ADAL" clId="{05825897-659E-4E0E-84E5-88D5116C9B00}" dt="2020-10-07T02:19:27.318" v="6714" actId="14100"/>
          <ac:spMkLst>
            <pc:docMk/>
            <pc:sldMk cId="2955311574" sldId="459"/>
            <ac:spMk id="31" creationId="{CE2BF30C-948B-4A4B-80B6-EB64BBBBC1C2}"/>
          </ac:spMkLst>
        </pc:spChg>
        <pc:spChg chg="mod">
          <ac:chgData name="Manish Sharma" userId="97d895ad-8d7a-4884-8c18-743afd731b6f" providerId="ADAL" clId="{05825897-659E-4E0E-84E5-88D5116C9B00}" dt="2020-10-07T02:29:30.614" v="7060" actId="1038"/>
          <ac:spMkLst>
            <pc:docMk/>
            <pc:sldMk cId="2955311574" sldId="459"/>
            <ac:spMk id="49" creationId="{4593EDF8-B17E-4F23-96F2-7B57265E27C7}"/>
          </ac:spMkLst>
        </pc:spChg>
        <pc:grpChg chg="mod">
          <ac:chgData name="Manish Sharma" userId="97d895ad-8d7a-4884-8c18-743afd731b6f" providerId="ADAL" clId="{05825897-659E-4E0E-84E5-88D5116C9B00}" dt="2020-10-07T02:19:32.715" v="6715" actId="208"/>
          <ac:grpSpMkLst>
            <pc:docMk/>
            <pc:sldMk cId="2955311574" sldId="459"/>
            <ac:grpSpMk id="25" creationId="{36C41730-27C6-4116-A7A5-CD6A25361E67}"/>
          </ac:grpSpMkLst>
        </pc:grpChg>
        <pc:grpChg chg="mod">
          <ac:chgData name="Manish Sharma" userId="97d895ad-8d7a-4884-8c18-743afd731b6f" providerId="ADAL" clId="{05825897-659E-4E0E-84E5-88D5116C9B00}" dt="2020-10-07T02:19:27.318" v="6714" actId="14100"/>
          <ac:grpSpMkLst>
            <pc:docMk/>
            <pc:sldMk cId="2955311574" sldId="459"/>
            <ac:grpSpMk id="27" creationId="{0665A04C-8840-44E3-95C8-BFB8019B6818}"/>
          </ac:grpSpMkLst>
        </pc:grpChg>
        <pc:graphicFrameChg chg="modGraphic">
          <ac:chgData name="Manish Sharma" userId="97d895ad-8d7a-4884-8c18-743afd731b6f" providerId="ADAL" clId="{05825897-659E-4E0E-84E5-88D5116C9B00}" dt="2020-10-07T02:25:22.831" v="6748" actId="20577"/>
          <ac:graphicFrameMkLst>
            <pc:docMk/>
            <pc:sldMk cId="2955311574" sldId="459"/>
            <ac:graphicFrameMk id="10" creationId="{96D55B45-114A-47EF-B79F-982176EA292D}"/>
          </ac:graphicFrameMkLst>
        </pc:graphicFrameChg>
        <pc:picChg chg="del">
          <ac:chgData name="Manish Sharma" userId="97d895ad-8d7a-4884-8c18-743afd731b6f" providerId="ADAL" clId="{05825897-659E-4E0E-84E5-88D5116C9B00}" dt="2020-10-07T02:20:15.977" v="6717" actId="478"/>
          <ac:picMkLst>
            <pc:docMk/>
            <pc:sldMk cId="2955311574" sldId="459"/>
            <ac:picMk id="6" creationId="{E32955EC-F09A-4FA4-BFC2-5BDE934E0B84}"/>
          </ac:picMkLst>
        </pc:picChg>
        <pc:picChg chg="add mod ord">
          <ac:chgData name="Manish Sharma" userId="97d895ad-8d7a-4884-8c18-743afd731b6f" providerId="ADAL" clId="{05825897-659E-4E0E-84E5-88D5116C9B00}" dt="2020-10-07T02:20:29.124" v="6723" actId="167"/>
          <ac:picMkLst>
            <pc:docMk/>
            <pc:sldMk cId="2955311574" sldId="459"/>
            <ac:picMk id="11" creationId="{59816C4E-B122-48CB-A7B2-D04AE1CC3CAB}"/>
          </ac:picMkLst>
        </pc:picChg>
      </pc:sldChg>
      <pc:sldChg chg="delSp modSp mod">
        <pc:chgData name="Manish Sharma" userId="97d895ad-8d7a-4884-8c18-743afd731b6f" providerId="ADAL" clId="{05825897-659E-4E0E-84E5-88D5116C9B00}" dt="2020-10-07T03:33:37.149" v="9235" actId="20577"/>
        <pc:sldMkLst>
          <pc:docMk/>
          <pc:sldMk cId="1606788452" sldId="463"/>
        </pc:sldMkLst>
        <pc:spChg chg="mod">
          <ac:chgData name="Manish Sharma" userId="97d895ad-8d7a-4884-8c18-743afd731b6f" providerId="ADAL" clId="{05825897-659E-4E0E-84E5-88D5116C9B00}" dt="2020-10-06T23:20:07.360" v="4032" actId="20577"/>
          <ac:spMkLst>
            <pc:docMk/>
            <pc:sldMk cId="1606788452" sldId="463"/>
            <ac:spMk id="2" creationId="{00000000-0000-0000-0000-000000000000}"/>
          </ac:spMkLst>
        </pc:spChg>
        <pc:spChg chg="mod">
          <ac:chgData name="Manish Sharma" userId="97d895ad-8d7a-4884-8c18-743afd731b6f" providerId="ADAL" clId="{05825897-659E-4E0E-84E5-88D5116C9B00}" dt="2020-10-07T03:33:37.149" v="9235" actId="20577"/>
          <ac:spMkLst>
            <pc:docMk/>
            <pc:sldMk cId="1606788452" sldId="463"/>
            <ac:spMk id="5" creationId="{57DA03D2-BDDD-4B29-A79F-3BCEC511705B}"/>
          </ac:spMkLst>
        </pc:spChg>
        <pc:spChg chg="del">
          <ac:chgData name="Manish Sharma" userId="97d895ad-8d7a-4884-8c18-743afd731b6f" providerId="ADAL" clId="{05825897-659E-4E0E-84E5-88D5116C9B00}" dt="2020-10-06T23:19:52.144" v="4031" actId="478"/>
          <ac:spMkLst>
            <pc:docMk/>
            <pc:sldMk cId="1606788452" sldId="463"/>
            <ac:spMk id="6" creationId="{41B138F5-9B75-4BFA-9720-0CAC3E7BED6C}"/>
          </ac:spMkLst>
        </pc:spChg>
        <pc:spChg chg="mod">
          <ac:chgData name="Manish Sharma" userId="97d895ad-8d7a-4884-8c18-743afd731b6f" providerId="ADAL" clId="{05825897-659E-4E0E-84E5-88D5116C9B00}" dt="2020-10-06T22:53:42.315" v="4010" actId="20577"/>
          <ac:spMkLst>
            <pc:docMk/>
            <pc:sldMk cId="1606788452" sldId="463"/>
            <ac:spMk id="14" creationId="{3ADA01F1-3B4B-4FAA-84E6-17ACC70140F8}"/>
          </ac:spMkLst>
        </pc:spChg>
        <pc:spChg chg="mod">
          <ac:chgData name="Manish Sharma" userId="97d895ad-8d7a-4884-8c18-743afd731b6f" providerId="ADAL" clId="{05825897-659E-4E0E-84E5-88D5116C9B00}" dt="2020-10-06T22:54:02.697" v="4014" actId="1076"/>
          <ac:spMkLst>
            <pc:docMk/>
            <pc:sldMk cId="1606788452" sldId="463"/>
            <ac:spMk id="25" creationId="{2A68DE28-217C-4D58-BA92-1AC7776A922E}"/>
          </ac:spMkLst>
        </pc:spChg>
        <pc:spChg chg="mod">
          <ac:chgData name="Manish Sharma" userId="97d895ad-8d7a-4884-8c18-743afd731b6f" providerId="ADAL" clId="{05825897-659E-4E0E-84E5-88D5116C9B00}" dt="2020-10-06T22:54:27.068" v="4019" actId="14100"/>
          <ac:spMkLst>
            <pc:docMk/>
            <pc:sldMk cId="1606788452" sldId="463"/>
            <ac:spMk id="27" creationId="{813FD8F9-6E60-45F9-A8B5-18176FF3E434}"/>
          </ac:spMkLst>
        </pc:spChg>
        <pc:spChg chg="mod">
          <ac:chgData name="Manish Sharma" userId="97d895ad-8d7a-4884-8c18-743afd731b6f" providerId="ADAL" clId="{05825897-659E-4E0E-84E5-88D5116C9B00}" dt="2020-10-06T22:54:30.490" v="4020" actId="14100"/>
          <ac:spMkLst>
            <pc:docMk/>
            <pc:sldMk cId="1606788452" sldId="463"/>
            <ac:spMk id="29" creationId="{72CB840D-447D-492C-A14A-718942E7B821}"/>
          </ac:spMkLst>
        </pc:spChg>
        <pc:spChg chg="mod">
          <ac:chgData name="Manish Sharma" userId="97d895ad-8d7a-4884-8c18-743afd731b6f" providerId="ADAL" clId="{05825897-659E-4E0E-84E5-88D5116C9B00}" dt="2020-10-06T22:52:08.213" v="3980" actId="20577"/>
          <ac:spMkLst>
            <pc:docMk/>
            <pc:sldMk cId="1606788452" sldId="463"/>
            <ac:spMk id="56" creationId="{3280F2A9-5208-4D26-B8F6-7B5775F8A555}"/>
          </ac:spMkLst>
        </pc:spChg>
        <pc:graphicFrameChg chg="mod modGraphic">
          <ac:chgData name="Manish Sharma" userId="97d895ad-8d7a-4884-8c18-743afd731b6f" providerId="ADAL" clId="{05825897-659E-4E0E-84E5-88D5116C9B00}" dt="2020-10-06T22:54:57.614" v="4022"/>
          <ac:graphicFrameMkLst>
            <pc:docMk/>
            <pc:sldMk cId="1606788452" sldId="463"/>
            <ac:graphicFrameMk id="53" creationId="{E5833FD7-3504-4AE9-9C58-79A4D525D16B}"/>
          </ac:graphicFrameMkLst>
        </pc:graphicFrameChg>
        <pc:graphicFrameChg chg="mod modGraphic">
          <ac:chgData name="Manish Sharma" userId="97d895ad-8d7a-4884-8c18-743afd731b6f" providerId="ADAL" clId="{05825897-659E-4E0E-84E5-88D5116C9B00}" dt="2020-10-06T22:55:25.032" v="4026"/>
          <ac:graphicFrameMkLst>
            <pc:docMk/>
            <pc:sldMk cId="1606788452" sldId="463"/>
            <ac:graphicFrameMk id="55" creationId="{A7A9C0A9-652B-44C1-AFD0-CA965CA34DBB}"/>
          </ac:graphicFrameMkLst>
        </pc:graphicFrameChg>
        <pc:cxnChg chg="mod">
          <ac:chgData name="Manish Sharma" userId="97d895ad-8d7a-4884-8c18-743afd731b6f" providerId="ADAL" clId="{05825897-659E-4E0E-84E5-88D5116C9B00}" dt="2020-10-06T22:54:02.697" v="4014" actId="1076"/>
          <ac:cxnSpMkLst>
            <pc:docMk/>
            <pc:sldMk cId="1606788452" sldId="463"/>
            <ac:cxnSpMk id="26" creationId="{E0400683-ABD0-44CD-A290-42A6F4B8ADBF}"/>
          </ac:cxnSpMkLst>
        </pc:cxnChg>
        <pc:cxnChg chg="mod">
          <ac:chgData name="Manish Sharma" userId="97d895ad-8d7a-4884-8c18-743afd731b6f" providerId="ADAL" clId="{05825897-659E-4E0E-84E5-88D5116C9B00}" dt="2020-10-06T22:54:27.068" v="4019" actId="14100"/>
          <ac:cxnSpMkLst>
            <pc:docMk/>
            <pc:sldMk cId="1606788452" sldId="463"/>
            <ac:cxnSpMk id="28" creationId="{7E176FA6-7F35-4FD5-BCD2-7C2136CFFAA3}"/>
          </ac:cxnSpMkLst>
        </pc:cxnChg>
        <pc:cxnChg chg="mod">
          <ac:chgData name="Manish Sharma" userId="97d895ad-8d7a-4884-8c18-743afd731b6f" providerId="ADAL" clId="{05825897-659E-4E0E-84E5-88D5116C9B00}" dt="2020-10-06T22:54:30.490" v="4020" actId="14100"/>
          <ac:cxnSpMkLst>
            <pc:docMk/>
            <pc:sldMk cId="1606788452" sldId="463"/>
            <ac:cxnSpMk id="30" creationId="{0ED2CC6C-47B4-4325-8655-C3CC64AEE9D2}"/>
          </ac:cxnSpMkLst>
        </pc:cxnChg>
      </pc:sldChg>
      <pc:sldChg chg="addSp delSp modSp mod">
        <pc:chgData name="Manish Sharma" userId="97d895ad-8d7a-4884-8c18-743afd731b6f" providerId="ADAL" clId="{05825897-659E-4E0E-84E5-88D5116C9B00}" dt="2020-10-07T03:01:07.864" v="7969"/>
        <pc:sldMkLst>
          <pc:docMk/>
          <pc:sldMk cId="1229755797" sldId="464"/>
        </pc:sldMkLst>
        <pc:spChg chg="del">
          <ac:chgData name="Manish Sharma" userId="97d895ad-8d7a-4884-8c18-743afd731b6f" providerId="ADAL" clId="{05825897-659E-4E0E-84E5-88D5116C9B00}" dt="2020-10-06T22:48:55.071" v="3966" actId="478"/>
          <ac:spMkLst>
            <pc:docMk/>
            <pc:sldMk cId="1229755797" sldId="464"/>
            <ac:spMk id="3" creationId="{3AC7C1CD-954F-4789-BAD9-A2DA65286073}"/>
          </ac:spMkLst>
        </pc:spChg>
        <pc:spChg chg="del">
          <ac:chgData name="Manish Sharma" userId="97d895ad-8d7a-4884-8c18-743afd731b6f" providerId="ADAL" clId="{05825897-659E-4E0E-84E5-88D5116C9B00}" dt="2020-10-06T22:46:37.369" v="3886" actId="478"/>
          <ac:spMkLst>
            <pc:docMk/>
            <pc:sldMk cId="1229755797" sldId="464"/>
            <ac:spMk id="6" creationId="{1B139A15-2A8B-435B-9E43-95ED4D4F86D0}"/>
          </ac:spMkLst>
        </pc:spChg>
        <pc:spChg chg="del">
          <ac:chgData name="Manish Sharma" userId="97d895ad-8d7a-4884-8c18-743afd731b6f" providerId="ADAL" clId="{05825897-659E-4E0E-84E5-88D5116C9B00}" dt="2020-10-06T22:46:37.369" v="3886" actId="478"/>
          <ac:spMkLst>
            <pc:docMk/>
            <pc:sldMk cId="1229755797" sldId="464"/>
            <ac:spMk id="7" creationId="{57676C1D-5CD7-4587-9C44-8245D75CC612}"/>
          </ac:spMkLst>
        </pc:spChg>
        <pc:spChg chg="mod">
          <ac:chgData name="Manish Sharma" userId="97d895ad-8d7a-4884-8c18-743afd731b6f" providerId="ADAL" clId="{05825897-659E-4E0E-84E5-88D5116C9B00}" dt="2020-10-06T22:47:05.465" v="3904" actId="20577"/>
          <ac:spMkLst>
            <pc:docMk/>
            <pc:sldMk cId="1229755797" sldId="464"/>
            <ac:spMk id="16" creationId="{90E40009-D7A5-4621-8204-224ABC009747}"/>
          </ac:spMkLst>
        </pc:spChg>
        <pc:spChg chg="mod">
          <ac:chgData name="Manish Sharma" userId="97d895ad-8d7a-4884-8c18-743afd731b6f" providerId="ADAL" clId="{05825897-659E-4E0E-84E5-88D5116C9B00}" dt="2020-10-06T22:48:39.746" v="3961" actId="20577"/>
          <ac:spMkLst>
            <pc:docMk/>
            <pc:sldMk cId="1229755797" sldId="464"/>
            <ac:spMk id="20" creationId="{00000000-0000-0000-0000-000000000000}"/>
          </ac:spMkLst>
        </pc:spChg>
        <pc:spChg chg="mod">
          <ac:chgData name="Manish Sharma" userId="97d895ad-8d7a-4884-8c18-743afd731b6f" providerId="ADAL" clId="{05825897-659E-4E0E-84E5-88D5116C9B00}" dt="2020-10-06T22:47:43.224" v="3917" actId="20577"/>
          <ac:spMkLst>
            <pc:docMk/>
            <pc:sldMk cId="1229755797" sldId="464"/>
            <ac:spMk id="24" creationId="{323E64DC-A6B0-4990-9F4D-703175765359}"/>
          </ac:spMkLst>
        </pc:spChg>
        <pc:spChg chg="mod">
          <ac:chgData name="Manish Sharma" userId="97d895ad-8d7a-4884-8c18-743afd731b6f" providerId="ADAL" clId="{05825897-659E-4E0E-84E5-88D5116C9B00}" dt="2020-10-06T22:47:12.752" v="3905" actId="164"/>
          <ac:spMkLst>
            <pc:docMk/>
            <pc:sldMk cId="1229755797" sldId="464"/>
            <ac:spMk id="25" creationId="{077381A9-23E6-4F3E-8768-8744299F355D}"/>
          </ac:spMkLst>
        </pc:spChg>
        <pc:spChg chg="mod">
          <ac:chgData name="Manish Sharma" userId="97d895ad-8d7a-4884-8c18-743afd731b6f" providerId="ADAL" clId="{05825897-659E-4E0E-84E5-88D5116C9B00}" dt="2020-10-06T22:46:44.745" v="3888" actId="164"/>
          <ac:spMkLst>
            <pc:docMk/>
            <pc:sldMk cId="1229755797" sldId="464"/>
            <ac:spMk id="26" creationId="{AEB16DAA-5611-403C-B2AC-BDBDBC7C939C}"/>
          </ac:spMkLst>
        </pc:spChg>
        <pc:spChg chg="mod">
          <ac:chgData name="Manish Sharma" userId="97d895ad-8d7a-4884-8c18-743afd731b6f" providerId="ADAL" clId="{05825897-659E-4E0E-84E5-88D5116C9B00}" dt="2020-10-06T22:47:12.752" v="3905" actId="164"/>
          <ac:spMkLst>
            <pc:docMk/>
            <pc:sldMk cId="1229755797" sldId="464"/>
            <ac:spMk id="27" creationId="{E714E7CA-AF0C-41D3-8351-BCEFA128D2C8}"/>
          </ac:spMkLst>
        </pc:spChg>
        <pc:spChg chg="mod">
          <ac:chgData name="Manish Sharma" userId="97d895ad-8d7a-4884-8c18-743afd731b6f" providerId="ADAL" clId="{05825897-659E-4E0E-84E5-88D5116C9B00}" dt="2020-10-06T22:46:44.745" v="3888" actId="164"/>
          <ac:spMkLst>
            <pc:docMk/>
            <pc:sldMk cId="1229755797" sldId="464"/>
            <ac:spMk id="28" creationId="{60809691-D8F4-466E-AE0B-66584789A72C}"/>
          </ac:spMkLst>
        </pc:spChg>
        <pc:spChg chg="mod">
          <ac:chgData name="Manish Sharma" userId="97d895ad-8d7a-4884-8c18-743afd731b6f" providerId="ADAL" clId="{05825897-659E-4E0E-84E5-88D5116C9B00}" dt="2020-10-06T22:48:51.911" v="3965" actId="20577"/>
          <ac:spMkLst>
            <pc:docMk/>
            <pc:sldMk cId="1229755797" sldId="464"/>
            <ac:spMk id="30" creationId="{BC68C9EA-24FC-4D79-A0C1-213D45B72034}"/>
          </ac:spMkLst>
        </pc:spChg>
        <pc:grpChg chg="add mod">
          <ac:chgData name="Manish Sharma" userId="97d895ad-8d7a-4884-8c18-743afd731b6f" providerId="ADAL" clId="{05825897-659E-4E0E-84E5-88D5116C9B00}" dt="2020-10-06T22:49:08.775" v="3969" actId="1076"/>
          <ac:grpSpMkLst>
            <pc:docMk/>
            <pc:sldMk cId="1229755797" sldId="464"/>
            <ac:grpSpMk id="5" creationId="{AFDF0E78-C151-46DC-87BC-98ACAA43CF8C}"/>
          </ac:grpSpMkLst>
        </pc:grpChg>
        <pc:grpChg chg="add mod">
          <ac:chgData name="Manish Sharma" userId="97d895ad-8d7a-4884-8c18-743afd731b6f" providerId="ADAL" clId="{05825897-659E-4E0E-84E5-88D5116C9B00}" dt="2020-10-06T22:49:04.776" v="3968" actId="1076"/>
          <ac:grpSpMkLst>
            <pc:docMk/>
            <pc:sldMk cId="1229755797" sldId="464"/>
            <ac:grpSpMk id="8" creationId="{7710BF7E-930D-4A28-8890-D4BB65DB9950}"/>
          </ac:grpSpMkLst>
        </pc:grpChg>
        <pc:grpChg chg="mod">
          <ac:chgData name="Manish Sharma" userId="97d895ad-8d7a-4884-8c18-743afd731b6f" providerId="ADAL" clId="{05825897-659E-4E0E-84E5-88D5116C9B00}" dt="2020-10-06T22:47:12.752" v="3905" actId="164"/>
          <ac:grpSpMkLst>
            <pc:docMk/>
            <pc:sldMk cId="1229755797" sldId="464"/>
            <ac:grpSpMk id="14" creationId="{ADA30913-405A-42C6-93ED-0B02E95B6119}"/>
          </ac:grpSpMkLst>
        </pc:grpChg>
        <pc:grpChg chg="mod">
          <ac:chgData name="Manish Sharma" userId="97d895ad-8d7a-4884-8c18-743afd731b6f" providerId="ADAL" clId="{05825897-659E-4E0E-84E5-88D5116C9B00}" dt="2020-10-06T22:46:44.745" v="3888" actId="164"/>
          <ac:grpSpMkLst>
            <pc:docMk/>
            <pc:sldMk cId="1229755797" sldId="464"/>
            <ac:grpSpMk id="17" creationId="{697B894C-C243-4DE6-8B71-AC7BD64D86EE}"/>
          </ac:grpSpMkLst>
        </pc:grpChg>
        <pc:grpChg chg="del">
          <ac:chgData name="Manish Sharma" userId="97d895ad-8d7a-4884-8c18-743afd731b6f" providerId="ADAL" clId="{05825897-659E-4E0E-84E5-88D5116C9B00}" dt="2020-10-06T22:46:39.312" v="3887" actId="478"/>
          <ac:grpSpMkLst>
            <pc:docMk/>
            <pc:sldMk cId="1229755797" sldId="464"/>
            <ac:grpSpMk id="33" creationId="{1CD82E41-0C61-4A46-84F3-B56BC0B373B4}"/>
          </ac:grpSpMkLst>
        </pc:grpChg>
        <pc:graphicFrameChg chg="add mod modGraphic">
          <ac:chgData name="Manish Sharma" userId="97d895ad-8d7a-4884-8c18-743afd731b6f" providerId="ADAL" clId="{05825897-659E-4E0E-84E5-88D5116C9B00}" dt="2020-10-07T03:01:07.864" v="7969"/>
          <ac:graphicFrameMkLst>
            <pc:docMk/>
            <pc:sldMk cId="1229755797" sldId="464"/>
            <ac:graphicFrameMk id="4" creationId="{B414D156-0B89-48FB-83B1-0897F301E7FD}"/>
          </ac:graphicFrameMkLst>
        </pc:graphicFrameChg>
        <pc:graphicFrameChg chg="del">
          <ac:chgData name="Manish Sharma" userId="97d895ad-8d7a-4884-8c18-743afd731b6f" providerId="ADAL" clId="{05825897-659E-4E0E-84E5-88D5116C9B00}" dt="2020-10-06T22:45:46.933" v="3877" actId="478"/>
          <ac:graphicFrameMkLst>
            <pc:docMk/>
            <pc:sldMk cId="1229755797" sldId="464"/>
            <ac:graphicFrameMk id="9" creationId="{4A41CDA9-07C2-4789-9C4A-6C35436AFA54}"/>
          </ac:graphicFrameMkLst>
        </pc:graphicFrameChg>
        <pc:graphicFrameChg chg="del">
          <ac:chgData name="Manish Sharma" userId="97d895ad-8d7a-4884-8c18-743afd731b6f" providerId="ADAL" clId="{05825897-659E-4E0E-84E5-88D5116C9B00}" dt="2020-10-06T22:48:42.267" v="3962" actId="478"/>
          <ac:graphicFrameMkLst>
            <pc:docMk/>
            <pc:sldMk cId="1229755797" sldId="464"/>
            <ac:graphicFrameMk id="10" creationId="{CAF0D890-EE77-4049-BF37-1E372A6907ED}"/>
          </ac:graphicFrameMkLst>
        </pc:graphicFrameChg>
        <pc:graphicFrameChg chg="add mod">
          <ac:chgData name="Manish Sharma" userId="97d895ad-8d7a-4884-8c18-743afd731b6f" providerId="ADAL" clId="{05825897-659E-4E0E-84E5-88D5116C9B00}" dt="2020-10-06T22:49:44.523" v="3971" actId="1076"/>
          <ac:graphicFrameMkLst>
            <pc:docMk/>
            <pc:sldMk cId="1229755797" sldId="464"/>
            <ac:graphicFrameMk id="11" creationId="{E63FD812-DB08-4984-A251-15C41BDE5F53}"/>
          </ac:graphicFrameMkLst>
        </pc:graphicFrameChg>
      </pc:sldChg>
      <pc:sldChg chg="modSp del">
        <pc:chgData name="Manish Sharma" userId="97d895ad-8d7a-4884-8c18-743afd731b6f" providerId="ADAL" clId="{05825897-659E-4E0E-84E5-88D5116C9B00}" dt="2020-10-06T23:23:09.019" v="4036" actId="47"/>
        <pc:sldMkLst>
          <pc:docMk/>
          <pc:sldMk cId="3135919075" sldId="468"/>
        </pc:sldMkLst>
        <pc:graphicFrameChg chg="mod">
          <ac:chgData name="Manish Sharma" userId="97d895ad-8d7a-4884-8c18-743afd731b6f" providerId="ADAL" clId="{05825897-659E-4E0E-84E5-88D5116C9B00}" dt="2020-10-06T23:21:10.205" v="4033"/>
          <ac:graphicFrameMkLst>
            <pc:docMk/>
            <pc:sldMk cId="3135919075" sldId="468"/>
            <ac:graphicFrameMk id="79" creationId="{6A363F86-1778-4564-BD43-5E278ECA6ED2}"/>
          </ac:graphicFrameMkLst>
        </pc:graphicFrameChg>
        <pc:graphicFrameChg chg="mod">
          <ac:chgData name="Manish Sharma" userId="97d895ad-8d7a-4884-8c18-743afd731b6f" providerId="ADAL" clId="{05825897-659E-4E0E-84E5-88D5116C9B00}" dt="2020-10-06T23:21:23.351" v="4034"/>
          <ac:graphicFrameMkLst>
            <pc:docMk/>
            <pc:sldMk cId="3135919075" sldId="468"/>
            <ac:graphicFrameMk id="87" creationId="{F4B0AEF1-759E-46F9-A4E5-3DB68C5A8F74}"/>
          </ac:graphicFrameMkLst>
        </pc:graphicFrameChg>
      </pc:sldChg>
      <pc:sldChg chg="del setBg">
        <pc:chgData name="Manish Sharma" userId="97d895ad-8d7a-4884-8c18-743afd731b6f" providerId="ADAL" clId="{05825897-659E-4E0E-84E5-88D5116C9B00}" dt="2020-10-07T03:30:36.055" v="9193" actId="47"/>
        <pc:sldMkLst>
          <pc:docMk/>
          <pc:sldMk cId="1096163664" sldId="469"/>
        </pc:sldMkLst>
      </pc:sldChg>
      <pc:sldChg chg="delSp mod">
        <pc:chgData name="Manish Sharma" userId="97d895ad-8d7a-4884-8c18-743afd731b6f" providerId="ADAL" clId="{05825897-659E-4E0E-84E5-88D5116C9B00}" dt="2020-10-06T01:01:06.740" v="3604" actId="478"/>
        <pc:sldMkLst>
          <pc:docMk/>
          <pc:sldMk cId="1684810098" sldId="481"/>
        </pc:sldMkLst>
        <pc:spChg chg="del">
          <ac:chgData name="Manish Sharma" userId="97d895ad-8d7a-4884-8c18-743afd731b6f" providerId="ADAL" clId="{05825897-659E-4E0E-84E5-88D5116C9B00}" dt="2020-10-06T01:01:06.740" v="3604" actId="478"/>
          <ac:spMkLst>
            <pc:docMk/>
            <pc:sldMk cId="1684810098" sldId="481"/>
            <ac:spMk id="5" creationId="{1C95AF35-FAC3-40C6-819B-F1A192E886D3}"/>
          </ac:spMkLst>
        </pc:spChg>
      </pc:sldChg>
      <pc:sldChg chg="modSp mod">
        <pc:chgData name="Manish Sharma" userId="97d895ad-8d7a-4884-8c18-743afd731b6f" providerId="ADAL" clId="{05825897-659E-4E0E-84E5-88D5116C9B00}" dt="2020-10-05T22:10:36.656" v="3409" actId="1076"/>
        <pc:sldMkLst>
          <pc:docMk/>
          <pc:sldMk cId="2390210828" sldId="485"/>
        </pc:sldMkLst>
        <pc:spChg chg="mod">
          <ac:chgData name="Manish Sharma" userId="97d895ad-8d7a-4884-8c18-743afd731b6f" providerId="ADAL" clId="{05825897-659E-4E0E-84E5-88D5116C9B00}" dt="2020-10-05T22:10:36.656" v="3409" actId="1076"/>
          <ac:spMkLst>
            <pc:docMk/>
            <pc:sldMk cId="2390210828" sldId="485"/>
            <ac:spMk id="32" creationId="{66C97658-9FBC-4EE3-9FD8-A943269193F6}"/>
          </ac:spMkLst>
        </pc:spChg>
        <pc:graphicFrameChg chg="mod">
          <ac:chgData name="Manish Sharma" userId="97d895ad-8d7a-4884-8c18-743afd731b6f" providerId="ADAL" clId="{05825897-659E-4E0E-84E5-88D5116C9B00}" dt="2020-10-05T22:10:36.656" v="3409" actId="1076"/>
          <ac:graphicFrameMkLst>
            <pc:docMk/>
            <pc:sldMk cId="2390210828" sldId="485"/>
            <ac:graphicFrameMk id="5" creationId="{589657B9-E00A-4014-A459-1C52FDBF3AA4}"/>
          </ac:graphicFrameMkLst>
        </pc:graphicFrameChg>
        <pc:graphicFrameChg chg="modGraphic">
          <ac:chgData name="Manish Sharma" userId="97d895ad-8d7a-4884-8c18-743afd731b6f" providerId="ADAL" clId="{05825897-659E-4E0E-84E5-88D5116C9B00}" dt="2020-10-05T22:10:29.874" v="3408" actId="403"/>
          <ac:graphicFrameMkLst>
            <pc:docMk/>
            <pc:sldMk cId="2390210828" sldId="485"/>
            <ac:graphicFrameMk id="12" creationId="{F3CAD3D4-E6BB-4B9A-A523-75143986B640}"/>
          </ac:graphicFrameMkLst>
        </pc:graphicFrameChg>
      </pc:sldChg>
      <pc:sldChg chg="modSp mod">
        <pc:chgData name="Manish Sharma" userId="97d895ad-8d7a-4884-8c18-743afd731b6f" providerId="ADAL" clId="{05825897-659E-4E0E-84E5-88D5116C9B00}" dt="2020-10-05T22:10:16.653" v="3405" actId="1076"/>
        <pc:sldMkLst>
          <pc:docMk/>
          <pc:sldMk cId="1463465618" sldId="486"/>
        </pc:sldMkLst>
        <pc:spChg chg="mod">
          <ac:chgData name="Manish Sharma" userId="97d895ad-8d7a-4884-8c18-743afd731b6f" providerId="ADAL" clId="{05825897-659E-4E0E-84E5-88D5116C9B00}" dt="2020-10-05T22:10:16.653" v="3405" actId="1076"/>
          <ac:spMkLst>
            <pc:docMk/>
            <pc:sldMk cId="1463465618" sldId="486"/>
            <ac:spMk id="32" creationId="{66C97658-9FBC-4EE3-9FD8-A943269193F6}"/>
          </ac:spMkLst>
        </pc:spChg>
        <pc:graphicFrameChg chg="mod">
          <ac:chgData name="Manish Sharma" userId="97d895ad-8d7a-4884-8c18-743afd731b6f" providerId="ADAL" clId="{05825897-659E-4E0E-84E5-88D5116C9B00}" dt="2020-10-05T22:10:16.653" v="3405" actId="1076"/>
          <ac:graphicFrameMkLst>
            <pc:docMk/>
            <pc:sldMk cId="1463465618" sldId="486"/>
            <ac:graphicFrameMk id="6" creationId="{794A44FE-BAA9-4D43-AD72-2B12D9854EB2}"/>
          </ac:graphicFrameMkLst>
        </pc:graphicFrameChg>
        <pc:graphicFrameChg chg="modGraphic">
          <ac:chgData name="Manish Sharma" userId="97d895ad-8d7a-4884-8c18-743afd731b6f" providerId="ADAL" clId="{05825897-659E-4E0E-84E5-88D5116C9B00}" dt="2020-10-05T22:10:07.778" v="3404" actId="403"/>
          <ac:graphicFrameMkLst>
            <pc:docMk/>
            <pc:sldMk cId="1463465618" sldId="486"/>
            <ac:graphicFrameMk id="12" creationId="{F3CAD3D4-E6BB-4B9A-A523-75143986B640}"/>
          </ac:graphicFrameMkLst>
        </pc:graphicFrameChg>
      </pc:sldChg>
      <pc:sldChg chg="del">
        <pc:chgData name="Manish Sharma" userId="97d895ad-8d7a-4884-8c18-743afd731b6f" providerId="ADAL" clId="{05825897-659E-4E0E-84E5-88D5116C9B00}" dt="2020-10-05T20:45:17.522" v="2735" actId="47"/>
        <pc:sldMkLst>
          <pc:docMk/>
          <pc:sldMk cId="2005443533" sldId="487"/>
        </pc:sldMkLst>
      </pc:sldChg>
      <pc:sldChg chg="delSp del mod">
        <pc:chgData name="Manish Sharma" userId="97d895ad-8d7a-4884-8c18-743afd731b6f" providerId="ADAL" clId="{05825897-659E-4E0E-84E5-88D5116C9B00}" dt="2020-10-06T00:57:46.551" v="3589" actId="47"/>
        <pc:sldMkLst>
          <pc:docMk/>
          <pc:sldMk cId="1957860025" sldId="488"/>
        </pc:sldMkLst>
        <pc:spChg chg="del">
          <ac:chgData name="Manish Sharma" userId="97d895ad-8d7a-4884-8c18-743afd731b6f" providerId="ADAL" clId="{05825897-659E-4E0E-84E5-88D5116C9B00}" dt="2020-10-04T19:03:56.142" v="21" actId="478"/>
          <ac:spMkLst>
            <pc:docMk/>
            <pc:sldMk cId="1957860025" sldId="488"/>
            <ac:spMk id="7" creationId="{BDE45ABA-C59F-4E4B-8B6E-2CCEC6D64441}"/>
          </ac:spMkLst>
        </pc:spChg>
        <pc:spChg chg="del">
          <ac:chgData name="Manish Sharma" userId="97d895ad-8d7a-4884-8c18-743afd731b6f" providerId="ADAL" clId="{05825897-659E-4E0E-84E5-88D5116C9B00}" dt="2020-10-04T19:03:57.805" v="22" actId="478"/>
          <ac:spMkLst>
            <pc:docMk/>
            <pc:sldMk cId="1957860025" sldId="488"/>
            <ac:spMk id="8" creationId="{C0A9BC08-A2CF-49A8-96E8-FB143372C7C9}"/>
          </ac:spMkLst>
        </pc:spChg>
        <pc:spChg chg="del">
          <ac:chgData name="Manish Sharma" userId="97d895ad-8d7a-4884-8c18-743afd731b6f" providerId="ADAL" clId="{05825897-659E-4E0E-84E5-88D5116C9B00}" dt="2020-10-04T19:03:48.777" v="16" actId="478"/>
          <ac:spMkLst>
            <pc:docMk/>
            <pc:sldMk cId="1957860025" sldId="488"/>
            <ac:spMk id="10" creationId="{FE7D522E-34E6-4464-A8B8-CC031AA95B2B}"/>
          </ac:spMkLst>
        </pc:spChg>
        <pc:spChg chg="del">
          <ac:chgData name="Manish Sharma" userId="97d895ad-8d7a-4884-8c18-743afd731b6f" providerId="ADAL" clId="{05825897-659E-4E0E-84E5-88D5116C9B00}" dt="2020-10-04T19:04:01.972" v="25" actId="478"/>
          <ac:spMkLst>
            <pc:docMk/>
            <pc:sldMk cId="1957860025" sldId="488"/>
            <ac:spMk id="11" creationId="{DC50922F-CFFF-4B96-A6ED-860BC1F17FBB}"/>
          </ac:spMkLst>
        </pc:spChg>
        <pc:spChg chg="del">
          <ac:chgData name="Manish Sharma" userId="97d895ad-8d7a-4884-8c18-743afd731b6f" providerId="ADAL" clId="{05825897-659E-4E0E-84E5-88D5116C9B00}" dt="2020-10-04T19:03:59.223" v="23" actId="478"/>
          <ac:spMkLst>
            <pc:docMk/>
            <pc:sldMk cId="1957860025" sldId="488"/>
            <ac:spMk id="12" creationId="{79ECE9EC-37F2-4955-91DB-DA2B670E9D4C}"/>
          </ac:spMkLst>
        </pc:spChg>
        <pc:spChg chg="del">
          <ac:chgData name="Manish Sharma" userId="97d895ad-8d7a-4884-8c18-743afd731b6f" providerId="ADAL" clId="{05825897-659E-4E0E-84E5-88D5116C9B00}" dt="2020-10-04T19:04:03.277" v="26" actId="478"/>
          <ac:spMkLst>
            <pc:docMk/>
            <pc:sldMk cId="1957860025" sldId="488"/>
            <ac:spMk id="13" creationId="{BB5CDEF3-212B-4FD5-9B78-38D4DF86DBDD}"/>
          </ac:spMkLst>
        </pc:spChg>
        <pc:spChg chg="del">
          <ac:chgData name="Manish Sharma" userId="97d895ad-8d7a-4884-8c18-743afd731b6f" providerId="ADAL" clId="{05825897-659E-4E0E-84E5-88D5116C9B00}" dt="2020-10-04T19:03:47.216" v="15" actId="478"/>
          <ac:spMkLst>
            <pc:docMk/>
            <pc:sldMk cId="1957860025" sldId="488"/>
            <ac:spMk id="14" creationId="{1FAA7961-1E24-4C0B-9ABE-65F06DD07E5C}"/>
          </ac:spMkLst>
        </pc:spChg>
        <pc:spChg chg="del">
          <ac:chgData name="Manish Sharma" userId="97d895ad-8d7a-4884-8c18-743afd731b6f" providerId="ADAL" clId="{05825897-659E-4E0E-84E5-88D5116C9B00}" dt="2020-10-04T19:03:50.029" v="17" actId="478"/>
          <ac:spMkLst>
            <pc:docMk/>
            <pc:sldMk cId="1957860025" sldId="488"/>
            <ac:spMk id="15" creationId="{B1483C84-9B1F-475D-9C51-D59284D92006}"/>
          </ac:spMkLst>
        </pc:spChg>
        <pc:spChg chg="del">
          <ac:chgData name="Manish Sharma" userId="97d895ad-8d7a-4884-8c18-743afd731b6f" providerId="ADAL" clId="{05825897-659E-4E0E-84E5-88D5116C9B00}" dt="2020-10-04T19:03:52.261" v="19" actId="478"/>
          <ac:spMkLst>
            <pc:docMk/>
            <pc:sldMk cId="1957860025" sldId="488"/>
            <ac:spMk id="28" creationId="{DEFB6A02-A663-41AA-B58F-4026D3013428}"/>
          </ac:spMkLst>
        </pc:spChg>
        <pc:spChg chg="del">
          <ac:chgData name="Manish Sharma" userId="97d895ad-8d7a-4884-8c18-743afd731b6f" providerId="ADAL" clId="{05825897-659E-4E0E-84E5-88D5116C9B00}" dt="2020-10-04T19:04:00.728" v="24" actId="478"/>
          <ac:spMkLst>
            <pc:docMk/>
            <pc:sldMk cId="1957860025" sldId="488"/>
            <ac:spMk id="29" creationId="{CEB1C884-59CA-4B7D-998D-129AEAA3A239}"/>
          </ac:spMkLst>
        </pc:spChg>
        <pc:spChg chg="del">
          <ac:chgData name="Manish Sharma" userId="97d895ad-8d7a-4884-8c18-743afd731b6f" providerId="ADAL" clId="{05825897-659E-4E0E-84E5-88D5116C9B00}" dt="2020-10-04T19:03:51.349" v="18" actId="478"/>
          <ac:spMkLst>
            <pc:docMk/>
            <pc:sldMk cId="1957860025" sldId="488"/>
            <ac:spMk id="30" creationId="{9BC28585-62BA-4B67-A457-16C3FAF69D46}"/>
          </ac:spMkLst>
        </pc:spChg>
        <pc:spChg chg="del">
          <ac:chgData name="Manish Sharma" userId="97d895ad-8d7a-4884-8c18-743afd731b6f" providerId="ADAL" clId="{05825897-659E-4E0E-84E5-88D5116C9B00}" dt="2020-10-04T19:03:53.556" v="20" actId="478"/>
          <ac:spMkLst>
            <pc:docMk/>
            <pc:sldMk cId="1957860025" sldId="488"/>
            <ac:spMk id="31" creationId="{6C6B8D32-B4CB-4E0C-A52E-9D1AC022AB14}"/>
          </ac:spMkLst>
        </pc:spChg>
        <pc:picChg chg="del">
          <ac:chgData name="Manish Sharma" userId="97d895ad-8d7a-4884-8c18-743afd731b6f" providerId="ADAL" clId="{05825897-659E-4E0E-84E5-88D5116C9B00}" dt="2020-10-04T19:03:31.276" v="1" actId="478"/>
          <ac:picMkLst>
            <pc:docMk/>
            <pc:sldMk cId="1957860025" sldId="488"/>
            <ac:picMk id="6" creationId="{04DB72C9-DB09-4060-91E0-0E6AE5B0F0F7}"/>
          </ac:picMkLst>
        </pc:picChg>
        <pc:cxnChg chg="del">
          <ac:chgData name="Manish Sharma" userId="97d895ad-8d7a-4884-8c18-743afd731b6f" providerId="ADAL" clId="{05825897-659E-4E0E-84E5-88D5116C9B00}" dt="2020-10-04T19:03:43.813" v="12" actId="478"/>
          <ac:cxnSpMkLst>
            <pc:docMk/>
            <pc:sldMk cId="1957860025" sldId="488"/>
            <ac:cxnSpMk id="9" creationId="{227096EE-CD50-4D22-8CE4-582CA71A8F79}"/>
          </ac:cxnSpMkLst>
        </pc:cxnChg>
        <pc:cxnChg chg="del">
          <ac:chgData name="Manish Sharma" userId="97d895ad-8d7a-4884-8c18-743afd731b6f" providerId="ADAL" clId="{05825897-659E-4E0E-84E5-88D5116C9B00}" dt="2020-10-04T19:03:36.060" v="3" actId="478"/>
          <ac:cxnSpMkLst>
            <pc:docMk/>
            <pc:sldMk cId="1957860025" sldId="488"/>
            <ac:cxnSpMk id="16" creationId="{86BFAF22-BC0E-491B-A7AA-E8D9DABF282E}"/>
          </ac:cxnSpMkLst>
        </pc:cxnChg>
        <pc:cxnChg chg="del">
          <ac:chgData name="Manish Sharma" userId="97d895ad-8d7a-4884-8c18-743afd731b6f" providerId="ADAL" clId="{05825897-659E-4E0E-84E5-88D5116C9B00}" dt="2020-10-04T19:03:37.364" v="5" actId="478"/>
          <ac:cxnSpMkLst>
            <pc:docMk/>
            <pc:sldMk cId="1957860025" sldId="488"/>
            <ac:cxnSpMk id="17" creationId="{0A7E071B-258F-4FC7-A481-402E21623D26}"/>
          </ac:cxnSpMkLst>
        </pc:cxnChg>
        <pc:cxnChg chg="del">
          <ac:chgData name="Manish Sharma" userId="97d895ad-8d7a-4884-8c18-743afd731b6f" providerId="ADAL" clId="{05825897-659E-4E0E-84E5-88D5116C9B00}" dt="2020-10-04T19:03:45.268" v="14" actId="478"/>
          <ac:cxnSpMkLst>
            <pc:docMk/>
            <pc:sldMk cId="1957860025" sldId="488"/>
            <ac:cxnSpMk id="18" creationId="{D69F846A-D975-488A-9113-FF733EE66070}"/>
          </ac:cxnSpMkLst>
        </pc:cxnChg>
        <pc:cxnChg chg="del">
          <ac:chgData name="Manish Sharma" userId="97d895ad-8d7a-4884-8c18-743afd731b6f" providerId="ADAL" clId="{05825897-659E-4E0E-84E5-88D5116C9B00}" dt="2020-10-04T19:03:41.580" v="9" actId="478"/>
          <ac:cxnSpMkLst>
            <pc:docMk/>
            <pc:sldMk cId="1957860025" sldId="488"/>
            <ac:cxnSpMk id="19" creationId="{209C31AB-A063-4B2A-8442-B80A4457870B}"/>
          </ac:cxnSpMkLst>
        </pc:cxnChg>
        <pc:cxnChg chg="del">
          <ac:chgData name="Manish Sharma" userId="97d895ad-8d7a-4884-8c18-743afd731b6f" providerId="ADAL" clId="{05825897-659E-4E0E-84E5-88D5116C9B00}" dt="2020-10-04T19:03:40.788" v="8" actId="478"/>
          <ac:cxnSpMkLst>
            <pc:docMk/>
            <pc:sldMk cId="1957860025" sldId="488"/>
            <ac:cxnSpMk id="20" creationId="{0C7612AD-1C07-47B4-9FF9-7439B85B0297}"/>
          </ac:cxnSpMkLst>
        </pc:cxnChg>
        <pc:cxnChg chg="del">
          <ac:chgData name="Manish Sharma" userId="97d895ad-8d7a-4884-8c18-743afd731b6f" providerId="ADAL" clId="{05825897-659E-4E0E-84E5-88D5116C9B00}" dt="2020-10-04T19:03:39.348" v="7" actId="478"/>
          <ac:cxnSpMkLst>
            <pc:docMk/>
            <pc:sldMk cId="1957860025" sldId="488"/>
            <ac:cxnSpMk id="21" creationId="{F8819B65-D7FB-4634-836C-BF830AD1615D}"/>
          </ac:cxnSpMkLst>
        </pc:cxnChg>
        <pc:cxnChg chg="del">
          <ac:chgData name="Manish Sharma" userId="97d895ad-8d7a-4884-8c18-743afd731b6f" providerId="ADAL" clId="{05825897-659E-4E0E-84E5-88D5116C9B00}" dt="2020-10-04T19:03:38.637" v="6" actId="478"/>
          <ac:cxnSpMkLst>
            <pc:docMk/>
            <pc:sldMk cId="1957860025" sldId="488"/>
            <ac:cxnSpMk id="22" creationId="{5655D41D-1CFD-4DE4-9B9C-7C92309664F8}"/>
          </ac:cxnSpMkLst>
        </pc:cxnChg>
        <pc:cxnChg chg="del">
          <ac:chgData name="Manish Sharma" userId="97d895ad-8d7a-4884-8c18-743afd731b6f" providerId="ADAL" clId="{05825897-659E-4E0E-84E5-88D5116C9B00}" dt="2020-10-04T19:03:43.060" v="11" actId="478"/>
          <ac:cxnSpMkLst>
            <pc:docMk/>
            <pc:sldMk cId="1957860025" sldId="488"/>
            <ac:cxnSpMk id="23" creationId="{FEAC05AA-761D-44E8-BDF3-9FA75AA3A8E2}"/>
          </ac:cxnSpMkLst>
        </pc:cxnChg>
        <pc:cxnChg chg="del">
          <ac:chgData name="Manish Sharma" userId="97d895ad-8d7a-4884-8c18-743afd731b6f" providerId="ADAL" clId="{05825897-659E-4E0E-84E5-88D5116C9B00}" dt="2020-10-04T19:03:42.452" v="10" actId="478"/>
          <ac:cxnSpMkLst>
            <pc:docMk/>
            <pc:sldMk cId="1957860025" sldId="488"/>
            <ac:cxnSpMk id="24" creationId="{593B8CCC-B631-45F7-9415-631BFDA8B802}"/>
          </ac:cxnSpMkLst>
        </pc:cxnChg>
        <pc:cxnChg chg="del">
          <ac:chgData name="Manish Sharma" userId="97d895ad-8d7a-4884-8c18-743afd731b6f" providerId="ADAL" clId="{05825897-659E-4E0E-84E5-88D5116C9B00}" dt="2020-10-04T19:03:36.616" v="4" actId="478"/>
          <ac:cxnSpMkLst>
            <pc:docMk/>
            <pc:sldMk cId="1957860025" sldId="488"/>
            <ac:cxnSpMk id="25" creationId="{60CE891C-7BD1-45C2-A4A8-6AA43E1BF8FC}"/>
          </ac:cxnSpMkLst>
        </pc:cxnChg>
        <pc:cxnChg chg="del">
          <ac:chgData name="Manish Sharma" userId="97d895ad-8d7a-4884-8c18-743afd731b6f" providerId="ADAL" clId="{05825897-659E-4E0E-84E5-88D5116C9B00}" dt="2020-10-04T19:03:44.420" v="13" actId="478"/>
          <ac:cxnSpMkLst>
            <pc:docMk/>
            <pc:sldMk cId="1957860025" sldId="488"/>
            <ac:cxnSpMk id="26" creationId="{F9AA800C-7C45-4496-A6BA-2EFC99855B59}"/>
          </ac:cxnSpMkLst>
        </pc:cxnChg>
        <pc:cxnChg chg="del">
          <ac:chgData name="Manish Sharma" userId="97d895ad-8d7a-4884-8c18-743afd731b6f" providerId="ADAL" clId="{05825897-659E-4E0E-84E5-88D5116C9B00}" dt="2020-10-04T19:03:34.787" v="2" actId="478"/>
          <ac:cxnSpMkLst>
            <pc:docMk/>
            <pc:sldMk cId="1957860025" sldId="488"/>
            <ac:cxnSpMk id="27" creationId="{B4092BAA-06AC-4679-9367-8977E280D5FF}"/>
          </ac:cxnSpMkLst>
        </pc:cxnChg>
      </pc:sldChg>
      <pc:sldChg chg="del">
        <pc:chgData name="Manish Sharma" userId="97d895ad-8d7a-4884-8c18-743afd731b6f" providerId="ADAL" clId="{05825897-659E-4E0E-84E5-88D5116C9B00}" dt="2020-10-06T00:57:43.897" v="3588" actId="47"/>
        <pc:sldMkLst>
          <pc:docMk/>
          <pc:sldMk cId="1123960982" sldId="489"/>
        </pc:sldMkLst>
      </pc:sldChg>
      <pc:sldChg chg="del">
        <pc:chgData name="Manish Sharma" userId="97d895ad-8d7a-4884-8c18-743afd731b6f" providerId="ADAL" clId="{05825897-659E-4E0E-84E5-88D5116C9B00}" dt="2020-10-05T20:45:16.547" v="2734" actId="47"/>
        <pc:sldMkLst>
          <pc:docMk/>
          <pc:sldMk cId="3773836689" sldId="491"/>
        </pc:sldMkLst>
      </pc:sldChg>
      <pc:sldChg chg="modSp add mod">
        <pc:chgData name="Manish Sharma" userId="97d895ad-8d7a-4884-8c18-743afd731b6f" providerId="ADAL" clId="{05825897-659E-4E0E-84E5-88D5116C9B00}" dt="2020-10-06T01:00:34.602" v="3603" actId="108"/>
        <pc:sldMkLst>
          <pc:docMk/>
          <pc:sldMk cId="467378802" sldId="492"/>
        </pc:sldMkLst>
        <pc:spChg chg="mod">
          <ac:chgData name="Manish Sharma" userId="97d895ad-8d7a-4884-8c18-743afd731b6f" providerId="ADAL" clId="{05825897-659E-4E0E-84E5-88D5116C9B00}" dt="2020-10-05T20:44:25.683" v="2718" actId="14100"/>
          <ac:spMkLst>
            <pc:docMk/>
            <pc:sldMk cId="467378802" sldId="492"/>
            <ac:spMk id="7" creationId="{B633BA49-44C2-41E0-8A5F-10881248D9C0}"/>
          </ac:spMkLst>
        </pc:spChg>
        <pc:spChg chg="mod">
          <ac:chgData name="Manish Sharma" userId="97d895ad-8d7a-4884-8c18-743afd731b6f" providerId="ADAL" clId="{05825897-659E-4E0E-84E5-88D5116C9B00}" dt="2020-10-05T20:45:02.357" v="2733" actId="20577"/>
          <ac:spMkLst>
            <pc:docMk/>
            <pc:sldMk cId="467378802" sldId="492"/>
            <ac:spMk id="9" creationId="{00000000-0000-0000-0000-000000000000}"/>
          </ac:spMkLst>
        </pc:spChg>
        <pc:graphicFrameChg chg="mod">
          <ac:chgData name="Manish Sharma" userId="97d895ad-8d7a-4884-8c18-743afd731b6f" providerId="ADAL" clId="{05825897-659E-4E0E-84E5-88D5116C9B00}" dt="2020-10-06T00:59:43.875" v="3593"/>
          <ac:graphicFrameMkLst>
            <pc:docMk/>
            <pc:sldMk cId="467378802" sldId="492"/>
            <ac:graphicFrameMk id="20" creationId="{C706CF1C-16BE-40AB-AD10-3D3B1B2FD25F}"/>
          </ac:graphicFrameMkLst>
        </pc:graphicFrameChg>
        <pc:graphicFrameChg chg="modGraphic">
          <ac:chgData name="Manish Sharma" userId="97d895ad-8d7a-4884-8c18-743afd731b6f" providerId="ADAL" clId="{05825897-659E-4E0E-84E5-88D5116C9B00}" dt="2020-10-06T00:59:12.326" v="3591" actId="20577"/>
          <ac:graphicFrameMkLst>
            <pc:docMk/>
            <pc:sldMk cId="467378802" sldId="492"/>
            <ac:graphicFrameMk id="22" creationId="{25ADC611-E4BA-4F2F-9BF9-A6228171DDE2}"/>
          </ac:graphicFrameMkLst>
        </pc:graphicFrameChg>
        <pc:graphicFrameChg chg="modGraphic">
          <ac:chgData name="Manish Sharma" userId="97d895ad-8d7a-4884-8c18-743afd731b6f" providerId="ADAL" clId="{05825897-659E-4E0E-84E5-88D5116C9B00}" dt="2020-10-05T20:27:26.619" v="1770" actId="20577"/>
          <ac:graphicFrameMkLst>
            <pc:docMk/>
            <pc:sldMk cId="467378802" sldId="492"/>
            <ac:graphicFrameMk id="23" creationId="{00000000-0000-0000-0000-000000000000}"/>
          </ac:graphicFrameMkLst>
        </pc:graphicFrameChg>
        <pc:graphicFrameChg chg="mod modGraphic">
          <ac:chgData name="Manish Sharma" userId="97d895ad-8d7a-4884-8c18-743afd731b6f" providerId="ADAL" clId="{05825897-659E-4E0E-84E5-88D5116C9B00}" dt="2020-10-06T01:00:34.602" v="3603" actId="108"/>
          <ac:graphicFrameMkLst>
            <pc:docMk/>
            <pc:sldMk cId="467378802" sldId="492"/>
            <ac:graphicFrameMk id="26" creationId="{A088A704-3458-4A85-A10E-CBFB205EDF51}"/>
          </ac:graphicFrameMkLst>
        </pc:graphicFrameChg>
      </pc:sldChg>
      <pc:sldChg chg="modSp add mod">
        <pc:chgData name="Manish Sharma" userId="97d895ad-8d7a-4884-8c18-743afd731b6f" providerId="ADAL" clId="{05825897-659E-4E0E-84E5-88D5116C9B00}" dt="2020-10-06T23:33:10.357" v="4375" actId="1035"/>
        <pc:sldMkLst>
          <pc:docMk/>
          <pc:sldMk cId="2317255079" sldId="493"/>
        </pc:sldMkLst>
        <pc:spChg chg="mod">
          <ac:chgData name="Manish Sharma" userId="97d895ad-8d7a-4884-8c18-743afd731b6f" providerId="ADAL" clId="{05825897-659E-4E0E-84E5-88D5116C9B00}" dt="2020-10-06T23:28:50.852" v="4125" actId="20577"/>
          <ac:spMkLst>
            <pc:docMk/>
            <pc:sldMk cId="2317255079" sldId="493"/>
            <ac:spMk id="2" creationId="{00000000-0000-0000-0000-000000000000}"/>
          </ac:spMkLst>
        </pc:spChg>
        <pc:spChg chg="mod">
          <ac:chgData name="Manish Sharma" userId="97d895ad-8d7a-4884-8c18-743afd731b6f" providerId="ADAL" clId="{05825897-659E-4E0E-84E5-88D5116C9B00}" dt="2020-10-06T23:31:10.840" v="4167" actId="20577"/>
          <ac:spMkLst>
            <pc:docMk/>
            <pc:sldMk cId="2317255079" sldId="493"/>
            <ac:spMk id="7" creationId="{00000000-0000-0000-0000-000000000000}"/>
          </ac:spMkLst>
        </pc:spChg>
        <pc:spChg chg="mod">
          <ac:chgData name="Manish Sharma" userId="97d895ad-8d7a-4884-8c18-743afd731b6f" providerId="ADAL" clId="{05825897-659E-4E0E-84E5-88D5116C9B00}" dt="2020-10-06T23:26:46.065" v="4087" actId="207"/>
          <ac:spMkLst>
            <pc:docMk/>
            <pc:sldMk cId="2317255079" sldId="493"/>
            <ac:spMk id="31" creationId="{00000000-0000-0000-0000-000000000000}"/>
          </ac:spMkLst>
        </pc:spChg>
        <pc:spChg chg="mod">
          <ac:chgData name="Manish Sharma" userId="97d895ad-8d7a-4884-8c18-743afd731b6f" providerId="ADAL" clId="{05825897-659E-4E0E-84E5-88D5116C9B00}" dt="2020-10-06T23:26:12.288" v="4080" actId="207"/>
          <ac:spMkLst>
            <pc:docMk/>
            <pc:sldMk cId="2317255079" sldId="493"/>
            <ac:spMk id="34" creationId="{00000000-0000-0000-0000-000000000000}"/>
          </ac:spMkLst>
        </pc:spChg>
        <pc:spChg chg="mod">
          <ac:chgData name="Manish Sharma" userId="97d895ad-8d7a-4884-8c18-743afd731b6f" providerId="ADAL" clId="{05825897-659E-4E0E-84E5-88D5116C9B00}" dt="2020-10-06T23:30:24.124" v="4149" actId="20577"/>
          <ac:spMkLst>
            <pc:docMk/>
            <pc:sldMk cId="2317255079" sldId="493"/>
            <ac:spMk id="63" creationId="{00000000-0000-0000-0000-000000000000}"/>
          </ac:spMkLst>
        </pc:spChg>
        <pc:spChg chg="mod">
          <ac:chgData name="Manish Sharma" userId="97d895ad-8d7a-4884-8c18-743afd731b6f" providerId="ADAL" clId="{05825897-659E-4E0E-84E5-88D5116C9B00}" dt="2020-10-06T23:28:32.197" v="4103"/>
          <ac:spMkLst>
            <pc:docMk/>
            <pc:sldMk cId="2317255079" sldId="493"/>
            <ac:spMk id="64" creationId="{00000000-0000-0000-0000-000000000000}"/>
          </ac:spMkLst>
        </pc:spChg>
        <pc:spChg chg="mod">
          <ac:chgData name="Manish Sharma" userId="97d895ad-8d7a-4884-8c18-743afd731b6f" providerId="ADAL" clId="{05825897-659E-4E0E-84E5-88D5116C9B00}" dt="2020-10-06T23:25:44.846" v="4074" actId="207"/>
          <ac:spMkLst>
            <pc:docMk/>
            <pc:sldMk cId="2317255079" sldId="493"/>
            <ac:spMk id="70" creationId="{7D9F8BBF-6CD5-4D5F-841F-C6B5EDBA5472}"/>
          </ac:spMkLst>
        </pc:spChg>
        <pc:spChg chg="mod">
          <ac:chgData name="Manish Sharma" userId="97d895ad-8d7a-4884-8c18-743afd731b6f" providerId="ADAL" clId="{05825897-659E-4E0E-84E5-88D5116C9B00}" dt="2020-10-06T23:25:36.823" v="4072" actId="207"/>
          <ac:spMkLst>
            <pc:docMk/>
            <pc:sldMk cId="2317255079" sldId="493"/>
            <ac:spMk id="73" creationId="{78A07772-5C46-4B8B-A183-4BBDAAAEB7C8}"/>
          </ac:spMkLst>
        </pc:spChg>
        <pc:spChg chg="mod">
          <ac:chgData name="Manish Sharma" userId="97d895ad-8d7a-4884-8c18-743afd731b6f" providerId="ADAL" clId="{05825897-659E-4E0E-84E5-88D5116C9B00}" dt="2020-10-06T23:28:22.700" v="4100"/>
          <ac:spMkLst>
            <pc:docMk/>
            <pc:sldMk cId="2317255079" sldId="493"/>
            <ac:spMk id="74" creationId="{D4F782B1-C1C5-43A7-98CD-918D3DCCF7BE}"/>
          </ac:spMkLst>
        </pc:spChg>
        <pc:spChg chg="mod">
          <ac:chgData name="Manish Sharma" userId="97d895ad-8d7a-4884-8c18-743afd731b6f" providerId="ADAL" clId="{05825897-659E-4E0E-84E5-88D5116C9B00}" dt="2020-10-06T23:23:41.058" v="4058" actId="404"/>
          <ac:spMkLst>
            <pc:docMk/>
            <pc:sldMk cId="2317255079" sldId="493"/>
            <ac:spMk id="76" creationId="{44CA77D8-9CF9-4BA8-9B8A-8E2AAFCEFFE0}"/>
          </ac:spMkLst>
        </pc:spChg>
        <pc:spChg chg="mod">
          <ac:chgData name="Manish Sharma" userId="97d895ad-8d7a-4884-8c18-743afd731b6f" providerId="ADAL" clId="{05825897-659E-4E0E-84E5-88D5116C9B00}" dt="2020-10-06T23:25:19.198" v="4068" actId="207"/>
          <ac:spMkLst>
            <pc:docMk/>
            <pc:sldMk cId="2317255079" sldId="493"/>
            <ac:spMk id="80" creationId="{AAC5A87E-E2B9-436C-8599-5CD3BF7BE889}"/>
          </ac:spMkLst>
        </pc:spChg>
        <pc:spChg chg="mod">
          <ac:chgData name="Manish Sharma" userId="97d895ad-8d7a-4884-8c18-743afd731b6f" providerId="ADAL" clId="{05825897-659E-4E0E-84E5-88D5116C9B00}" dt="2020-10-06T23:25:14.303" v="4066" actId="207"/>
          <ac:spMkLst>
            <pc:docMk/>
            <pc:sldMk cId="2317255079" sldId="493"/>
            <ac:spMk id="81" creationId="{E7905EB2-ECD5-4F23-8225-AC6B8F21BD57}"/>
          </ac:spMkLst>
        </pc:spChg>
        <pc:spChg chg="mod">
          <ac:chgData name="Manish Sharma" userId="97d895ad-8d7a-4884-8c18-743afd731b6f" providerId="ADAL" clId="{05825897-659E-4E0E-84E5-88D5116C9B00}" dt="2020-10-06T23:32:24.239" v="4212" actId="1035"/>
          <ac:spMkLst>
            <pc:docMk/>
            <pc:sldMk cId="2317255079" sldId="493"/>
            <ac:spMk id="92" creationId="{9EC83152-F7D4-432A-802C-2174B52C3151}"/>
          </ac:spMkLst>
        </pc:spChg>
        <pc:spChg chg="mod">
          <ac:chgData name="Manish Sharma" userId="97d895ad-8d7a-4884-8c18-743afd731b6f" providerId="ADAL" clId="{05825897-659E-4E0E-84E5-88D5116C9B00}" dt="2020-10-06T23:32:32.150" v="4258" actId="1035"/>
          <ac:spMkLst>
            <pc:docMk/>
            <pc:sldMk cId="2317255079" sldId="493"/>
            <ac:spMk id="93" creationId="{4EB9CAA8-08FD-4656-855E-C34289D88373}"/>
          </ac:spMkLst>
        </pc:spChg>
        <pc:spChg chg="mod">
          <ac:chgData name="Manish Sharma" userId="97d895ad-8d7a-4884-8c18-743afd731b6f" providerId="ADAL" clId="{05825897-659E-4E0E-84E5-88D5116C9B00}" dt="2020-10-06T23:32:45.491" v="4285" actId="1036"/>
          <ac:spMkLst>
            <pc:docMk/>
            <pc:sldMk cId="2317255079" sldId="493"/>
            <ac:spMk id="94" creationId="{E9FDA4CA-E94F-4753-A147-434089B64879}"/>
          </ac:spMkLst>
        </pc:spChg>
        <pc:spChg chg="mod">
          <ac:chgData name="Manish Sharma" userId="97d895ad-8d7a-4884-8c18-743afd731b6f" providerId="ADAL" clId="{05825897-659E-4E0E-84E5-88D5116C9B00}" dt="2020-10-06T23:32:56.026" v="4308" actId="1036"/>
          <ac:spMkLst>
            <pc:docMk/>
            <pc:sldMk cId="2317255079" sldId="493"/>
            <ac:spMk id="95" creationId="{C933EC32-4AD6-4B4C-AD36-34E9E38E085E}"/>
          </ac:spMkLst>
        </pc:spChg>
        <pc:spChg chg="mod">
          <ac:chgData name="Manish Sharma" userId="97d895ad-8d7a-4884-8c18-743afd731b6f" providerId="ADAL" clId="{05825897-659E-4E0E-84E5-88D5116C9B00}" dt="2020-10-06T23:33:03.426" v="4336" actId="1035"/>
          <ac:spMkLst>
            <pc:docMk/>
            <pc:sldMk cId="2317255079" sldId="493"/>
            <ac:spMk id="96" creationId="{B3F42793-19D3-4083-9068-DD5942C975DF}"/>
          </ac:spMkLst>
        </pc:spChg>
        <pc:spChg chg="mod">
          <ac:chgData name="Manish Sharma" userId="97d895ad-8d7a-4884-8c18-743afd731b6f" providerId="ADAL" clId="{05825897-659E-4E0E-84E5-88D5116C9B00}" dt="2020-10-06T23:33:10.357" v="4375" actId="1035"/>
          <ac:spMkLst>
            <pc:docMk/>
            <pc:sldMk cId="2317255079" sldId="493"/>
            <ac:spMk id="97" creationId="{E6A69622-26C7-49FC-9060-CC4C986E151E}"/>
          </ac:spMkLst>
        </pc:spChg>
        <pc:spChg chg="mod">
          <ac:chgData name="Manish Sharma" userId="97d895ad-8d7a-4884-8c18-743afd731b6f" providerId="ADAL" clId="{05825897-659E-4E0E-84E5-88D5116C9B00}" dt="2020-10-06T23:31:04.492" v="4164" actId="20577"/>
          <ac:spMkLst>
            <pc:docMk/>
            <pc:sldMk cId="2317255079" sldId="493"/>
            <ac:spMk id="98" creationId="{797A19AC-51AA-4E53-97C6-D75A0509A945}"/>
          </ac:spMkLst>
        </pc:spChg>
        <pc:spChg chg="mod">
          <ac:chgData name="Manish Sharma" userId="97d895ad-8d7a-4884-8c18-743afd731b6f" providerId="ADAL" clId="{05825897-659E-4E0E-84E5-88D5116C9B00}" dt="2020-10-06T23:30:19.108" v="4147" actId="20577"/>
          <ac:spMkLst>
            <pc:docMk/>
            <pc:sldMk cId="2317255079" sldId="493"/>
            <ac:spMk id="100" creationId="{048E3908-7294-4547-8E52-B606DA7B6777}"/>
          </ac:spMkLst>
        </pc:spChg>
        <pc:spChg chg="mod">
          <ac:chgData name="Manish Sharma" userId="97d895ad-8d7a-4884-8c18-743afd731b6f" providerId="ADAL" clId="{05825897-659E-4E0E-84E5-88D5116C9B00}" dt="2020-10-06T23:30:37.477" v="4153" actId="20577"/>
          <ac:spMkLst>
            <pc:docMk/>
            <pc:sldMk cId="2317255079" sldId="493"/>
            <ac:spMk id="105" creationId="{06F3B4E8-CE2B-4541-964C-81EED7B4448F}"/>
          </ac:spMkLst>
        </pc:spChg>
        <pc:spChg chg="mod">
          <ac:chgData name="Manish Sharma" userId="97d895ad-8d7a-4884-8c18-743afd731b6f" providerId="ADAL" clId="{05825897-659E-4E0E-84E5-88D5116C9B00}" dt="2020-10-06T23:30:46.429" v="4156" actId="20577"/>
          <ac:spMkLst>
            <pc:docMk/>
            <pc:sldMk cId="2317255079" sldId="493"/>
            <ac:spMk id="111" creationId="{4AF91EFF-0E28-4EE9-8501-6DBF8C1703E0}"/>
          </ac:spMkLst>
        </pc:spChg>
        <pc:spChg chg="mod">
          <ac:chgData name="Manish Sharma" userId="97d895ad-8d7a-4884-8c18-743afd731b6f" providerId="ADAL" clId="{05825897-659E-4E0E-84E5-88D5116C9B00}" dt="2020-10-06T23:28:25.955" v="4101"/>
          <ac:spMkLst>
            <pc:docMk/>
            <pc:sldMk cId="2317255079" sldId="493"/>
            <ac:spMk id="112" creationId="{4358EC31-D932-41E0-876E-86A3AAD5F5EE}"/>
          </ac:spMkLst>
        </pc:spChg>
        <pc:spChg chg="mod">
          <ac:chgData name="Manish Sharma" userId="97d895ad-8d7a-4884-8c18-743afd731b6f" providerId="ADAL" clId="{05825897-659E-4E0E-84E5-88D5116C9B00}" dt="2020-10-06T23:28:29.162" v="4102"/>
          <ac:spMkLst>
            <pc:docMk/>
            <pc:sldMk cId="2317255079" sldId="493"/>
            <ac:spMk id="115" creationId="{249D40D2-2C18-4BEF-BF65-E24F79D35042}"/>
          </ac:spMkLst>
        </pc:spChg>
        <pc:spChg chg="mod">
          <ac:chgData name="Manish Sharma" userId="97d895ad-8d7a-4884-8c18-743afd731b6f" providerId="ADAL" clId="{05825897-659E-4E0E-84E5-88D5116C9B00}" dt="2020-10-06T23:30:55.188" v="4160" actId="20577"/>
          <ac:spMkLst>
            <pc:docMk/>
            <pc:sldMk cId="2317255079" sldId="493"/>
            <ac:spMk id="117" creationId="{2635E75B-B6B5-4934-AF9A-21DA4AD7EF40}"/>
          </ac:spMkLst>
        </pc:spChg>
        <pc:spChg chg="mod">
          <ac:chgData name="Manish Sharma" userId="97d895ad-8d7a-4884-8c18-743afd731b6f" providerId="ADAL" clId="{05825897-659E-4E0E-84E5-88D5116C9B00}" dt="2020-10-06T23:30:10.060" v="4145" actId="20577"/>
          <ac:spMkLst>
            <pc:docMk/>
            <pc:sldMk cId="2317255079" sldId="493"/>
            <ac:spMk id="119" creationId="{9D4E1B1B-7796-4B76-92BA-AA23BC253587}"/>
          </ac:spMkLst>
        </pc:spChg>
        <pc:spChg chg="mod">
          <ac:chgData name="Manish Sharma" userId="97d895ad-8d7a-4884-8c18-743afd731b6f" providerId="ADAL" clId="{05825897-659E-4E0E-84E5-88D5116C9B00}" dt="2020-10-06T23:26:40.481" v="4086" actId="207"/>
          <ac:spMkLst>
            <pc:docMk/>
            <pc:sldMk cId="2317255079" sldId="493"/>
            <ac:spMk id="120" creationId="{0C6E7A7F-4DB4-4C6E-87A1-13E68D9FF9C7}"/>
          </ac:spMkLst>
        </pc:spChg>
        <pc:spChg chg="mod">
          <ac:chgData name="Manish Sharma" userId="97d895ad-8d7a-4884-8c18-743afd731b6f" providerId="ADAL" clId="{05825897-659E-4E0E-84E5-88D5116C9B00}" dt="2020-10-06T23:26:33.852" v="4085" actId="207"/>
          <ac:spMkLst>
            <pc:docMk/>
            <pc:sldMk cId="2317255079" sldId="493"/>
            <ac:spMk id="121" creationId="{6957B86C-E69D-4697-8B24-EC9D124D774D}"/>
          </ac:spMkLst>
        </pc:spChg>
        <pc:spChg chg="mod">
          <ac:chgData name="Manish Sharma" userId="97d895ad-8d7a-4884-8c18-743afd731b6f" providerId="ADAL" clId="{05825897-659E-4E0E-84E5-88D5116C9B00}" dt="2020-10-06T23:30:04.661" v="4142" actId="20577"/>
          <ac:spMkLst>
            <pc:docMk/>
            <pc:sldMk cId="2317255079" sldId="493"/>
            <ac:spMk id="124" creationId="{BD607604-1889-45A2-8660-D06ED8EAD667}"/>
          </ac:spMkLst>
        </pc:spChg>
        <pc:spChg chg="mod">
          <ac:chgData name="Manish Sharma" userId="97d895ad-8d7a-4884-8c18-743afd731b6f" providerId="ADAL" clId="{05825897-659E-4E0E-84E5-88D5116C9B00}" dt="2020-10-06T23:29:30.717" v="4134" actId="20577"/>
          <ac:spMkLst>
            <pc:docMk/>
            <pc:sldMk cId="2317255079" sldId="493"/>
            <ac:spMk id="125" creationId="{C0E3D7CA-4DC9-42A4-9130-344444DF2E8C}"/>
          </ac:spMkLst>
        </pc:spChg>
        <pc:spChg chg="mod">
          <ac:chgData name="Manish Sharma" userId="97d895ad-8d7a-4884-8c18-743afd731b6f" providerId="ADAL" clId="{05825897-659E-4E0E-84E5-88D5116C9B00}" dt="2020-10-06T23:31:18.884" v="4171" actId="20577"/>
          <ac:spMkLst>
            <pc:docMk/>
            <pc:sldMk cId="2317255079" sldId="493"/>
            <ac:spMk id="126" creationId="{0A182F45-470D-4A59-B728-E8FCF6876681}"/>
          </ac:spMkLst>
        </pc:spChg>
        <pc:spChg chg="mod">
          <ac:chgData name="Manish Sharma" userId="97d895ad-8d7a-4884-8c18-743afd731b6f" providerId="ADAL" clId="{05825897-659E-4E0E-84E5-88D5116C9B00}" dt="2020-10-06T23:28:41.293" v="4113" actId="6549"/>
          <ac:spMkLst>
            <pc:docMk/>
            <pc:sldMk cId="2317255079" sldId="493"/>
            <ac:spMk id="127" creationId="{C766DC40-BBCA-486A-86A9-6733D8456DCF}"/>
          </ac:spMkLst>
        </pc:spChg>
        <pc:spChg chg="mod">
          <ac:chgData name="Manish Sharma" userId="97d895ad-8d7a-4884-8c18-743afd731b6f" providerId="ADAL" clId="{05825897-659E-4E0E-84E5-88D5116C9B00}" dt="2020-10-06T23:26:58.701" v="4089" actId="207"/>
          <ac:spMkLst>
            <pc:docMk/>
            <pc:sldMk cId="2317255079" sldId="493"/>
            <ac:spMk id="129" creationId="{02898148-4F50-4B00-952E-99D75B91648F}"/>
          </ac:spMkLst>
        </pc:spChg>
        <pc:spChg chg="mod">
          <ac:chgData name="Manish Sharma" userId="97d895ad-8d7a-4884-8c18-743afd731b6f" providerId="ADAL" clId="{05825897-659E-4E0E-84E5-88D5116C9B00}" dt="2020-10-06T23:27:14.312" v="4093" actId="207"/>
          <ac:spMkLst>
            <pc:docMk/>
            <pc:sldMk cId="2317255079" sldId="493"/>
            <ac:spMk id="130" creationId="{6AD26D32-1C39-482F-AF60-2C30846B2A75}"/>
          </ac:spMkLst>
        </pc:spChg>
        <pc:spChg chg="mod">
          <ac:chgData name="Manish Sharma" userId="97d895ad-8d7a-4884-8c18-743afd731b6f" providerId="ADAL" clId="{05825897-659E-4E0E-84E5-88D5116C9B00}" dt="2020-10-06T23:30:28.919" v="4150" actId="20577"/>
          <ac:spMkLst>
            <pc:docMk/>
            <pc:sldMk cId="2317255079" sldId="493"/>
            <ac:spMk id="131" creationId="{9CEF88A0-D6AD-43DE-B77A-FDF4DBCDC5BA}"/>
          </ac:spMkLst>
        </pc:spChg>
        <pc:spChg chg="mod">
          <ac:chgData name="Manish Sharma" userId="97d895ad-8d7a-4884-8c18-743afd731b6f" providerId="ADAL" clId="{05825897-659E-4E0E-84E5-88D5116C9B00}" dt="2020-10-06T23:28:35.164" v="4104"/>
          <ac:spMkLst>
            <pc:docMk/>
            <pc:sldMk cId="2317255079" sldId="493"/>
            <ac:spMk id="132" creationId="{07D8E15C-1CFC-4C6E-9A6D-647D2BFDB667}"/>
          </ac:spMkLst>
        </pc:spChg>
        <pc:spChg chg="mod">
          <ac:chgData name="Manish Sharma" userId="97d895ad-8d7a-4884-8c18-743afd731b6f" providerId="ADAL" clId="{05825897-659E-4E0E-84E5-88D5116C9B00}" dt="2020-10-06T23:26:52.683" v="4088" actId="207"/>
          <ac:spMkLst>
            <pc:docMk/>
            <pc:sldMk cId="2317255079" sldId="493"/>
            <ac:spMk id="137" creationId="{6CEFD653-343D-4EFD-92CF-AE3220B70017}"/>
          </ac:spMkLst>
        </pc:spChg>
        <pc:spChg chg="mod">
          <ac:chgData name="Manish Sharma" userId="97d895ad-8d7a-4884-8c18-743afd731b6f" providerId="ADAL" clId="{05825897-659E-4E0E-84E5-88D5116C9B00}" dt="2020-10-06T23:26:29.919" v="4084" actId="207"/>
          <ac:spMkLst>
            <pc:docMk/>
            <pc:sldMk cId="2317255079" sldId="493"/>
            <ac:spMk id="140" creationId="{D8F35EAE-0760-417A-BEF2-4F8F784A6962}"/>
          </ac:spMkLst>
        </pc:spChg>
        <pc:grpChg chg="mod">
          <ac:chgData name="Manish Sharma" userId="97d895ad-8d7a-4884-8c18-743afd731b6f" providerId="ADAL" clId="{05825897-659E-4E0E-84E5-88D5116C9B00}" dt="2020-10-06T23:25:55.164" v="4076" actId="208"/>
          <ac:grpSpMkLst>
            <pc:docMk/>
            <pc:sldMk cId="2317255079" sldId="493"/>
            <ac:grpSpMk id="4" creationId="{4C378A7C-EADD-4B88-953F-F2564BDF23DF}"/>
          </ac:grpSpMkLst>
        </pc:grpChg>
        <pc:grpChg chg="mod">
          <ac:chgData name="Manish Sharma" userId="97d895ad-8d7a-4884-8c18-743afd731b6f" providerId="ADAL" clId="{05825897-659E-4E0E-84E5-88D5116C9B00}" dt="2020-10-06T23:25:24.532" v="4069" actId="208"/>
          <ac:grpSpMkLst>
            <pc:docMk/>
            <pc:sldMk cId="2317255079" sldId="493"/>
            <ac:grpSpMk id="69" creationId="{FEA4FE33-499B-4FA1-804F-4B64E159BD83}"/>
          </ac:grpSpMkLst>
        </pc:grpChg>
        <pc:grpChg chg="mod">
          <ac:chgData name="Manish Sharma" userId="97d895ad-8d7a-4884-8c18-743afd731b6f" providerId="ADAL" clId="{05825897-659E-4E0E-84E5-88D5116C9B00}" dt="2020-10-06T23:25:09.130" v="4065" actId="208"/>
          <ac:grpSpMkLst>
            <pc:docMk/>
            <pc:sldMk cId="2317255079" sldId="493"/>
            <ac:grpSpMk id="78" creationId="{EAC34022-3D24-47F1-BE10-839CF6C74219}"/>
          </ac:grpSpMkLst>
        </pc:grpChg>
        <pc:grpChg chg="mod">
          <ac:chgData name="Manish Sharma" userId="97d895ad-8d7a-4884-8c18-743afd731b6f" providerId="ADAL" clId="{05825897-659E-4E0E-84E5-88D5116C9B00}" dt="2020-10-06T23:25:52.638" v="4075" actId="208"/>
          <ac:grpSpMkLst>
            <pc:docMk/>
            <pc:sldMk cId="2317255079" sldId="493"/>
            <ac:grpSpMk id="116" creationId="{5C9EC924-AA2E-4ADD-8264-8DF7E841F46B}"/>
          </ac:grpSpMkLst>
        </pc:grpChg>
        <pc:grpChg chg="mod">
          <ac:chgData name="Manish Sharma" userId="97d895ad-8d7a-4884-8c18-743afd731b6f" providerId="ADAL" clId="{05825897-659E-4E0E-84E5-88D5116C9B00}" dt="2020-10-06T23:27:03.334" v="4090" actId="208"/>
          <ac:grpSpMkLst>
            <pc:docMk/>
            <pc:sldMk cId="2317255079" sldId="493"/>
            <ac:grpSpMk id="128" creationId="{D5EA631C-8B7B-46B3-B738-4469F70AB953}"/>
          </ac:grpSpMkLst>
        </pc:grpChg>
        <pc:grpChg chg="mod">
          <ac:chgData name="Manish Sharma" userId="97d895ad-8d7a-4884-8c18-743afd731b6f" providerId="ADAL" clId="{05825897-659E-4E0E-84E5-88D5116C9B00}" dt="2020-10-06T23:25:58.083" v="4077" actId="208"/>
          <ac:grpSpMkLst>
            <pc:docMk/>
            <pc:sldMk cId="2317255079" sldId="493"/>
            <ac:grpSpMk id="136" creationId="{C3A798B4-55F9-4785-AF8F-A2DB7C6FCBF1}"/>
          </ac:grpSpMkLst>
        </pc:grpChg>
        <pc:graphicFrameChg chg="mod">
          <ac:chgData name="Manish Sharma" userId="97d895ad-8d7a-4884-8c18-743afd731b6f" providerId="ADAL" clId="{05825897-659E-4E0E-84E5-88D5116C9B00}" dt="2020-10-06T23:24:03.686" v="4059"/>
          <ac:graphicFrameMkLst>
            <pc:docMk/>
            <pc:sldMk cId="2317255079" sldId="493"/>
            <ac:graphicFrameMk id="79" creationId="{6A363F86-1778-4564-BD43-5E278ECA6ED2}"/>
          </ac:graphicFrameMkLst>
        </pc:graphicFrameChg>
        <pc:graphicFrameChg chg="mod">
          <ac:chgData name="Manish Sharma" userId="97d895ad-8d7a-4884-8c18-743afd731b6f" providerId="ADAL" clId="{05825897-659E-4E0E-84E5-88D5116C9B00}" dt="2020-10-06T23:24:14.596" v="4060"/>
          <ac:graphicFrameMkLst>
            <pc:docMk/>
            <pc:sldMk cId="2317255079" sldId="493"/>
            <ac:graphicFrameMk id="87" creationId="{F4B0AEF1-759E-46F9-A4E5-3DB68C5A8F74}"/>
          </ac:graphicFrameMkLst>
        </pc:graphicFrameChg>
        <pc:graphicFrameChg chg="mod">
          <ac:chgData name="Manish Sharma" userId="97d895ad-8d7a-4884-8c18-743afd731b6f" providerId="ADAL" clId="{05825897-659E-4E0E-84E5-88D5116C9B00}" dt="2020-10-06T23:24:24.821" v="4061"/>
          <ac:graphicFrameMkLst>
            <pc:docMk/>
            <pc:sldMk cId="2317255079" sldId="493"/>
            <ac:graphicFrameMk id="88" creationId="{D76C5FD8-58DE-40E5-B9C1-AF1541B109AF}"/>
          </ac:graphicFrameMkLst>
        </pc:graphicFrameChg>
        <pc:graphicFrameChg chg="mod">
          <ac:chgData name="Manish Sharma" userId="97d895ad-8d7a-4884-8c18-743afd731b6f" providerId="ADAL" clId="{05825897-659E-4E0E-84E5-88D5116C9B00}" dt="2020-10-06T23:24:34.745" v="4062"/>
          <ac:graphicFrameMkLst>
            <pc:docMk/>
            <pc:sldMk cId="2317255079" sldId="493"/>
            <ac:graphicFrameMk id="89" creationId="{2B610F03-452B-46BD-904F-126408A33993}"/>
          </ac:graphicFrameMkLst>
        </pc:graphicFrameChg>
        <pc:graphicFrameChg chg="mod ord">
          <ac:chgData name="Manish Sharma" userId="97d895ad-8d7a-4884-8c18-743afd731b6f" providerId="ADAL" clId="{05825897-659E-4E0E-84E5-88D5116C9B00}" dt="2020-10-06T23:29:56.452" v="4139" actId="167"/>
          <ac:graphicFrameMkLst>
            <pc:docMk/>
            <pc:sldMk cId="2317255079" sldId="493"/>
            <ac:graphicFrameMk id="90" creationId="{1F692A77-864C-4D31-8F89-CC014D704488}"/>
          </ac:graphicFrameMkLst>
        </pc:graphicFrameChg>
        <pc:graphicFrameChg chg="mod">
          <ac:chgData name="Manish Sharma" userId="97d895ad-8d7a-4884-8c18-743afd731b6f" providerId="ADAL" clId="{05825897-659E-4E0E-84E5-88D5116C9B00}" dt="2020-10-06T23:24:52.328" v="4064"/>
          <ac:graphicFrameMkLst>
            <pc:docMk/>
            <pc:sldMk cId="2317255079" sldId="493"/>
            <ac:graphicFrameMk id="91" creationId="{229BCE03-EF5A-4C55-B888-9E1438234AB8}"/>
          </ac:graphicFrameMkLst>
        </pc:graphicFrameChg>
      </pc:sldChg>
      <pc:sldChg chg="modSp add mod">
        <pc:chgData name="Manish Sharma" userId="97d895ad-8d7a-4884-8c18-743afd731b6f" providerId="ADAL" clId="{05825897-659E-4E0E-84E5-88D5116C9B00}" dt="2020-10-06T23:37:55.821" v="4605" actId="1035"/>
        <pc:sldMkLst>
          <pc:docMk/>
          <pc:sldMk cId="1603357931" sldId="494"/>
        </pc:sldMkLst>
        <pc:spChg chg="mod">
          <ac:chgData name="Manish Sharma" userId="97d895ad-8d7a-4884-8c18-743afd731b6f" providerId="ADAL" clId="{05825897-659E-4E0E-84E5-88D5116C9B00}" dt="2020-10-06T23:31:49.628" v="4192" actId="20577"/>
          <ac:spMkLst>
            <pc:docMk/>
            <pc:sldMk cId="1603357931" sldId="494"/>
            <ac:spMk id="2" creationId="{00000000-0000-0000-0000-000000000000}"/>
          </ac:spMkLst>
        </pc:spChg>
        <pc:spChg chg="mod">
          <ac:chgData name="Manish Sharma" userId="97d895ad-8d7a-4884-8c18-743afd731b6f" providerId="ADAL" clId="{05825897-659E-4E0E-84E5-88D5116C9B00}" dt="2020-10-06T23:36:46.346" v="4418" actId="20577"/>
          <ac:spMkLst>
            <pc:docMk/>
            <pc:sldMk cId="1603357931" sldId="494"/>
            <ac:spMk id="7" creationId="{00000000-0000-0000-0000-000000000000}"/>
          </ac:spMkLst>
        </pc:spChg>
        <pc:spChg chg="mod">
          <ac:chgData name="Manish Sharma" userId="97d895ad-8d7a-4884-8c18-743afd731b6f" providerId="ADAL" clId="{05825897-659E-4E0E-84E5-88D5116C9B00}" dt="2020-10-06T23:35:58.418" v="4395" actId="20577"/>
          <ac:spMkLst>
            <pc:docMk/>
            <pc:sldMk cId="1603357931" sldId="494"/>
            <ac:spMk id="63" creationId="{00000000-0000-0000-0000-000000000000}"/>
          </ac:spMkLst>
        </pc:spChg>
        <pc:spChg chg="mod">
          <ac:chgData name="Manish Sharma" userId="97d895ad-8d7a-4884-8c18-743afd731b6f" providerId="ADAL" clId="{05825897-659E-4E0E-84E5-88D5116C9B00}" dt="2020-10-06T23:37:55.821" v="4605" actId="1035"/>
          <ac:spMkLst>
            <pc:docMk/>
            <pc:sldMk cId="1603357931" sldId="494"/>
            <ac:spMk id="92" creationId="{9EC83152-F7D4-432A-802C-2174B52C3151}"/>
          </ac:spMkLst>
        </pc:spChg>
        <pc:spChg chg="mod">
          <ac:chgData name="Manish Sharma" userId="97d895ad-8d7a-4884-8c18-743afd731b6f" providerId="ADAL" clId="{05825897-659E-4E0E-84E5-88D5116C9B00}" dt="2020-10-06T23:37:50.005" v="4583" actId="1036"/>
          <ac:spMkLst>
            <pc:docMk/>
            <pc:sldMk cId="1603357931" sldId="494"/>
            <ac:spMk id="93" creationId="{4EB9CAA8-08FD-4656-855E-C34289D88373}"/>
          </ac:spMkLst>
        </pc:spChg>
        <pc:spChg chg="mod">
          <ac:chgData name="Manish Sharma" userId="97d895ad-8d7a-4884-8c18-743afd731b6f" providerId="ADAL" clId="{05825897-659E-4E0E-84E5-88D5116C9B00}" dt="2020-10-06T23:37:44.083" v="4552" actId="1035"/>
          <ac:spMkLst>
            <pc:docMk/>
            <pc:sldMk cId="1603357931" sldId="494"/>
            <ac:spMk id="94" creationId="{E9FDA4CA-E94F-4753-A147-434089B64879}"/>
          </ac:spMkLst>
        </pc:spChg>
        <pc:spChg chg="mod">
          <ac:chgData name="Manish Sharma" userId="97d895ad-8d7a-4884-8c18-743afd731b6f" providerId="ADAL" clId="{05825897-659E-4E0E-84E5-88D5116C9B00}" dt="2020-10-06T23:37:38.875" v="4545" actId="1036"/>
          <ac:spMkLst>
            <pc:docMk/>
            <pc:sldMk cId="1603357931" sldId="494"/>
            <ac:spMk id="95" creationId="{C933EC32-4AD6-4B4C-AD36-34E9E38E085E}"/>
          </ac:spMkLst>
        </pc:spChg>
        <pc:spChg chg="mod">
          <ac:chgData name="Manish Sharma" userId="97d895ad-8d7a-4884-8c18-743afd731b6f" providerId="ADAL" clId="{05825897-659E-4E0E-84E5-88D5116C9B00}" dt="2020-10-06T23:37:12.894" v="4500" actId="1035"/>
          <ac:spMkLst>
            <pc:docMk/>
            <pc:sldMk cId="1603357931" sldId="494"/>
            <ac:spMk id="96" creationId="{B3F42793-19D3-4083-9068-DD5942C975DF}"/>
          </ac:spMkLst>
        </pc:spChg>
        <pc:spChg chg="mod">
          <ac:chgData name="Manish Sharma" userId="97d895ad-8d7a-4884-8c18-743afd731b6f" providerId="ADAL" clId="{05825897-659E-4E0E-84E5-88D5116C9B00}" dt="2020-10-06T23:37:05.549" v="4459" actId="1036"/>
          <ac:spMkLst>
            <pc:docMk/>
            <pc:sldMk cId="1603357931" sldId="494"/>
            <ac:spMk id="97" creationId="{E6A69622-26C7-49FC-9060-CC4C986E151E}"/>
          </ac:spMkLst>
        </pc:spChg>
        <pc:spChg chg="mod">
          <ac:chgData name="Manish Sharma" userId="97d895ad-8d7a-4884-8c18-743afd731b6f" providerId="ADAL" clId="{05825897-659E-4E0E-84E5-88D5116C9B00}" dt="2020-10-06T23:36:38.338" v="4414" actId="20577"/>
          <ac:spMkLst>
            <pc:docMk/>
            <pc:sldMk cId="1603357931" sldId="494"/>
            <ac:spMk id="98" creationId="{797A19AC-51AA-4E53-97C6-D75A0509A945}"/>
          </ac:spMkLst>
        </pc:spChg>
        <pc:spChg chg="mod">
          <ac:chgData name="Manish Sharma" userId="97d895ad-8d7a-4884-8c18-743afd731b6f" providerId="ADAL" clId="{05825897-659E-4E0E-84E5-88D5116C9B00}" dt="2020-10-06T23:35:51.507" v="4393" actId="20577"/>
          <ac:spMkLst>
            <pc:docMk/>
            <pc:sldMk cId="1603357931" sldId="494"/>
            <ac:spMk id="100" creationId="{048E3908-7294-4547-8E52-B606DA7B6777}"/>
          </ac:spMkLst>
        </pc:spChg>
        <pc:spChg chg="mod">
          <ac:chgData name="Manish Sharma" userId="97d895ad-8d7a-4884-8c18-743afd731b6f" providerId="ADAL" clId="{05825897-659E-4E0E-84E5-88D5116C9B00}" dt="2020-10-06T23:36:14.699" v="4401" actId="6549"/>
          <ac:spMkLst>
            <pc:docMk/>
            <pc:sldMk cId="1603357931" sldId="494"/>
            <ac:spMk id="105" creationId="{06F3B4E8-CE2B-4541-964C-81EED7B4448F}"/>
          </ac:spMkLst>
        </pc:spChg>
        <pc:spChg chg="mod">
          <ac:chgData name="Manish Sharma" userId="97d895ad-8d7a-4884-8c18-743afd731b6f" providerId="ADAL" clId="{05825897-659E-4E0E-84E5-88D5116C9B00}" dt="2020-10-06T23:36:20.822" v="4405" actId="20577"/>
          <ac:spMkLst>
            <pc:docMk/>
            <pc:sldMk cId="1603357931" sldId="494"/>
            <ac:spMk id="111" creationId="{4AF91EFF-0E28-4EE9-8501-6DBF8C1703E0}"/>
          </ac:spMkLst>
        </pc:spChg>
        <pc:spChg chg="mod">
          <ac:chgData name="Manish Sharma" userId="97d895ad-8d7a-4884-8c18-743afd731b6f" providerId="ADAL" clId="{05825897-659E-4E0E-84E5-88D5116C9B00}" dt="2020-10-06T23:36:29.451" v="4411" actId="20577"/>
          <ac:spMkLst>
            <pc:docMk/>
            <pc:sldMk cId="1603357931" sldId="494"/>
            <ac:spMk id="117" creationId="{2635E75B-B6B5-4934-AF9A-21DA4AD7EF40}"/>
          </ac:spMkLst>
        </pc:spChg>
        <pc:spChg chg="mod">
          <ac:chgData name="Manish Sharma" userId="97d895ad-8d7a-4884-8c18-743afd731b6f" providerId="ADAL" clId="{05825897-659E-4E0E-84E5-88D5116C9B00}" dt="2020-10-06T23:35:46.614" v="4389" actId="20577"/>
          <ac:spMkLst>
            <pc:docMk/>
            <pc:sldMk cId="1603357931" sldId="494"/>
            <ac:spMk id="119" creationId="{9D4E1B1B-7796-4B76-92BA-AA23BC253587}"/>
          </ac:spMkLst>
        </pc:spChg>
        <pc:spChg chg="mod">
          <ac:chgData name="Manish Sharma" userId="97d895ad-8d7a-4884-8c18-743afd731b6f" providerId="ADAL" clId="{05825897-659E-4E0E-84E5-88D5116C9B00}" dt="2020-10-06T23:35:38.659" v="4383" actId="20577"/>
          <ac:spMkLst>
            <pc:docMk/>
            <pc:sldMk cId="1603357931" sldId="494"/>
            <ac:spMk id="124" creationId="{BD607604-1889-45A2-8660-D06ED8EAD667}"/>
          </ac:spMkLst>
        </pc:spChg>
        <pc:spChg chg="mod">
          <ac:chgData name="Manish Sharma" userId="97d895ad-8d7a-4884-8c18-743afd731b6f" providerId="ADAL" clId="{05825897-659E-4E0E-84E5-88D5116C9B00}" dt="2020-10-06T23:35:31.700" v="4381" actId="20577"/>
          <ac:spMkLst>
            <pc:docMk/>
            <pc:sldMk cId="1603357931" sldId="494"/>
            <ac:spMk id="125" creationId="{C0E3D7CA-4DC9-42A4-9130-344444DF2E8C}"/>
          </ac:spMkLst>
        </pc:spChg>
        <pc:spChg chg="mod">
          <ac:chgData name="Manish Sharma" userId="97d895ad-8d7a-4884-8c18-743afd731b6f" providerId="ADAL" clId="{05825897-659E-4E0E-84E5-88D5116C9B00}" dt="2020-10-06T23:36:54.812" v="4421" actId="20577"/>
          <ac:spMkLst>
            <pc:docMk/>
            <pc:sldMk cId="1603357931" sldId="494"/>
            <ac:spMk id="126" creationId="{0A182F45-470D-4A59-B728-E8FCF6876681}"/>
          </ac:spMkLst>
        </pc:spChg>
        <pc:spChg chg="mod">
          <ac:chgData name="Manish Sharma" userId="97d895ad-8d7a-4884-8c18-743afd731b6f" providerId="ADAL" clId="{05825897-659E-4E0E-84E5-88D5116C9B00}" dt="2020-10-06T23:35:23.104" v="4379" actId="207"/>
          <ac:spMkLst>
            <pc:docMk/>
            <pc:sldMk cId="1603357931" sldId="494"/>
            <ac:spMk id="129" creationId="{02898148-4F50-4B00-952E-99D75B91648F}"/>
          </ac:spMkLst>
        </pc:spChg>
        <pc:spChg chg="mod">
          <ac:chgData name="Manish Sharma" userId="97d895ad-8d7a-4884-8c18-743afd731b6f" providerId="ADAL" clId="{05825897-659E-4E0E-84E5-88D5116C9B00}" dt="2020-10-06T23:36:03.619" v="4398" actId="20577"/>
          <ac:spMkLst>
            <pc:docMk/>
            <pc:sldMk cId="1603357931" sldId="494"/>
            <ac:spMk id="131" creationId="{9CEF88A0-D6AD-43DE-B77A-FDF4DBCDC5BA}"/>
          </ac:spMkLst>
        </pc:spChg>
        <pc:grpChg chg="mod">
          <ac:chgData name="Manish Sharma" userId="97d895ad-8d7a-4884-8c18-743afd731b6f" providerId="ADAL" clId="{05825897-659E-4E0E-84E5-88D5116C9B00}" dt="2020-10-06T23:35:18.919" v="4378" actId="207"/>
          <ac:grpSpMkLst>
            <pc:docMk/>
            <pc:sldMk cId="1603357931" sldId="494"/>
            <ac:grpSpMk id="128" creationId="{D5EA631C-8B7B-46B3-B738-4469F70AB953}"/>
          </ac:grpSpMkLst>
        </pc:grpChg>
      </pc:sldChg>
      <pc:sldChg chg="delSp modSp add mod">
        <pc:chgData name="Manish Sharma" userId="97d895ad-8d7a-4884-8c18-743afd731b6f" providerId="ADAL" clId="{05825897-659E-4E0E-84E5-88D5116C9B00}" dt="2020-10-07T03:36:25.316" v="9251" actId="20577"/>
        <pc:sldMkLst>
          <pc:docMk/>
          <pc:sldMk cId="2228024324" sldId="495"/>
        </pc:sldMkLst>
        <pc:spChg chg="del">
          <ac:chgData name="Manish Sharma" userId="97d895ad-8d7a-4884-8c18-743afd731b6f" providerId="ADAL" clId="{05825897-659E-4E0E-84E5-88D5116C9B00}" dt="2020-10-07T03:33:59.938" v="9237" actId="478"/>
          <ac:spMkLst>
            <pc:docMk/>
            <pc:sldMk cId="2228024324" sldId="495"/>
            <ac:spMk id="25" creationId="{822CB3C9-19F1-48FD-B87F-0FE3265E0570}"/>
          </ac:spMkLst>
        </pc:spChg>
        <pc:spChg chg="del">
          <ac:chgData name="Manish Sharma" userId="97d895ad-8d7a-4884-8c18-743afd731b6f" providerId="ADAL" clId="{05825897-659E-4E0E-84E5-88D5116C9B00}" dt="2020-10-07T03:34:01.324" v="9238" actId="478"/>
          <ac:spMkLst>
            <pc:docMk/>
            <pc:sldMk cId="2228024324" sldId="495"/>
            <ac:spMk id="33" creationId="{E45FF77D-67C6-4A06-AF64-0F07D3C50A91}"/>
          </ac:spMkLst>
        </pc:spChg>
        <pc:grpChg chg="mod">
          <ac:chgData name="Manish Sharma" userId="97d895ad-8d7a-4884-8c18-743afd731b6f" providerId="ADAL" clId="{05825897-659E-4E0E-84E5-88D5116C9B00}" dt="2020-10-07T03:34:27.368" v="9242" actId="1076"/>
          <ac:grpSpMkLst>
            <pc:docMk/>
            <pc:sldMk cId="2228024324" sldId="495"/>
            <ac:grpSpMk id="20" creationId="{39C6F481-A59E-4144-84E5-DAB62DB8211B}"/>
          </ac:grpSpMkLst>
        </pc:grpChg>
        <pc:grpChg chg="del">
          <ac:chgData name="Manish Sharma" userId="97d895ad-8d7a-4884-8c18-743afd731b6f" providerId="ADAL" clId="{05825897-659E-4E0E-84E5-88D5116C9B00}" dt="2020-10-07T03:34:06.982" v="9239" actId="478"/>
          <ac:grpSpMkLst>
            <pc:docMk/>
            <pc:sldMk cId="2228024324" sldId="495"/>
            <ac:grpSpMk id="24" creationId="{DE50B2AE-536D-439A-BC19-7473FCD757D5}"/>
          </ac:grpSpMkLst>
        </pc:grpChg>
        <pc:graphicFrameChg chg="mod modGraphic">
          <ac:chgData name="Manish Sharma" userId="97d895ad-8d7a-4884-8c18-743afd731b6f" providerId="ADAL" clId="{05825897-659E-4E0E-84E5-88D5116C9B00}" dt="2020-10-07T03:36:25.316" v="9251" actId="20577"/>
          <ac:graphicFrameMkLst>
            <pc:docMk/>
            <pc:sldMk cId="2228024324" sldId="495"/>
            <ac:graphicFrameMk id="28" creationId="{994870E9-25EF-4A43-B1A1-38CC6A36FD4D}"/>
          </ac:graphicFrameMkLst>
        </pc:graphicFrameChg>
      </pc:sldChg>
    </pc:docChg>
  </pc:docChgLst>
  <pc:docChgLst>
    <pc:chgData name="Gurunand" userId="3497c6a8-6cb2-4308-974d-19fae6631586" providerId="ADAL" clId="{AE6C28FE-C444-41AA-9931-8C8AB2F160FE}"/>
    <pc:docChg chg="undo custSel addSld delSld modSld delSection modSection">
      <pc:chgData name="Gurunand" userId="3497c6a8-6cb2-4308-974d-19fae6631586" providerId="ADAL" clId="{AE6C28FE-C444-41AA-9931-8C8AB2F160FE}" dt="2020-10-07T14:42:39.777" v="534"/>
      <pc:docMkLst>
        <pc:docMk/>
      </pc:docMkLst>
      <pc:sldChg chg="modSp mod">
        <pc:chgData name="Gurunand" userId="3497c6a8-6cb2-4308-974d-19fae6631586" providerId="ADAL" clId="{AE6C28FE-C444-41AA-9931-8C8AB2F160FE}" dt="2020-10-02T20:16:31.188" v="233" actId="1076"/>
        <pc:sldMkLst>
          <pc:docMk/>
          <pc:sldMk cId="2478486860" sldId="318"/>
        </pc:sldMkLst>
        <pc:spChg chg="mod">
          <ac:chgData name="Gurunand" userId="3497c6a8-6cb2-4308-974d-19fae6631586" providerId="ADAL" clId="{AE6C28FE-C444-41AA-9931-8C8AB2F160FE}" dt="2020-10-02T19:41:57.327" v="54" actId="6549"/>
          <ac:spMkLst>
            <pc:docMk/>
            <pc:sldMk cId="2478486860" sldId="318"/>
            <ac:spMk id="4" creationId="{00000000-0000-0000-0000-000000000000}"/>
          </ac:spMkLst>
        </pc:spChg>
        <pc:spChg chg="mod">
          <ac:chgData name="Gurunand" userId="3497c6a8-6cb2-4308-974d-19fae6631586" providerId="ADAL" clId="{AE6C28FE-C444-41AA-9931-8C8AB2F160FE}" dt="2020-10-02T20:16:31.188" v="233" actId="1076"/>
          <ac:spMkLst>
            <pc:docMk/>
            <pc:sldMk cId="2478486860" sldId="318"/>
            <ac:spMk id="14" creationId="{46D7380B-6FD0-4040-9EB6-B3FFC1459608}"/>
          </ac:spMkLst>
        </pc:spChg>
      </pc:sldChg>
      <pc:sldChg chg="addSp modSp mod">
        <pc:chgData name="Gurunand" userId="3497c6a8-6cb2-4308-974d-19fae6631586" providerId="ADAL" clId="{AE6C28FE-C444-41AA-9931-8C8AB2F160FE}" dt="2020-10-02T20:05:31.679" v="139" actId="20577"/>
        <pc:sldMkLst>
          <pc:docMk/>
          <pc:sldMk cId="3229088273" sldId="365"/>
        </pc:sldMkLst>
        <pc:spChg chg="mod">
          <ac:chgData name="Gurunand" userId="3497c6a8-6cb2-4308-974d-19fae6631586" providerId="ADAL" clId="{AE6C28FE-C444-41AA-9931-8C8AB2F160FE}" dt="2020-10-02T20:05:31.679" v="139" actId="20577"/>
          <ac:spMkLst>
            <pc:docMk/>
            <pc:sldMk cId="3229088273" sldId="365"/>
            <ac:spMk id="2" creationId="{00000000-0000-0000-0000-000000000000}"/>
          </ac:spMkLst>
        </pc:spChg>
        <pc:spChg chg="add">
          <ac:chgData name="Gurunand" userId="3497c6a8-6cb2-4308-974d-19fae6631586" providerId="ADAL" clId="{AE6C28FE-C444-41AA-9931-8C8AB2F160FE}" dt="2020-10-02T18:41:12.942" v="2" actId="22"/>
          <ac:spMkLst>
            <pc:docMk/>
            <pc:sldMk cId="3229088273" sldId="365"/>
            <ac:spMk id="3" creationId="{59712540-F550-4ABD-AEDE-AF710581C51C}"/>
          </ac:spMkLst>
        </pc:spChg>
      </pc:sldChg>
      <pc:sldChg chg="addSp modSp mod">
        <pc:chgData name="Gurunand" userId="3497c6a8-6cb2-4308-974d-19fae6631586" providerId="ADAL" clId="{AE6C28FE-C444-41AA-9931-8C8AB2F160FE}" dt="2020-10-02T20:05:08.637" v="132" actId="313"/>
        <pc:sldMkLst>
          <pc:docMk/>
          <pc:sldMk cId="2829381692" sldId="393"/>
        </pc:sldMkLst>
        <pc:spChg chg="mod">
          <ac:chgData name="Gurunand" userId="3497c6a8-6cb2-4308-974d-19fae6631586" providerId="ADAL" clId="{AE6C28FE-C444-41AA-9931-8C8AB2F160FE}" dt="2020-10-02T20:05:08.637" v="132" actId="313"/>
          <ac:spMkLst>
            <pc:docMk/>
            <pc:sldMk cId="2829381692" sldId="393"/>
            <ac:spMk id="2" creationId="{00000000-0000-0000-0000-000000000000}"/>
          </ac:spMkLst>
        </pc:spChg>
        <pc:spChg chg="add">
          <ac:chgData name="Gurunand" userId="3497c6a8-6cb2-4308-974d-19fae6631586" providerId="ADAL" clId="{AE6C28FE-C444-41AA-9931-8C8AB2F160FE}" dt="2020-10-02T18:41:30.579" v="4" actId="22"/>
          <ac:spMkLst>
            <pc:docMk/>
            <pc:sldMk cId="2829381692" sldId="393"/>
            <ac:spMk id="3" creationId="{74CFCB12-6BA0-44C4-B447-325896052D10}"/>
          </ac:spMkLst>
        </pc:spChg>
      </pc:sldChg>
      <pc:sldChg chg="modSp mod">
        <pc:chgData name="Gurunand" userId="3497c6a8-6cb2-4308-974d-19fae6631586" providerId="ADAL" clId="{AE6C28FE-C444-41AA-9931-8C8AB2F160FE}" dt="2020-10-02T20:16:17.005" v="232"/>
        <pc:sldMkLst>
          <pc:docMk/>
          <pc:sldMk cId="706555508" sldId="426"/>
        </pc:sldMkLst>
        <pc:spChg chg="mod">
          <ac:chgData name="Gurunand" userId="3497c6a8-6cb2-4308-974d-19fae6631586" providerId="ADAL" clId="{AE6C28FE-C444-41AA-9931-8C8AB2F160FE}" dt="2020-10-02T20:16:17.005" v="232"/>
          <ac:spMkLst>
            <pc:docMk/>
            <pc:sldMk cId="706555508" sldId="426"/>
            <ac:spMk id="2" creationId="{00000000-0000-0000-0000-000000000000}"/>
          </ac:spMkLst>
        </pc:spChg>
        <pc:spChg chg="mod">
          <ac:chgData name="Gurunand" userId="3497c6a8-6cb2-4308-974d-19fae6631586" providerId="ADAL" clId="{AE6C28FE-C444-41AA-9931-8C8AB2F160FE}" dt="2020-10-02T20:02:39.070" v="126" actId="13926"/>
          <ac:spMkLst>
            <pc:docMk/>
            <pc:sldMk cId="706555508" sldId="426"/>
            <ac:spMk id="4" creationId="{00000000-0000-0000-0000-000000000000}"/>
          </ac:spMkLst>
        </pc:spChg>
      </pc:sldChg>
      <pc:sldChg chg="addSp modSp mod">
        <pc:chgData name="Gurunand" userId="3497c6a8-6cb2-4308-974d-19fae6631586" providerId="ADAL" clId="{AE6C28FE-C444-41AA-9931-8C8AB2F160FE}" dt="2020-10-02T20:04:39.535" v="128" actId="313"/>
        <pc:sldMkLst>
          <pc:docMk/>
          <pc:sldMk cId="3705176354" sldId="428"/>
        </pc:sldMkLst>
        <pc:spChg chg="mod">
          <ac:chgData name="Gurunand" userId="3497c6a8-6cb2-4308-974d-19fae6631586" providerId="ADAL" clId="{AE6C28FE-C444-41AA-9931-8C8AB2F160FE}" dt="2020-10-02T20:04:07.341" v="127"/>
          <ac:spMkLst>
            <pc:docMk/>
            <pc:sldMk cId="3705176354" sldId="428"/>
            <ac:spMk id="2" creationId="{00000000-0000-0000-0000-000000000000}"/>
          </ac:spMkLst>
        </pc:spChg>
        <pc:spChg chg="add">
          <ac:chgData name="Gurunand" userId="3497c6a8-6cb2-4308-974d-19fae6631586" providerId="ADAL" clId="{AE6C28FE-C444-41AA-9931-8C8AB2F160FE}" dt="2020-10-02T18:41:08.025" v="1" actId="22"/>
          <ac:spMkLst>
            <pc:docMk/>
            <pc:sldMk cId="3705176354" sldId="428"/>
            <ac:spMk id="4" creationId="{E5500B19-362D-4F5E-9470-2EBBE5B25EC9}"/>
          </ac:spMkLst>
        </pc:spChg>
        <pc:spChg chg="mod">
          <ac:chgData name="Gurunand" userId="3497c6a8-6cb2-4308-974d-19fae6631586" providerId="ADAL" clId="{AE6C28FE-C444-41AA-9931-8C8AB2F160FE}" dt="2020-10-02T20:04:39.535" v="128" actId="313"/>
          <ac:spMkLst>
            <pc:docMk/>
            <pc:sldMk cId="3705176354" sldId="428"/>
            <ac:spMk id="77" creationId="{00000000-0000-0000-0000-000000000000}"/>
          </ac:spMkLst>
        </pc:spChg>
      </pc:sldChg>
      <pc:sldChg chg="addSp delSp modSp mod">
        <pc:chgData name="Gurunand" userId="3497c6a8-6cb2-4308-974d-19fae6631586" providerId="ADAL" clId="{AE6C28FE-C444-41AA-9931-8C8AB2F160FE}" dt="2020-10-02T19:52:35.943" v="64"/>
        <pc:sldMkLst>
          <pc:docMk/>
          <pc:sldMk cId="2872844160" sldId="440"/>
        </pc:sldMkLst>
        <pc:spChg chg="mod">
          <ac:chgData name="Gurunand" userId="3497c6a8-6cb2-4308-974d-19fae6631586" providerId="ADAL" clId="{AE6C28FE-C444-41AA-9931-8C8AB2F160FE}" dt="2020-10-02T19:51:48.051" v="58" actId="1076"/>
          <ac:spMkLst>
            <pc:docMk/>
            <pc:sldMk cId="2872844160" sldId="440"/>
            <ac:spMk id="2" creationId="{000F93BD-1633-45C3-B844-70B135096D8F}"/>
          </ac:spMkLst>
        </pc:spChg>
        <pc:spChg chg="add">
          <ac:chgData name="Gurunand" userId="3497c6a8-6cb2-4308-974d-19fae6631586" providerId="ADAL" clId="{AE6C28FE-C444-41AA-9931-8C8AB2F160FE}" dt="2020-10-02T18:41:01.607" v="0" actId="22"/>
          <ac:spMkLst>
            <pc:docMk/>
            <pc:sldMk cId="2872844160" sldId="440"/>
            <ac:spMk id="3" creationId="{A960877F-3DB9-4462-B2DE-89E2078544E4}"/>
          </ac:spMkLst>
        </pc:spChg>
        <pc:spChg chg="del mod">
          <ac:chgData name="Gurunand" userId="3497c6a8-6cb2-4308-974d-19fae6631586" providerId="ADAL" clId="{AE6C28FE-C444-41AA-9931-8C8AB2F160FE}" dt="2020-10-02T19:51:35.684" v="56" actId="478"/>
          <ac:spMkLst>
            <pc:docMk/>
            <pc:sldMk cId="2872844160" sldId="440"/>
            <ac:spMk id="4" creationId="{3E964DF1-1215-4823-93FD-5E4AFD5E8740}"/>
          </ac:spMkLst>
        </pc:spChg>
        <pc:spChg chg="mod">
          <ac:chgData name="Gurunand" userId="3497c6a8-6cb2-4308-974d-19fae6631586" providerId="ADAL" clId="{AE6C28FE-C444-41AA-9931-8C8AB2F160FE}" dt="2020-10-02T19:52:35.943" v="64"/>
          <ac:spMkLst>
            <pc:docMk/>
            <pc:sldMk cId="2872844160" sldId="440"/>
            <ac:spMk id="14" creationId="{10910E56-12B7-4659-A83E-149B51BC73C3}"/>
          </ac:spMkLst>
        </pc:spChg>
        <pc:spChg chg="mod">
          <ac:chgData name="Gurunand" userId="3497c6a8-6cb2-4308-974d-19fae6631586" providerId="ADAL" clId="{AE6C28FE-C444-41AA-9931-8C8AB2F160FE}" dt="2020-10-02T19:52:10.851" v="61"/>
          <ac:spMkLst>
            <pc:docMk/>
            <pc:sldMk cId="2872844160" sldId="440"/>
            <ac:spMk id="20" creationId="{00000000-0000-0000-0000-000000000000}"/>
          </ac:spMkLst>
        </pc:spChg>
      </pc:sldChg>
      <pc:sldChg chg="addSp modSp mod">
        <pc:chgData name="Gurunand" userId="3497c6a8-6cb2-4308-974d-19fae6631586" providerId="ADAL" clId="{AE6C28FE-C444-41AA-9931-8C8AB2F160FE}" dt="2020-10-02T20:08:29.350" v="148" actId="313"/>
        <pc:sldMkLst>
          <pc:docMk/>
          <pc:sldMk cId="318827490" sldId="456"/>
        </pc:sldMkLst>
        <pc:spChg chg="mod">
          <ac:chgData name="Gurunand" userId="3497c6a8-6cb2-4308-974d-19fae6631586" providerId="ADAL" clId="{AE6C28FE-C444-41AA-9931-8C8AB2F160FE}" dt="2020-10-02T20:08:29.350" v="148" actId="313"/>
          <ac:spMkLst>
            <pc:docMk/>
            <pc:sldMk cId="318827490" sldId="456"/>
            <ac:spMk id="2" creationId="{00000000-0000-0000-0000-000000000000}"/>
          </ac:spMkLst>
        </pc:spChg>
        <pc:spChg chg="add">
          <ac:chgData name="Gurunand" userId="3497c6a8-6cb2-4308-974d-19fae6631586" providerId="ADAL" clId="{AE6C28FE-C444-41AA-9931-8C8AB2F160FE}" dt="2020-10-02T18:41:49.932" v="8" actId="22"/>
          <ac:spMkLst>
            <pc:docMk/>
            <pc:sldMk cId="318827490" sldId="456"/>
            <ac:spMk id="4" creationId="{F61AA9C2-87EC-4A6F-BE41-401526484818}"/>
          </ac:spMkLst>
        </pc:spChg>
        <pc:spChg chg="mod">
          <ac:chgData name="Gurunand" userId="3497c6a8-6cb2-4308-974d-19fae6631586" providerId="ADAL" clId="{AE6C28FE-C444-41AA-9931-8C8AB2F160FE}" dt="2020-10-02T20:06:25.032" v="141" actId="313"/>
          <ac:spMkLst>
            <pc:docMk/>
            <pc:sldMk cId="318827490" sldId="456"/>
            <ac:spMk id="21" creationId="{00000000-0000-0000-0000-000000000000}"/>
          </ac:spMkLst>
        </pc:spChg>
        <pc:spChg chg="mod">
          <ac:chgData name="Gurunand" userId="3497c6a8-6cb2-4308-974d-19fae6631586" providerId="ADAL" clId="{AE6C28FE-C444-41AA-9931-8C8AB2F160FE}" dt="2020-10-02T19:55:33.878" v="84" actId="1076"/>
          <ac:spMkLst>
            <pc:docMk/>
            <pc:sldMk cId="318827490" sldId="456"/>
            <ac:spMk id="77" creationId="{00000000-0000-0000-0000-000000000000}"/>
          </ac:spMkLst>
        </pc:spChg>
      </pc:sldChg>
      <pc:sldChg chg="modSp mod">
        <pc:chgData name="Gurunand" userId="3497c6a8-6cb2-4308-974d-19fae6631586" providerId="ADAL" clId="{AE6C28FE-C444-41AA-9931-8C8AB2F160FE}" dt="2020-10-02T19:56:09.905" v="87"/>
        <pc:sldMkLst>
          <pc:docMk/>
          <pc:sldMk cId="64462132" sldId="457"/>
        </pc:sldMkLst>
        <pc:spChg chg="mod">
          <ac:chgData name="Gurunand" userId="3497c6a8-6cb2-4308-974d-19fae6631586" providerId="ADAL" clId="{AE6C28FE-C444-41AA-9931-8C8AB2F160FE}" dt="2020-10-02T19:55:50.341" v="85"/>
          <ac:spMkLst>
            <pc:docMk/>
            <pc:sldMk cId="64462132" sldId="457"/>
            <ac:spMk id="2" creationId="{00000000-0000-0000-0000-000000000000}"/>
          </ac:spMkLst>
        </pc:spChg>
        <pc:spChg chg="mod">
          <ac:chgData name="Gurunand" userId="3497c6a8-6cb2-4308-974d-19fae6631586" providerId="ADAL" clId="{AE6C28FE-C444-41AA-9931-8C8AB2F160FE}" dt="2020-10-02T19:55:58.646" v="86"/>
          <ac:spMkLst>
            <pc:docMk/>
            <pc:sldMk cId="64462132" sldId="457"/>
            <ac:spMk id="7" creationId="{B633BA49-44C2-41E0-8A5F-10881248D9C0}"/>
          </ac:spMkLst>
        </pc:spChg>
        <pc:spChg chg="mod">
          <ac:chgData name="Gurunand" userId="3497c6a8-6cb2-4308-974d-19fae6631586" providerId="ADAL" clId="{AE6C28FE-C444-41AA-9931-8C8AB2F160FE}" dt="2020-10-02T19:56:09.905" v="87"/>
          <ac:spMkLst>
            <pc:docMk/>
            <pc:sldMk cId="64462132" sldId="457"/>
            <ac:spMk id="13" creationId="{00000000-0000-0000-0000-000000000000}"/>
          </ac:spMkLst>
        </pc:spChg>
      </pc:sldChg>
      <pc:sldChg chg="modSp mod">
        <pc:chgData name="Gurunand" userId="3497c6a8-6cb2-4308-974d-19fae6631586" providerId="ADAL" clId="{AE6C28FE-C444-41AA-9931-8C8AB2F160FE}" dt="2020-10-02T19:56:27.773" v="89"/>
        <pc:sldMkLst>
          <pc:docMk/>
          <pc:sldMk cId="1282065873" sldId="458"/>
        </pc:sldMkLst>
        <pc:spChg chg="mod">
          <ac:chgData name="Gurunand" userId="3497c6a8-6cb2-4308-974d-19fae6631586" providerId="ADAL" clId="{AE6C28FE-C444-41AA-9931-8C8AB2F160FE}" dt="2020-10-02T19:56:17.641" v="88"/>
          <ac:spMkLst>
            <pc:docMk/>
            <pc:sldMk cId="1282065873" sldId="458"/>
            <ac:spMk id="2" creationId="{00000000-0000-0000-0000-000000000000}"/>
          </ac:spMkLst>
        </pc:spChg>
        <pc:spChg chg="mod">
          <ac:chgData name="Gurunand" userId="3497c6a8-6cb2-4308-974d-19fae6631586" providerId="ADAL" clId="{AE6C28FE-C444-41AA-9931-8C8AB2F160FE}" dt="2020-10-02T19:56:27.773" v="89"/>
          <ac:spMkLst>
            <pc:docMk/>
            <pc:sldMk cId="1282065873" sldId="458"/>
            <ac:spMk id="19" creationId="{8D9A2195-E46A-4A5C-BD11-87B61401C498}"/>
          </ac:spMkLst>
        </pc:spChg>
      </pc:sldChg>
      <pc:sldChg chg="modSp mod">
        <pc:chgData name="Gurunand" userId="3497c6a8-6cb2-4308-974d-19fae6631586" providerId="ADAL" clId="{AE6C28FE-C444-41AA-9931-8C8AB2F160FE}" dt="2020-10-02T19:56:47.114" v="91"/>
        <pc:sldMkLst>
          <pc:docMk/>
          <pc:sldMk cId="2955311574" sldId="459"/>
        </pc:sldMkLst>
        <pc:spChg chg="mod">
          <ac:chgData name="Gurunand" userId="3497c6a8-6cb2-4308-974d-19fae6631586" providerId="ADAL" clId="{AE6C28FE-C444-41AA-9931-8C8AB2F160FE}" dt="2020-10-02T19:56:38.005" v="90"/>
          <ac:spMkLst>
            <pc:docMk/>
            <pc:sldMk cId="2955311574" sldId="459"/>
            <ac:spMk id="2" creationId="{00000000-0000-0000-0000-000000000000}"/>
          </ac:spMkLst>
        </pc:spChg>
        <pc:spChg chg="mod">
          <ac:chgData name="Gurunand" userId="3497c6a8-6cb2-4308-974d-19fae6631586" providerId="ADAL" clId="{AE6C28FE-C444-41AA-9931-8C8AB2F160FE}" dt="2020-10-02T19:56:47.114" v="91"/>
          <ac:spMkLst>
            <pc:docMk/>
            <pc:sldMk cId="2955311574" sldId="459"/>
            <ac:spMk id="19" creationId="{A5637282-18F0-4AB5-8A7A-D839BEAE8C8E}"/>
          </ac:spMkLst>
        </pc:spChg>
      </pc:sldChg>
      <pc:sldChg chg="modSp mod">
        <pc:chgData name="Gurunand" userId="3497c6a8-6cb2-4308-974d-19fae6631586" providerId="ADAL" clId="{AE6C28FE-C444-41AA-9931-8C8AB2F160FE}" dt="2020-10-02T19:59:17.127" v="107"/>
        <pc:sldMkLst>
          <pc:docMk/>
          <pc:sldMk cId="1606788452" sldId="463"/>
        </pc:sldMkLst>
        <pc:spChg chg="mod">
          <ac:chgData name="Gurunand" userId="3497c6a8-6cb2-4308-974d-19fae6631586" providerId="ADAL" clId="{AE6C28FE-C444-41AA-9931-8C8AB2F160FE}" dt="2020-10-02T19:59:17.127" v="107"/>
          <ac:spMkLst>
            <pc:docMk/>
            <pc:sldMk cId="1606788452" sldId="463"/>
            <ac:spMk id="2" creationId="{00000000-0000-0000-0000-000000000000}"/>
          </ac:spMkLst>
        </pc:spChg>
      </pc:sldChg>
      <pc:sldChg chg="modSp mod">
        <pc:chgData name="Gurunand" userId="3497c6a8-6cb2-4308-974d-19fae6631586" providerId="ADAL" clId="{AE6C28FE-C444-41AA-9931-8C8AB2F160FE}" dt="2020-10-02T19:59:27.485" v="108"/>
        <pc:sldMkLst>
          <pc:docMk/>
          <pc:sldMk cId="1229755797" sldId="464"/>
        </pc:sldMkLst>
        <pc:spChg chg="mod">
          <ac:chgData name="Gurunand" userId="3497c6a8-6cb2-4308-974d-19fae6631586" providerId="ADAL" clId="{AE6C28FE-C444-41AA-9931-8C8AB2F160FE}" dt="2020-10-02T19:59:27.485" v="108"/>
          <ac:spMkLst>
            <pc:docMk/>
            <pc:sldMk cId="1229755797" sldId="464"/>
            <ac:spMk id="2" creationId="{00000000-0000-0000-0000-000000000000}"/>
          </ac:spMkLst>
        </pc:spChg>
      </pc:sldChg>
      <pc:sldChg chg="modSp mod">
        <pc:chgData name="Gurunand" userId="3497c6a8-6cb2-4308-974d-19fae6631586" providerId="ADAL" clId="{AE6C28FE-C444-41AA-9931-8C8AB2F160FE}" dt="2020-10-02T19:57:54.070" v="99"/>
        <pc:sldMkLst>
          <pc:docMk/>
          <pc:sldMk cId="3135919075" sldId="468"/>
        </pc:sldMkLst>
        <pc:spChg chg="mod">
          <ac:chgData name="Gurunand" userId="3497c6a8-6cb2-4308-974d-19fae6631586" providerId="ADAL" clId="{AE6C28FE-C444-41AA-9931-8C8AB2F160FE}" dt="2020-10-02T19:57:54.070" v="99"/>
          <ac:spMkLst>
            <pc:docMk/>
            <pc:sldMk cId="3135919075" sldId="468"/>
            <ac:spMk id="2" creationId="{00000000-0000-0000-0000-000000000000}"/>
          </ac:spMkLst>
        </pc:spChg>
      </pc:sldChg>
      <pc:sldChg chg="del">
        <pc:chgData name="Gurunand" userId="3497c6a8-6cb2-4308-974d-19fae6631586" providerId="ADAL" clId="{AE6C28FE-C444-41AA-9931-8C8AB2F160FE}" dt="2020-10-02T18:42:38.881" v="20" actId="47"/>
        <pc:sldMkLst>
          <pc:docMk/>
          <pc:sldMk cId="415686876" sldId="471"/>
        </pc:sldMkLst>
      </pc:sldChg>
      <pc:sldChg chg="del">
        <pc:chgData name="Gurunand" userId="3497c6a8-6cb2-4308-974d-19fae6631586" providerId="ADAL" clId="{AE6C28FE-C444-41AA-9931-8C8AB2F160FE}" dt="2020-10-02T18:42:40.071" v="21" actId="47"/>
        <pc:sldMkLst>
          <pc:docMk/>
          <pc:sldMk cId="1932913272" sldId="472"/>
        </pc:sldMkLst>
      </pc:sldChg>
      <pc:sldChg chg="del">
        <pc:chgData name="Gurunand" userId="3497c6a8-6cb2-4308-974d-19fae6631586" providerId="ADAL" clId="{AE6C28FE-C444-41AA-9931-8C8AB2F160FE}" dt="2020-10-02T18:42:40.626" v="22" actId="47"/>
        <pc:sldMkLst>
          <pc:docMk/>
          <pc:sldMk cId="3036870701" sldId="473"/>
        </pc:sldMkLst>
      </pc:sldChg>
      <pc:sldChg chg="del">
        <pc:chgData name="Gurunand" userId="3497c6a8-6cb2-4308-974d-19fae6631586" providerId="ADAL" clId="{AE6C28FE-C444-41AA-9931-8C8AB2F160FE}" dt="2020-10-02T18:42:41.306" v="23" actId="47"/>
        <pc:sldMkLst>
          <pc:docMk/>
          <pc:sldMk cId="2478356659" sldId="474"/>
        </pc:sldMkLst>
      </pc:sldChg>
      <pc:sldChg chg="del">
        <pc:chgData name="Gurunand" userId="3497c6a8-6cb2-4308-974d-19fae6631586" providerId="ADAL" clId="{AE6C28FE-C444-41AA-9931-8C8AB2F160FE}" dt="2020-10-02T18:42:42.615" v="24" actId="47"/>
        <pc:sldMkLst>
          <pc:docMk/>
          <pc:sldMk cId="1839882295" sldId="476"/>
        </pc:sldMkLst>
      </pc:sldChg>
      <pc:sldChg chg="del">
        <pc:chgData name="Gurunand" userId="3497c6a8-6cb2-4308-974d-19fae6631586" providerId="ADAL" clId="{AE6C28FE-C444-41AA-9931-8C8AB2F160FE}" dt="2020-10-02T18:42:44.218" v="25" actId="47"/>
        <pc:sldMkLst>
          <pc:docMk/>
          <pc:sldMk cId="1396904212" sldId="477"/>
        </pc:sldMkLst>
      </pc:sldChg>
      <pc:sldChg chg="del">
        <pc:chgData name="Gurunand" userId="3497c6a8-6cb2-4308-974d-19fae6631586" providerId="ADAL" clId="{AE6C28FE-C444-41AA-9931-8C8AB2F160FE}" dt="2020-10-02T18:42:45.039" v="26" actId="47"/>
        <pc:sldMkLst>
          <pc:docMk/>
          <pc:sldMk cId="2330178975" sldId="478"/>
        </pc:sldMkLst>
      </pc:sldChg>
      <pc:sldChg chg="del">
        <pc:chgData name="Gurunand" userId="3497c6a8-6cb2-4308-974d-19fae6631586" providerId="ADAL" clId="{AE6C28FE-C444-41AA-9931-8C8AB2F160FE}" dt="2020-10-02T18:42:46.165" v="27" actId="47"/>
        <pc:sldMkLst>
          <pc:docMk/>
          <pc:sldMk cId="654666181" sldId="479"/>
        </pc:sldMkLst>
      </pc:sldChg>
      <pc:sldChg chg="del">
        <pc:chgData name="Gurunand" userId="3497c6a8-6cb2-4308-974d-19fae6631586" providerId="ADAL" clId="{AE6C28FE-C444-41AA-9931-8C8AB2F160FE}" dt="2020-10-02T18:42:46.856" v="28" actId="47"/>
        <pc:sldMkLst>
          <pc:docMk/>
          <pc:sldMk cId="1732276980" sldId="480"/>
        </pc:sldMkLst>
      </pc:sldChg>
      <pc:sldChg chg="addSp delSp modSp mod">
        <pc:chgData name="Gurunand" userId="3497c6a8-6cb2-4308-974d-19fae6631586" providerId="ADAL" clId="{AE6C28FE-C444-41AA-9931-8C8AB2F160FE}" dt="2020-10-02T20:13:59.753" v="150" actId="1035"/>
        <pc:sldMkLst>
          <pc:docMk/>
          <pc:sldMk cId="1684810098" sldId="481"/>
        </pc:sldMkLst>
        <pc:spChg chg="mod">
          <ac:chgData name="Gurunand" userId="3497c6a8-6cb2-4308-974d-19fae6631586" providerId="ADAL" clId="{AE6C28FE-C444-41AA-9931-8C8AB2F160FE}" dt="2020-10-02T20:13:59.753" v="150" actId="1035"/>
          <ac:spMkLst>
            <pc:docMk/>
            <pc:sldMk cId="1684810098" sldId="481"/>
            <ac:spMk id="2" creationId="{000F93BD-1633-45C3-B844-70B135096D8F}"/>
          </ac:spMkLst>
        </pc:spChg>
        <pc:spChg chg="del">
          <ac:chgData name="Gurunand" userId="3497c6a8-6cb2-4308-974d-19fae6631586" providerId="ADAL" clId="{AE6C28FE-C444-41AA-9931-8C8AB2F160FE}" dt="2020-10-02T19:53:02.543" v="68" actId="478"/>
          <ac:spMkLst>
            <pc:docMk/>
            <pc:sldMk cId="1684810098" sldId="481"/>
            <ac:spMk id="4" creationId="{3E964DF1-1215-4823-93FD-5E4AFD5E8740}"/>
          </ac:spMkLst>
        </pc:spChg>
        <pc:spChg chg="add">
          <ac:chgData name="Gurunand" userId="3497c6a8-6cb2-4308-974d-19fae6631586" providerId="ADAL" clId="{AE6C28FE-C444-41AA-9931-8C8AB2F160FE}" dt="2020-10-02T18:41:45.529" v="7" actId="22"/>
          <ac:spMkLst>
            <pc:docMk/>
            <pc:sldMk cId="1684810098" sldId="481"/>
            <ac:spMk id="5" creationId="{1C95AF35-FAC3-40C6-819B-F1A192E886D3}"/>
          </ac:spMkLst>
        </pc:spChg>
        <pc:spChg chg="mod">
          <ac:chgData name="Gurunand" userId="3497c6a8-6cb2-4308-974d-19fae6631586" providerId="ADAL" clId="{AE6C28FE-C444-41AA-9931-8C8AB2F160FE}" dt="2020-10-02T19:54:26.233" v="70"/>
          <ac:spMkLst>
            <pc:docMk/>
            <pc:sldMk cId="1684810098" sldId="481"/>
            <ac:spMk id="14" creationId="{10910E56-12B7-4659-A83E-149B51BC73C3}"/>
          </ac:spMkLst>
        </pc:spChg>
        <pc:spChg chg="mod">
          <ac:chgData name="Gurunand" userId="3497c6a8-6cb2-4308-974d-19fae6631586" providerId="ADAL" clId="{AE6C28FE-C444-41AA-9931-8C8AB2F160FE}" dt="2020-10-02T19:52:56.341" v="67"/>
          <ac:spMkLst>
            <pc:docMk/>
            <pc:sldMk cId="1684810098" sldId="481"/>
            <ac:spMk id="20" creationId="{00000000-0000-0000-0000-000000000000}"/>
          </ac:spMkLst>
        </pc:spChg>
      </pc:sldChg>
      <pc:sldChg chg="del">
        <pc:chgData name="Gurunand" userId="3497c6a8-6cb2-4308-974d-19fae6631586" providerId="ADAL" clId="{AE6C28FE-C444-41AA-9931-8C8AB2F160FE}" dt="2020-10-02T18:42:37.820" v="19" actId="47"/>
        <pc:sldMkLst>
          <pc:docMk/>
          <pc:sldMk cId="1664973961" sldId="482"/>
        </pc:sldMkLst>
      </pc:sldChg>
      <pc:sldChg chg="delSp modSp mod">
        <pc:chgData name="Gurunand" userId="3497c6a8-6cb2-4308-974d-19fae6631586" providerId="ADAL" clId="{AE6C28FE-C444-41AA-9931-8C8AB2F160FE}" dt="2020-10-02T20:14:18.992" v="202" actId="1035"/>
        <pc:sldMkLst>
          <pc:docMk/>
          <pc:sldMk cId="1800981068" sldId="483"/>
        </pc:sldMkLst>
        <pc:spChg chg="mod">
          <ac:chgData name="Gurunand" userId="3497c6a8-6cb2-4308-974d-19fae6631586" providerId="ADAL" clId="{AE6C28FE-C444-41AA-9931-8C8AB2F160FE}" dt="2020-10-02T20:14:18.992" v="202" actId="1035"/>
          <ac:spMkLst>
            <pc:docMk/>
            <pc:sldMk cId="1800981068" sldId="483"/>
            <ac:spMk id="2" creationId="{000F93BD-1633-45C3-B844-70B135096D8F}"/>
          </ac:spMkLst>
        </pc:spChg>
        <pc:spChg chg="del">
          <ac:chgData name="Gurunand" userId="3497c6a8-6cb2-4308-974d-19fae6631586" providerId="ADAL" clId="{AE6C28FE-C444-41AA-9931-8C8AB2F160FE}" dt="2020-10-02T20:07:44.062" v="145" actId="478"/>
          <ac:spMkLst>
            <pc:docMk/>
            <pc:sldMk cId="1800981068" sldId="483"/>
            <ac:spMk id="4" creationId="{3E964DF1-1215-4823-93FD-5E4AFD5E8740}"/>
          </ac:spMkLst>
        </pc:spChg>
        <pc:spChg chg="mod">
          <ac:chgData name="Gurunand" userId="3497c6a8-6cb2-4308-974d-19fae6631586" providerId="ADAL" clId="{AE6C28FE-C444-41AA-9931-8C8AB2F160FE}" dt="2020-10-02T20:14:18.992" v="202" actId="1035"/>
          <ac:spMkLst>
            <pc:docMk/>
            <pc:sldMk cId="1800981068" sldId="483"/>
            <ac:spMk id="12" creationId="{00000000-0000-0000-0000-000000000000}"/>
          </ac:spMkLst>
        </pc:spChg>
        <pc:spChg chg="mod">
          <ac:chgData name="Gurunand" userId="3497c6a8-6cb2-4308-974d-19fae6631586" providerId="ADAL" clId="{AE6C28FE-C444-41AA-9931-8C8AB2F160FE}" dt="2020-10-02T20:07:37.590" v="144" actId="313"/>
          <ac:spMkLst>
            <pc:docMk/>
            <pc:sldMk cId="1800981068" sldId="483"/>
            <ac:spMk id="14" creationId="{10910E56-12B7-4659-A83E-149B51BC73C3}"/>
          </ac:spMkLst>
        </pc:spChg>
        <pc:spChg chg="mod">
          <ac:chgData name="Gurunand" userId="3497c6a8-6cb2-4308-974d-19fae6631586" providerId="ADAL" clId="{AE6C28FE-C444-41AA-9931-8C8AB2F160FE}" dt="2020-10-02T20:05:16.074" v="135" actId="313"/>
          <ac:spMkLst>
            <pc:docMk/>
            <pc:sldMk cId="1800981068" sldId="483"/>
            <ac:spMk id="20" creationId="{00000000-0000-0000-0000-000000000000}"/>
          </ac:spMkLst>
        </pc:spChg>
        <pc:grpChg chg="mod">
          <ac:chgData name="Gurunand" userId="3497c6a8-6cb2-4308-974d-19fae6631586" providerId="ADAL" clId="{AE6C28FE-C444-41AA-9931-8C8AB2F160FE}" dt="2020-10-02T20:14:18.992" v="202" actId="1035"/>
          <ac:grpSpMkLst>
            <pc:docMk/>
            <pc:sldMk cId="1800981068" sldId="483"/>
            <ac:grpSpMk id="3" creationId="{39B0CC43-18D5-47E5-AD76-A975AE443BFC}"/>
          </ac:grpSpMkLst>
        </pc:grpChg>
        <pc:picChg chg="mod">
          <ac:chgData name="Gurunand" userId="3497c6a8-6cb2-4308-974d-19fae6631586" providerId="ADAL" clId="{AE6C28FE-C444-41AA-9931-8C8AB2F160FE}" dt="2020-10-02T20:14:18.992" v="202" actId="1035"/>
          <ac:picMkLst>
            <pc:docMk/>
            <pc:sldMk cId="1800981068" sldId="483"/>
            <ac:picMk id="11" creationId="{00000000-0000-0000-0000-000000000000}"/>
          </ac:picMkLst>
        </pc:picChg>
      </pc:sldChg>
      <pc:sldChg chg="delSp modSp mod">
        <pc:chgData name="Gurunand" userId="3497c6a8-6cb2-4308-974d-19fae6631586" providerId="ADAL" clId="{AE6C28FE-C444-41AA-9931-8C8AB2F160FE}" dt="2020-10-02T20:14:54.964" v="229" actId="1036"/>
        <pc:sldMkLst>
          <pc:docMk/>
          <pc:sldMk cId="860295773" sldId="484"/>
        </pc:sldMkLst>
        <pc:spChg chg="mod">
          <ac:chgData name="Gurunand" userId="3497c6a8-6cb2-4308-974d-19fae6631586" providerId="ADAL" clId="{AE6C28FE-C444-41AA-9931-8C8AB2F160FE}" dt="2020-10-02T20:14:54.964" v="229" actId="1036"/>
          <ac:spMkLst>
            <pc:docMk/>
            <pc:sldMk cId="860295773" sldId="484"/>
            <ac:spMk id="2" creationId="{000F93BD-1633-45C3-B844-70B135096D8F}"/>
          </ac:spMkLst>
        </pc:spChg>
        <pc:spChg chg="del">
          <ac:chgData name="Gurunand" userId="3497c6a8-6cb2-4308-974d-19fae6631586" providerId="ADAL" clId="{AE6C28FE-C444-41AA-9931-8C8AB2F160FE}" dt="2020-10-02T20:08:06.089" v="147" actId="478"/>
          <ac:spMkLst>
            <pc:docMk/>
            <pc:sldMk cId="860295773" sldId="484"/>
            <ac:spMk id="4" creationId="{3E964DF1-1215-4823-93FD-5E4AFD5E8740}"/>
          </ac:spMkLst>
        </pc:spChg>
        <pc:spChg chg="mod">
          <ac:chgData name="Gurunand" userId="3497c6a8-6cb2-4308-974d-19fae6631586" providerId="ADAL" clId="{AE6C28FE-C444-41AA-9931-8C8AB2F160FE}" dt="2020-10-02T20:14:54.964" v="229" actId="1036"/>
          <ac:spMkLst>
            <pc:docMk/>
            <pc:sldMk cId="860295773" sldId="484"/>
            <ac:spMk id="12" creationId="{00000000-0000-0000-0000-000000000000}"/>
          </ac:spMkLst>
        </pc:spChg>
        <pc:spChg chg="mod">
          <ac:chgData name="Gurunand" userId="3497c6a8-6cb2-4308-974d-19fae6631586" providerId="ADAL" clId="{AE6C28FE-C444-41AA-9931-8C8AB2F160FE}" dt="2020-10-02T20:08:02.656" v="146" actId="313"/>
          <ac:spMkLst>
            <pc:docMk/>
            <pc:sldMk cId="860295773" sldId="484"/>
            <ac:spMk id="14" creationId="{10910E56-12B7-4659-A83E-149B51BC73C3}"/>
          </ac:spMkLst>
        </pc:spChg>
        <pc:spChg chg="mod">
          <ac:chgData name="Gurunand" userId="3497c6a8-6cb2-4308-974d-19fae6631586" providerId="ADAL" clId="{AE6C28FE-C444-41AA-9931-8C8AB2F160FE}" dt="2020-10-02T20:05:19.087" v="136" actId="313"/>
          <ac:spMkLst>
            <pc:docMk/>
            <pc:sldMk cId="860295773" sldId="484"/>
            <ac:spMk id="20" creationId="{00000000-0000-0000-0000-000000000000}"/>
          </ac:spMkLst>
        </pc:spChg>
        <pc:grpChg chg="mod">
          <ac:chgData name="Gurunand" userId="3497c6a8-6cb2-4308-974d-19fae6631586" providerId="ADAL" clId="{AE6C28FE-C444-41AA-9931-8C8AB2F160FE}" dt="2020-10-02T20:14:54.964" v="229" actId="1036"/>
          <ac:grpSpMkLst>
            <pc:docMk/>
            <pc:sldMk cId="860295773" sldId="484"/>
            <ac:grpSpMk id="3" creationId="{39B0CC43-18D5-47E5-AD76-A975AE443BFC}"/>
          </ac:grpSpMkLst>
        </pc:grpChg>
        <pc:picChg chg="mod">
          <ac:chgData name="Gurunand" userId="3497c6a8-6cb2-4308-974d-19fae6631586" providerId="ADAL" clId="{AE6C28FE-C444-41AA-9931-8C8AB2F160FE}" dt="2020-10-02T20:14:54.964" v="229" actId="1036"/>
          <ac:picMkLst>
            <pc:docMk/>
            <pc:sldMk cId="860295773" sldId="484"/>
            <ac:picMk id="11" creationId="{00000000-0000-0000-0000-000000000000}"/>
          </ac:picMkLst>
        </pc:picChg>
      </pc:sldChg>
      <pc:sldChg chg="addSp delSp modSp mod">
        <pc:chgData name="Gurunand" userId="3497c6a8-6cb2-4308-974d-19fae6631586" providerId="ADAL" clId="{AE6C28FE-C444-41AA-9931-8C8AB2F160FE}" dt="2020-10-07T14:42:39.777" v="534"/>
        <pc:sldMkLst>
          <pc:docMk/>
          <pc:sldMk cId="2390210828" sldId="485"/>
        </pc:sldMkLst>
        <pc:spChg chg="mod">
          <ac:chgData name="Gurunand" userId="3497c6a8-6cb2-4308-974d-19fae6631586" providerId="ADAL" clId="{AE6C28FE-C444-41AA-9931-8C8AB2F160FE}" dt="2020-10-02T20:05:06.753" v="131" actId="313"/>
          <ac:spMkLst>
            <pc:docMk/>
            <pc:sldMk cId="2390210828" sldId="485"/>
            <ac:spMk id="2" creationId="{00000000-0000-0000-0000-000000000000}"/>
          </ac:spMkLst>
        </pc:spChg>
        <pc:spChg chg="add del mod">
          <ac:chgData name="Gurunand" userId="3497c6a8-6cb2-4308-974d-19fae6631586" providerId="ADAL" clId="{AE6C28FE-C444-41AA-9931-8C8AB2F160FE}" dt="2020-10-05T00:54:31.203" v="334" actId="478"/>
          <ac:spMkLst>
            <pc:docMk/>
            <pc:sldMk cId="2390210828" sldId="485"/>
            <ac:spMk id="4" creationId="{032A6E0E-A069-424F-9ADC-0C3B11507CD6}"/>
          </ac:spMkLst>
        </pc:spChg>
        <pc:spChg chg="mod">
          <ac:chgData name="Gurunand" userId="3497c6a8-6cb2-4308-974d-19fae6631586" providerId="ADAL" clId="{AE6C28FE-C444-41AA-9931-8C8AB2F160FE}" dt="2020-10-06T00:31:46.057" v="457" actId="20577"/>
          <ac:spMkLst>
            <pc:docMk/>
            <pc:sldMk cId="2390210828" sldId="485"/>
            <ac:spMk id="7" creationId="{B2B4F709-BF32-4B9C-85EF-1E265073D9E8}"/>
          </ac:spMkLst>
        </pc:spChg>
        <pc:spChg chg="mod">
          <ac:chgData name="Gurunand" userId="3497c6a8-6cb2-4308-974d-19fae6631586" providerId="ADAL" clId="{AE6C28FE-C444-41AA-9931-8C8AB2F160FE}" dt="2020-10-06T00:34:21.737" v="464" actId="1076"/>
          <ac:spMkLst>
            <pc:docMk/>
            <pc:sldMk cId="2390210828" sldId="485"/>
            <ac:spMk id="32" creationId="{66C97658-9FBC-4EE3-9FD8-A943269193F6}"/>
          </ac:spMkLst>
        </pc:spChg>
        <pc:graphicFrameChg chg="add mod">
          <ac:chgData name="Gurunand" userId="3497c6a8-6cb2-4308-974d-19fae6631586" providerId="ADAL" clId="{AE6C28FE-C444-41AA-9931-8C8AB2F160FE}" dt="2020-10-07T14:34:55.522" v="533"/>
          <ac:graphicFrameMkLst>
            <pc:docMk/>
            <pc:sldMk cId="2390210828" sldId="485"/>
            <ac:graphicFrameMk id="5" creationId="{589657B9-E00A-4014-A459-1C52FDBF3AA4}"/>
          </ac:graphicFrameMkLst>
        </pc:graphicFrameChg>
        <pc:graphicFrameChg chg="del">
          <ac:chgData name="Gurunand" userId="3497c6a8-6cb2-4308-974d-19fae6631586" providerId="ADAL" clId="{AE6C28FE-C444-41AA-9931-8C8AB2F160FE}" dt="2020-10-02T19:05:30.007" v="40" actId="478"/>
          <ac:graphicFrameMkLst>
            <pc:docMk/>
            <pc:sldMk cId="2390210828" sldId="485"/>
            <ac:graphicFrameMk id="6" creationId="{F03F5EF7-5124-41A7-B207-8F7A165062AC}"/>
          </ac:graphicFrameMkLst>
        </pc:graphicFrameChg>
        <pc:graphicFrameChg chg="mod modGraphic">
          <ac:chgData name="Gurunand" userId="3497c6a8-6cb2-4308-974d-19fae6631586" providerId="ADAL" clId="{AE6C28FE-C444-41AA-9931-8C8AB2F160FE}" dt="2020-10-07T14:42:39.777" v="534"/>
          <ac:graphicFrameMkLst>
            <pc:docMk/>
            <pc:sldMk cId="2390210828" sldId="485"/>
            <ac:graphicFrameMk id="12" creationId="{F3CAD3D4-E6BB-4B9A-A523-75143986B640}"/>
          </ac:graphicFrameMkLst>
        </pc:graphicFrameChg>
        <pc:graphicFrameChg chg="mod modGraphic">
          <ac:chgData name="Gurunand" userId="3497c6a8-6cb2-4308-974d-19fae6631586" providerId="ADAL" clId="{AE6C28FE-C444-41AA-9931-8C8AB2F160FE}" dt="2020-10-05T00:28:20.263" v="288"/>
          <ac:graphicFrameMkLst>
            <pc:docMk/>
            <pc:sldMk cId="2390210828" sldId="485"/>
            <ac:graphicFrameMk id="14" creationId="{FEB5ADB4-20B2-4373-B991-B2EEBA794E1A}"/>
          </ac:graphicFrameMkLst>
        </pc:graphicFrameChg>
      </pc:sldChg>
      <pc:sldChg chg="addSp delSp modSp mod">
        <pc:chgData name="Gurunand" userId="3497c6a8-6cb2-4308-974d-19fae6631586" providerId="ADAL" clId="{AE6C28FE-C444-41AA-9931-8C8AB2F160FE}" dt="2020-10-06T01:16:17.589" v="532"/>
        <pc:sldMkLst>
          <pc:docMk/>
          <pc:sldMk cId="1463465618" sldId="486"/>
        </pc:sldMkLst>
        <pc:spChg chg="mod">
          <ac:chgData name="Gurunand" userId="3497c6a8-6cb2-4308-974d-19fae6631586" providerId="ADAL" clId="{AE6C28FE-C444-41AA-9931-8C8AB2F160FE}" dt="2020-10-02T19:56:54.036" v="92"/>
          <ac:spMkLst>
            <pc:docMk/>
            <pc:sldMk cId="1463465618" sldId="486"/>
            <ac:spMk id="2" creationId="{00000000-0000-0000-0000-000000000000}"/>
          </ac:spMkLst>
        </pc:spChg>
        <pc:spChg chg="add del mod">
          <ac:chgData name="Gurunand" userId="3497c6a8-6cb2-4308-974d-19fae6631586" providerId="ADAL" clId="{AE6C28FE-C444-41AA-9931-8C8AB2F160FE}" dt="2020-10-05T00:54:41.554" v="335" actId="478"/>
          <ac:spMkLst>
            <pc:docMk/>
            <pc:sldMk cId="1463465618" sldId="486"/>
            <ac:spMk id="5" creationId="{13E58E19-A3E5-4407-AAA5-B3F29BDEBB3D}"/>
          </ac:spMkLst>
        </pc:spChg>
        <pc:spChg chg="mod">
          <ac:chgData name="Gurunand" userId="3497c6a8-6cb2-4308-974d-19fae6631586" providerId="ADAL" clId="{AE6C28FE-C444-41AA-9931-8C8AB2F160FE}" dt="2020-10-06T00:56:03.132" v="487" actId="20577"/>
          <ac:spMkLst>
            <pc:docMk/>
            <pc:sldMk cId="1463465618" sldId="486"/>
            <ac:spMk id="7" creationId="{B2B4F709-BF32-4B9C-85EF-1E265073D9E8}"/>
          </ac:spMkLst>
        </pc:spChg>
        <pc:spChg chg="mod">
          <ac:chgData name="Gurunand" userId="3497c6a8-6cb2-4308-974d-19fae6631586" providerId="ADAL" clId="{AE6C28FE-C444-41AA-9931-8C8AB2F160FE}" dt="2020-10-02T19:57:43.553" v="98" actId="20577"/>
          <ac:spMkLst>
            <pc:docMk/>
            <pc:sldMk cId="1463465618" sldId="486"/>
            <ac:spMk id="32" creationId="{66C97658-9FBC-4EE3-9FD8-A943269193F6}"/>
          </ac:spMkLst>
        </pc:spChg>
        <pc:graphicFrameChg chg="del">
          <ac:chgData name="Gurunand" userId="3497c6a8-6cb2-4308-974d-19fae6631586" providerId="ADAL" clId="{AE6C28FE-C444-41AA-9931-8C8AB2F160FE}" dt="2020-10-02T19:05:37.795" v="41" actId="478"/>
          <ac:graphicFrameMkLst>
            <pc:docMk/>
            <pc:sldMk cId="1463465618" sldId="486"/>
            <ac:graphicFrameMk id="4" creationId="{B319F7F1-21CE-432B-B375-F90951D5D72A}"/>
          </ac:graphicFrameMkLst>
        </pc:graphicFrameChg>
        <pc:graphicFrameChg chg="add mod">
          <ac:chgData name="Gurunand" userId="3497c6a8-6cb2-4308-974d-19fae6631586" providerId="ADAL" clId="{AE6C28FE-C444-41AA-9931-8C8AB2F160FE}" dt="2020-10-06T01:16:17.589" v="532"/>
          <ac:graphicFrameMkLst>
            <pc:docMk/>
            <pc:sldMk cId="1463465618" sldId="486"/>
            <ac:graphicFrameMk id="6" creationId="{794A44FE-BAA9-4D43-AD72-2B12D9854EB2}"/>
          </ac:graphicFrameMkLst>
        </pc:graphicFrameChg>
        <pc:graphicFrameChg chg="mod modGraphic">
          <ac:chgData name="Gurunand" userId="3497c6a8-6cb2-4308-974d-19fae6631586" providerId="ADAL" clId="{AE6C28FE-C444-41AA-9931-8C8AB2F160FE}" dt="2020-10-06T01:07:29.503" v="529" actId="20577"/>
          <ac:graphicFrameMkLst>
            <pc:docMk/>
            <pc:sldMk cId="1463465618" sldId="486"/>
            <ac:graphicFrameMk id="12" creationId="{F3CAD3D4-E6BB-4B9A-A523-75143986B640}"/>
          </ac:graphicFrameMkLst>
        </pc:graphicFrameChg>
        <pc:graphicFrameChg chg="mod modGraphic">
          <ac:chgData name="Gurunand" userId="3497c6a8-6cb2-4308-974d-19fae6631586" providerId="ADAL" clId="{AE6C28FE-C444-41AA-9931-8C8AB2F160FE}" dt="2020-10-05T01:00:37.850" v="366" actId="403"/>
          <ac:graphicFrameMkLst>
            <pc:docMk/>
            <pc:sldMk cId="1463465618" sldId="486"/>
            <ac:graphicFrameMk id="14" creationId="{FEB5ADB4-20B2-4373-B991-B2EEBA794E1A}"/>
          </ac:graphicFrameMkLst>
        </pc:graphicFrameChg>
      </pc:sldChg>
      <pc:sldChg chg="addSp modSp mod">
        <pc:chgData name="Gurunand" userId="3497c6a8-6cb2-4308-974d-19fae6631586" providerId="ADAL" clId="{AE6C28FE-C444-41AA-9931-8C8AB2F160FE}" dt="2020-10-02T20:05:12.151" v="134" actId="313"/>
        <pc:sldMkLst>
          <pc:docMk/>
          <pc:sldMk cId="2005443533" sldId="487"/>
        </pc:sldMkLst>
        <pc:spChg chg="mod">
          <ac:chgData name="Gurunand" userId="3497c6a8-6cb2-4308-974d-19fae6631586" providerId="ADAL" clId="{AE6C28FE-C444-41AA-9931-8C8AB2F160FE}" dt="2020-10-02T20:05:12.151" v="134" actId="313"/>
          <ac:spMkLst>
            <pc:docMk/>
            <pc:sldMk cId="2005443533" sldId="487"/>
            <ac:spMk id="2" creationId="{00000000-0000-0000-0000-000000000000}"/>
          </ac:spMkLst>
        </pc:spChg>
        <pc:spChg chg="add">
          <ac:chgData name="Gurunand" userId="3497c6a8-6cb2-4308-974d-19fae6631586" providerId="ADAL" clId="{AE6C28FE-C444-41AA-9931-8C8AB2F160FE}" dt="2020-10-02T18:41:39.317" v="6" actId="22"/>
          <ac:spMkLst>
            <pc:docMk/>
            <pc:sldMk cId="2005443533" sldId="487"/>
            <ac:spMk id="3" creationId="{98BC5DE3-F2EC-460C-9C87-9598B1CC7659}"/>
          </ac:spMkLst>
        </pc:spChg>
      </pc:sldChg>
      <pc:sldChg chg="addSp modSp mod">
        <pc:chgData name="Gurunand" userId="3497c6a8-6cb2-4308-974d-19fae6631586" providerId="ADAL" clId="{AE6C28FE-C444-41AA-9931-8C8AB2F160FE}" dt="2020-10-02T20:06:55.187" v="142" actId="313"/>
        <pc:sldMkLst>
          <pc:docMk/>
          <pc:sldMk cId="1957860025" sldId="488"/>
        </pc:sldMkLst>
        <pc:spChg chg="mod">
          <ac:chgData name="Gurunand" userId="3497c6a8-6cb2-4308-974d-19fae6631586" providerId="ADAL" clId="{AE6C28FE-C444-41AA-9931-8C8AB2F160FE}" dt="2020-10-02T20:06:55.187" v="142" actId="313"/>
          <ac:spMkLst>
            <pc:docMk/>
            <pc:sldMk cId="1957860025" sldId="488"/>
            <ac:spMk id="2" creationId="{00000000-0000-0000-0000-000000000000}"/>
          </ac:spMkLst>
        </pc:spChg>
        <pc:spChg chg="add">
          <ac:chgData name="Gurunand" userId="3497c6a8-6cb2-4308-974d-19fae6631586" providerId="ADAL" clId="{AE6C28FE-C444-41AA-9931-8C8AB2F160FE}" dt="2020-10-02T18:42:15.413" v="17" actId="22"/>
          <ac:spMkLst>
            <pc:docMk/>
            <pc:sldMk cId="1957860025" sldId="488"/>
            <ac:spMk id="3" creationId="{625B87E9-D777-4B3A-A727-3DC3F05A2380}"/>
          </ac:spMkLst>
        </pc:spChg>
      </pc:sldChg>
      <pc:sldChg chg="addSp modSp mod">
        <pc:chgData name="Gurunand" userId="3497c6a8-6cb2-4308-974d-19fae6631586" providerId="ADAL" clId="{AE6C28FE-C444-41AA-9931-8C8AB2F160FE}" dt="2020-10-02T20:07:25.337" v="143" actId="313"/>
        <pc:sldMkLst>
          <pc:docMk/>
          <pc:sldMk cId="1123960982" sldId="489"/>
        </pc:sldMkLst>
        <pc:spChg chg="mod">
          <ac:chgData name="Gurunand" userId="3497c6a8-6cb2-4308-974d-19fae6631586" providerId="ADAL" clId="{AE6C28FE-C444-41AA-9931-8C8AB2F160FE}" dt="2020-10-02T20:07:25.337" v="143" actId="313"/>
          <ac:spMkLst>
            <pc:docMk/>
            <pc:sldMk cId="1123960982" sldId="489"/>
            <ac:spMk id="2" creationId="{00000000-0000-0000-0000-000000000000}"/>
          </ac:spMkLst>
        </pc:spChg>
        <pc:spChg chg="add">
          <ac:chgData name="Gurunand" userId="3497c6a8-6cb2-4308-974d-19fae6631586" providerId="ADAL" clId="{AE6C28FE-C444-41AA-9931-8C8AB2F160FE}" dt="2020-10-02T18:42:32.635" v="18" actId="22"/>
          <ac:spMkLst>
            <pc:docMk/>
            <pc:sldMk cId="1123960982" sldId="489"/>
            <ac:spMk id="3" creationId="{500C4F40-0C4D-4A24-96C0-637F35342692}"/>
          </ac:spMkLst>
        </pc:spChg>
      </pc:sldChg>
      <pc:sldChg chg="addSp modSp mod">
        <pc:chgData name="Gurunand" userId="3497c6a8-6cb2-4308-974d-19fae6631586" providerId="ADAL" clId="{AE6C28FE-C444-41AA-9931-8C8AB2F160FE}" dt="2020-10-02T20:05:11.105" v="133" actId="313"/>
        <pc:sldMkLst>
          <pc:docMk/>
          <pc:sldMk cId="3773836689" sldId="491"/>
        </pc:sldMkLst>
        <pc:spChg chg="mod">
          <ac:chgData name="Gurunand" userId="3497c6a8-6cb2-4308-974d-19fae6631586" providerId="ADAL" clId="{AE6C28FE-C444-41AA-9931-8C8AB2F160FE}" dt="2020-10-02T20:05:11.105" v="133" actId="313"/>
          <ac:spMkLst>
            <pc:docMk/>
            <pc:sldMk cId="3773836689" sldId="491"/>
            <ac:spMk id="2" creationId="{00000000-0000-0000-0000-000000000000}"/>
          </ac:spMkLst>
        </pc:spChg>
        <pc:spChg chg="add">
          <ac:chgData name="Gurunand" userId="3497c6a8-6cb2-4308-974d-19fae6631586" providerId="ADAL" clId="{AE6C28FE-C444-41AA-9931-8C8AB2F160FE}" dt="2020-10-02T18:41:35.791" v="5" actId="22"/>
          <ac:spMkLst>
            <pc:docMk/>
            <pc:sldMk cId="3773836689" sldId="491"/>
            <ac:spMk id="3" creationId="{FC3D794B-77EE-4324-9012-F154795F7D87}"/>
          </ac:spMkLst>
        </pc:spChg>
      </pc:sldChg>
      <pc:sldChg chg="new del">
        <pc:chgData name="Gurunand" userId="3497c6a8-6cb2-4308-974d-19fae6631586" providerId="ADAL" clId="{AE6C28FE-C444-41AA-9931-8C8AB2F160FE}" dt="2020-10-02T19:57:12.011" v="95" actId="680"/>
        <pc:sldMkLst>
          <pc:docMk/>
          <pc:sldMk cId="95683023" sldId="492"/>
        </pc:sldMkLst>
      </pc:sldChg>
    </pc:docChg>
  </pc:docChgLst>
  <pc:docChgLst>
    <pc:chgData name="Matthieu Mabyre" userId="S::m.mabyre@castsoftware.com::52a89cab-5e6b-49ac-8601-6d3bc79d567b" providerId="AD" clId="Web-{D88838D5-D798-4A89-817F-FBA9CD054511}"/>
    <pc:docChg chg="modSld">
      <pc:chgData name="Matthieu Mabyre" userId="S::m.mabyre@castsoftware.com::52a89cab-5e6b-49ac-8601-6d3bc79d567b" providerId="AD" clId="Web-{D88838D5-D798-4A89-817F-FBA9CD054511}" dt="2020-10-02T15:47:51.023" v="56" actId="1076"/>
      <pc:docMkLst>
        <pc:docMk/>
      </pc:docMkLst>
      <pc:sldChg chg="modSp">
        <pc:chgData name="Matthieu Mabyre" userId="S::m.mabyre@castsoftware.com::52a89cab-5e6b-49ac-8601-6d3bc79d567b" providerId="AD" clId="Web-{D88838D5-D798-4A89-817F-FBA9CD054511}" dt="2020-10-02T15:47:51.023" v="56" actId="1076"/>
        <pc:sldMkLst>
          <pc:docMk/>
          <pc:sldMk cId="2797066760" sldId="446"/>
        </pc:sldMkLst>
        <pc:spChg chg="mod">
          <ac:chgData name="Matthieu Mabyre" userId="S::m.mabyre@castsoftware.com::52a89cab-5e6b-49ac-8601-6d3bc79d567b" providerId="AD" clId="Web-{D88838D5-D798-4A89-817F-FBA9CD054511}" dt="2020-10-02T15:47:51.023" v="56" actId="1076"/>
          <ac:spMkLst>
            <pc:docMk/>
            <pc:sldMk cId="2797066760" sldId="446"/>
            <ac:spMk id="2" creationId="{00000000-0000-0000-0000-000000000000}"/>
          </ac:spMkLst>
        </pc:spChg>
        <pc:spChg chg="mod">
          <ac:chgData name="Matthieu Mabyre" userId="S::m.mabyre@castsoftware.com::52a89cab-5e6b-49ac-8601-6d3bc79d567b" providerId="AD" clId="Web-{D88838D5-D798-4A89-817F-FBA9CD054511}" dt="2020-10-02T15:47:45.288" v="53" actId="1076"/>
          <ac:spMkLst>
            <pc:docMk/>
            <pc:sldMk cId="2797066760" sldId="446"/>
            <ac:spMk id="7" creationId="{BDE45ABA-C59F-4E4B-8B6E-2CCEC6D64441}"/>
          </ac:spMkLst>
        </pc:spChg>
        <pc:spChg chg="mod">
          <ac:chgData name="Matthieu Mabyre" userId="S::m.mabyre@castsoftware.com::52a89cab-5e6b-49ac-8601-6d3bc79d567b" providerId="AD" clId="Web-{D88838D5-D798-4A89-817F-FBA9CD054511}" dt="2020-10-02T15:47:45.288" v="52" actId="1076"/>
          <ac:spMkLst>
            <pc:docMk/>
            <pc:sldMk cId="2797066760" sldId="446"/>
            <ac:spMk id="8" creationId="{C0A9BC08-A2CF-49A8-96E8-FB143372C7C9}"/>
          </ac:spMkLst>
        </pc:spChg>
        <pc:spChg chg="mod">
          <ac:chgData name="Matthieu Mabyre" userId="S::m.mabyre@castsoftware.com::52a89cab-5e6b-49ac-8601-6d3bc79d567b" providerId="AD" clId="Web-{D88838D5-D798-4A89-817F-FBA9CD054511}" dt="2020-10-02T15:47:45.257" v="50" actId="1076"/>
          <ac:spMkLst>
            <pc:docMk/>
            <pc:sldMk cId="2797066760" sldId="446"/>
            <ac:spMk id="10" creationId="{FE7D522E-34E6-4464-A8B8-CC031AA95B2B}"/>
          </ac:spMkLst>
        </pc:spChg>
        <pc:spChg chg="mod">
          <ac:chgData name="Matthieu Mabyre" userId="S::m.mabyre@castsoftware.com::52a89cab-5e6b-49ac-8601-6d3bc79d567b" providerId="AD" clId="Web-{D88838D5-D798-4A89-817F-FBA9CD054511}" dt="2020-10-02T15:47:45.241" v="49" actId="1076"/>
          <ac:spMkLst>
            <pc:docMk/>
            <pc:sldMk cId="2797066760" sldId="446"/>
            <ac:spMk id="11" creationId="{DC50922F-CFFF-4B96-A6ED-860BC1F17FBB}"/>
          </ac:spMkLst>
        </pc:spChg>
        <pc:spChg chg="mod">
          <ac:chgData name="Matthieu Mabyre" userId="S::m.mabyre@castsoftware.com::52a89cab-5e6b-49ac-8601-6d3bc79d567b" providerId="AD" clId="Web-{D88838D5-D798-4A89-817F-FBA9CD054511}" dt="2020-10-02T15:47:45.226" v="48" actId="1076"/>
          <ac:spMkLst>
            <pc:docMk/>
            <pc:sldMk cId="2797066760" sldId="446"/>
            <ac:spMk id="12" creationId="{79ECE9EC-37F2-4955-91DB-DA2B670E9D4C}"/>
          </ac:spMkLst>
        </pc:spChg>
        <pc:spChg chg="mod">
          <ac:chgData name="Matthieu Mabyre" userId="S::m.mabyre@castsoftware.com::52a89cab-5e6b-49ac-8601-6d3bc79d567b" providerId="AD" clId="Web-{D88838D5-D798-4A89-817F-FBA9CD054511}" dt="2020-10-02T15:47:45.210" v="47" actId="1076"/>
          <ac:spMkLst>
            <pc:docMk/>
            <pc:sldMk cId="2797066760" sldId="446"/>
            <ac:spMk id="13" creationId="{BB5CDEF3-212B-4FD5-9B78-38D4DF86DBDD}"/>
          </ac:spMkLst>
        </pc:spChg>
        <pc:spChg chg="mod">
          <ac:chgData name="Matthieu Mabyre" userId="S::m.mabyre@castsoftware.com::52a89cab-5e6b-49ac-8601-6d3bc79d567b" providerId="AD" clId="Web-{D88838D5-D798-4A89-817F-FBA9CD054511}" dt="2020-10-02T15:47:45.194" v="46" actId="1076"/>
          <ac:spMkLst>
            <pc:docMk/>
            <pc:sldMk cId="2797066760" sldId="446"/>
            <ac:spMk id="14" creationId="{1FAA7961-1E24-4C0B-9ABE-65F06DD07E5C}"/>
          </ac:spMkLst>
        </pc:spChg>
        <pc:spChg chg="mod">
          <ac:chgData name="Matthieu Mabyre" userId="S::m.mabyre@castsoftware.com::52a89cab-5e6b-49ac-8601-6d3bc79d567b" providerId="AD" clId="Web-{D88838D5-D798-4A89-817F-FBA9CD054511}" dt="2020-10-02T15:47:45.179" v="45" actId="1076"/>
          <ac:spMkLst>
            <pc:docMk/>
            <pc:sldMk cId="2797066760" sldId="446"/>
            <ac:spMk id="15" creationId="{B1483C84-9B1F-475D-9C51-D59284D92006}"/>
          </ac:spMkLst>
        </pc:spChg>
        <pc:spChg chg="mod">
          <ac:chgData name="Matthieu Mabyre" userId="S::m.mabyre@castsoftware.com::52a89cab-5e6b-49ac-8601-6d3bc79d567b" providerId="AD" clId="Web-{D88838D5-D798-4A89-817F-FBA9CD054511}" dt="2020-10-02T15:47:45.007" v="32" actId="1076"/>
          <ac:spMkLst>
            <pc:docMk/>
            <pc:sldMk cId="2797066760" sldId="446"/>
            <ac:spMk id="28" creationId="{DEFB6A02-A663-41AA-B58F-4026D3013428}"/>
          </ac:spMkLst>
        </pc:spChg>
        <pc:spChg chg="mod">
          <ac:chgData name="Matthieu Mabyre" userId="S::m.mabyre@castsoftware.com::52a89cab-5e6b-49ac-8601-6d3bc79d567b" providerId="AD" clId="Web-{D88838D5-D798-4A89-817F-FBA9CD054511}" dt="2020-10-02T15:47:44.991" v="31" actId="1076"/>
          <ac:spMkLst>
            <pc:docMk/>
            <pc:sldMk cId="2797066760" sldId="446"/>
            <ac:spMk id="29" creationId="{CEB1C884-59CA-4B7D-998D-129AEAA3A239}"/>
          </ac:spMkLst>
        </pc:spChg>
        <pc:spChg chg="mod">
          <ac:chgData name="Matthieu Mabyre" userId="S::m.mabyre@castsoftware.com::52a89cab-5e6b-49ac-8601-6d3bc79d567b" providerId="AD" clId="Web-{D88838D5-D798-4A89-817F-FBA9CD054511}" dt="2020-10-02T15:47:44.976" v="30" actId="1076"/>
          <ac:spMkLst>
            <pc:docMk/>
            <pc:sldMk cId="2797066760" sldId="446"/>
            <ac:spMk id="30" creationId="{9BC28585-62BA-4B67-A457-16C3FAF69D46}"/>
          </ac:spMkLst>
        </pc:spChg>
        <pc:spChg chg="mod">
          <ac:chgData name="Matthieu Mabyre" userId="S::m.mabyre@castsoftware.com::52a89cab-5e6b-49ac-8601-6d3bc79d567b" providerId="AD" clId="Web-{D88838D5-D798-4A89-817F-FBA9CD054511}" dt="2020-10-02T15:47:44.960" v="29" actId="1076"/>
          <ac:spMkLst>
            <pc:docMk/>
            <pc:sldMk cId="2797066760" sldId="446"/>
            <ac:spMk id="31" creationId="{6C6B8D32-B4CB-4E0C-A52E-9D1AC022AB14}"/>
          </ac:spMkLst>
        </pc:spChg>
        <pc:picChg chg="mod">
          <ac:chgData name="Matthieu Mabyre" userId="S::m.mabyre@castsoftware.com::52a89cab-5e6b-49ac-8601-6d3bc79d567b" providerId="AD" clId="Web-{D88838D5-D798-4A89-817F-FBA9CD054511}" dt="2020-10-02T15:47:45.304" v="54" actId="1076"/>
          <ac:picMkLst>
            <pc:docMk/>
            <pc:sldMk cId="2797066760" sldId="446"/>
            <ac:picMk id="6" creationId="{04DB72C9-DB09-4060-91E0-0E6AE5B0F0F7}"/>
          </ac:picMkLst>
        </pc:picChg>
        <pc:cxnChg chg="mod">
          <ac:chgData name="Matthieu Mabyre" userId="S::m.mabyre@castsoftware.com::52a89cab-5e6b-49ac-8601-6d3bc79d567b" providerId="AD" clId="Web-{D88838D5-D798-4A89-817F-FBA9CD054511}" dt="2020-10-02T15:47:45.272" v="51" actId="1076"/>
          <ac:cxnSpMkLst>
            <pc:docMk/>
            <pc:sldMk cId="2797066760" sldId="446"/>
            <ac:cxnSpMk id="9" creationId="{227096EE-CD50-4D22-8CE4-582CA71A8F79}"/>
          </ac:cxnSpMkLst>
        </pc:cxnChg>
        <pc:cxnChg chg="mod">
          <ac:chgData name="Matthieu Mabyre" userId="S::m.mabyre@castsoftware.com::52a89cab-5e6b-49ac-8601-6d3bc79d567b" providerId="AD" clId="Web-{D88838D5-D798-4A89-817F-FBA9CD054511}" dt="2020-10-02T15:47:45.179" v="44" actId="1076"/>
          <ac:cxnSpMkLst>
            <pc:docMk/>
            <pc:sldMk cId="2797066760" sldId="446"/>
            <ac:cxnSpMk id="16" creationId="{86BFAF22-BC0E-491B-A7AA-E8D9DABF282E}"/>
          </ac:cxnSpMkLst>
        </pc:cxnChg>
        <pc:cxnChg chg="mod">
          <ac:chgData name="Matthieu Mabyre" userId="S::m.mabyre@castsoftware.com::52a89cab-5e6b-49ac-8601-6d3bc79d567b" providerId="AD" clId="Web-{D88838D5-D798-4A89-817F-FBA9CD054511}" dt="2020-10-02T15:47:45.163" v="43" actId="1076"/>
          <ac:cxnSpMkLst>
            <pc:docMk/>
            <pc:sldMk cId="2797066760" sldId="446"/>
            <ac:cxnSpMk id="17" creationId="{0A7E071B-258F-4FC7-A481-402E21623D26}"/>
          </ac:cxnSpMkLst>
        </pc:cxnChg>
        <pc:cxnChg chg="mod">
          <ac:chgData name="Matthieu Mabyre" userId="S::m.mabyre@castsoftware.com::52a89cab-5e6b-49ac-8601-6d3bc79d567b" providerId="AD" clId="Web-{D88838D5-D798-4A89-817F-FBA9CD054511}" dt="2020-10-02T15:47:45.148" v="42" actId="1076"/>
          <ac:cxnSpMkLst>
            <pc:docMk/>
            <pc:sldMk cId="2797066760" sldId="446"/>
            <ac:cxnSpMk id="18" creationId="{D69F846A-D975-488A-9113-FF733EE66070}"/>
          </ac:cxnSpMkLst>
        </pc:cxnChg>
        <pc:cxnChg chg="mod">
          <ac:chgData name="Matthieu Mabyre" userId="S::m.mabyre@castsoftware.com::52a89cab-5e6b-49ac-8601-6d3bc79d567b" providerId="AD" clId="Web-{D88838D5-D798-4A89-817F-FBA9CD054511}" dt="2020-10-02T15:47:45.132" v="41" actId="1076"/>
          <ac:cxnSpMkLst>
            <pc:docMk/>
            <pc:sldMk cId="2797066760" sldId="446"/>
            <ac:cxnSpMk id="19" creationId="{209C31AB-A063-4B2A-8442-B80A4457870B}"/>
          </ac:cxnSpMkLst>
        </pc:cxnChg>
        <pc:cxnChg chg="mod">
          <ac:chgData name="Matthieu Mabyre" userId="S::m.mabyre@castsoftware.com::52a89cab-5e6b-49ac-8601-6d3bc79d567b" providerId="AD" clId="Web-{D88838D5-D798-4A89-817F-FBA9CD054511}" dt="2020-10-02T15:47:45.116" v="40" actId="1076"/>
          <ac:cxnSpMkLst>
            <pc:docMk/>
            <pc:sldMk cId="2797066760" sldId="446"/>
            <ac:cxnSpMk id="20" creationId="{0C7612AD-1C07-47B4-9FF9-7439B85B0297}"/>
          </ac:cxnSpMkLst>
        </pc:cxnChg>
        <pc:cxnChg chg="mod">
          <ac:chgData name="Matthieu Mabyre" userId="S::m.mabyre@castsoftware.com::52a89cab-5e6b-49ac-8601-6d3bc79d567b" providerId="AD" clId="Web-{D88838D5-D798-4A89-817F-FBA9CD054511}" dt="2020-10-02T15:47:45.101" v="39" actId="1076"/>
          <ac:cxnSpMkLst>
            <pc:docMk/>
            <pc:sldMk cId="2797066760" sldId="446"/>
            <ac:cxnSpMk id="21" creationId="{F8819B65-D7FB-4634-836C-BF830AD1615D}"/>
          </ac:cxnSpMkLst>
        </pc:cxnChg>
        <pc:cxnChg chg="mod">
          <ac:chgData name="Matthieu Mabyre" userId="S::m.mabyre@castsoftware.com::52a89cab-5e6b-49ac-8601-6d3bc79d567b" providerId="AD" clId="Web-{D88838D5-D798-4A89-817F-FBA9CD054511}" dt="2020-10-02T15:47:45.101" v="38" actId="1076"/>
          <ac:cxnSpMkLst>
            <pc:docMk/>
            <pc:sldMk cId="2797066760" sldId="446"/>
            <ac:cxnSpMk id="22" creationId="{5655D41D-1CFD-4DE4-9B9C-7C92309664F8}"/>
          </ac:cxnSpMkLst>
        </pc:cxnChg>
        <pc:cxnChg chg="mod">
          <ac:chgData name="Matthieu Mabyre" userId="S::m.mabyre@castsoftware.com::52a89cab-5e6b-49ac-8601-6d3bc79d567b" providerId="AD" clId="Web-{D88838D5-D798-4A89-817F-FBA9CD054511}" dt="2020-10-02T15:47:45.085" v="37" actId="1076"/>
          <ac:cxnSpMkLst>
            <pc:docMk/>
            <pc:sldMk cId="2797066760" sldId="446"/>
            <ac:cxnSpMk id="23" creationId="{FEAC05AA-761D-44E8-BDF3-9FA75AA3A8E2}"/>
          </ac:cxnSpMkLst>
        </pc:cxnChg>
        <pc:cxnChg chg="mod">
          <ac:chgData name="Matthieu Mabyre" userId="S::m.mabyre@castsoftware.com::52a89cab-5e6b-49ac-8601-6d3bc79d567b" providerId="AD" clId="Web-{D88838D5-D798-4A89-817F-FBA9CD054511}" dt="2020-10-02T15:47:45.069" v="36" actId="1076"/>
          <ac:cxnSpMkLst>
            <pc:docMk/>
            <pc:sldMk cId="2797066760" sldId="446"/>
            <ac:cxnSpMk id="24" creationId="{593B8CCC-B631-45F7-9415-631BFDA8B802}"/>
          </ac:cxnSpMkLst>
        </pc:cxnChg>
        <pc:cxnChg chg="mod">
          <ac:chgData name="Matthieu Mabyre" userId="S::m.mabyre@castsoftware.com::52a89cab-5e6b-49ac-8601-6d3bc79d567b" providerId="AD" clId="Web-{D88838D5-D798-4A89-817F-FBA9CD054511}" dt="2020-10-02T15:47:45.054" v="35" actId="1076"/>
          <ac:cxnSpMkLst>
            <pc:docMk/>
            <pc:sldMk cId="2797066760" sldId="446"/>
            <ac:cxnSpMk id="25" creationId="{60CE891C-7BD1-45C2-A4A8-6AA43E1BF8FC}"/>
          </ac:cxnSpMkLst>
        </pc:cxnChg>
        <pc:cxnChg chg="mod">
          <ac:chgData name="Matthieu Mabyre" userId="S::m.mabyre@castsoftware.com::52a89cab-5e6b-49ac-8601-6d3bc79d567b" providerId="AD" clId="Web-{D88838D5-D798-4A89-817F-FBA9CD054511}" dt="2020-10-02T15:47:45.038" v="34" actId="1076"/>
          <ac:cxnSpMkLst>
            <pc:docMk/>
            <pc:sldMk cId="2797066760" sldId="446"/>
            <ac:cxnSpMk id="26" creationId="{F9AA800C-7C45-4496-A6BA-2EFC99855B59}"/>
          </ac:cxnSpMkLst>
        </pc:cxnChg>
        <pc:cxnChg chg="mod">
          <ac:chgData name="Matthieu Mabyre" userId="S::m.mabyre@castsoftware.com::52a89cab-5e6b-49ac-8601-6d3bc79d567b" providerId="AD" clId="Web-{D88838D5-D798-4A89-817F-FBA9CD054511}" dt="2020-10-02T15:47:45.022" v="33" actId="1076"/>
          <ac:cxnSpMkLst>
            <pc:docMk/>
            <pc:sldMk cId="2797066760" sldId="446"/>
            <ac:cxnSpMk id="27" creationId="{B4092BAA-06AC-4679-9367-8977E280D5FF}"/>
          </ac:cxnSpMkLst>
        </pc:cxnChg>
      </pc:sldChg>
    </pc:docChg>
  </pc:docChgLst>
  <pc:docChgLst>
    <pc:chgData name="Matthieu Mabyre" userId="S::m.mabyre@castsoftware.com::52a89cab-5e6b-49ac-8601-6d3bc79d567b" providerId="AD" clId="Web-{B0C6912A-FDFB-4C11-A605-F4A87F0A9E44}"/>
    <pc:docChg chg="addSld modSld modSection">
      <pc:chgData name="Matthieu Mabyre" userId="S::m.mabyre@castsoftware.com::52a89cab-5e6b-49ac-8601-6d3bc79d567b" providerId="AD" clId="Web-{B0C6912A-FDFB-4C11-A605-F4A87F0A9E44}" dt="2020-10-02T15:51:28.411" v="48"/>
      <pc:docMkLst>
        <pc:docMk/>
      </pc:docMkLst>
      <pc:sldChg chg="modSp">
        <pc:chgData name="Matthieu Mabyre" userId="S::m.mabyre@castsoftware.com::52a89cab-5e6b-49ac-8601-6d3bc79d567b" providerId="AD" clId="Web-{B0C6912A-FDFB-4C11-A605-F4A87F0A9E44}" dt="2020-10-02T15:50:44.161" v="3" actId="14100"/>
        <pc:sldMkLst>
          <pc:docMk/>
          <pc:sldMk cId="2797066760" sldId="446"/>
        </pc:sldMkLst>
        <pc:spChg chg="mod">
          <ac:chgData name="Matthieu Mabyre" userId="S::m.mabyre@castsoftware.com::52a89cab-5e6b-49ac-8601-6d3bc79d567b" providerId="AD" clId="Web-{B0C6912A-FDFB-4C11-A605-F4A87F0A9E44}" dt="2020-10-02T15:50:44.161" v="3" actId="14100"/>
          <ac:spMkLst>
            <pc:docMk/>
            <pc:sldMk cId="2797066760" sldId="446"/>
            <ac:spMk id="39" creationId="{9B3B3C2B-2D6A-454B-9637-F6BD98B02D8E}"/>
          </ac:spMkLst>
        </pc:spChg>
      </pc:sldChg>
      <pc:sldChg chg="delSp modSp add replId">
        <pc:chgData name="Matthieu Mabyre" userId="S::m.mabyre@castsoftware.com::52a89cab-5e6b-49ac-8601-6d3bc79d567b" providerId="AD" clId="Web-{B0C6912A-FDFB-4C11-A605-F4A87F0A9E44}" dt="2020-10-02T15:51:28.411" v="48"/>
        <pc:sldMkLst>
          <pc:docMk/>
          <pc:sldMk cId="2005443533" sldId="487"/>
        </pc:sldMkLst>
        <pc:spChg chg="mod">
          <ac:chgData name="Matthieu Mabyre" userId="S::m.mabyre@castsoftware.com::52a89cab-5e6b-49ac-8601-6d3bc79d567b" providerId="AD" clId="Web-{B0C6912A-FDFB-4C11-A605-F4A87F0A9E44}" dt="2020-10-02T15:51:19.318" v="44" actId="20577"/>
          <ac:spMkLst>
            <pc:docMk/>
            <pc:sldMk cId="2005443533" sldId="487"/>
            <ac:spMk id="2" creationId="{00000000-0000-0000-0000-000000000000}"/>
          </ac:spMkLst>
        </pc:spChg>
        <pc:spChg chg="del">
          <ac:chgData name="Matthieu Mabyre" userId="S::m.mabyre@castsoftware.com::52a89cab-5e6b-49ac-8601-6d3bc79d567b" providerId="AD" clId="Web-{B0C6912A-FDFB-4C11-A605-F4A87F0A9E44}" dt="2020-10-02T15:51:01.989" v="29"/>
          <ac:spMkLst>
            <pc:docMk/>
            <pc:sldMk cId="2005443533" sldId="487"/>
            <ac:spMk id="7" creationId="{BDE45ABA-C59F-4E4B-8B6E-2CCEC6D64441}"/>
          </ac:spMkLst>
        </pc:spChg>
        <pc:spChg chg="del">
          <ac:chgData name="Matthieu Mabyre" userId="S::m.mabyre@castsoftware.com::52a89cab-5e6b-49ac-8601-6d3bc79d567b" providerId="AD" clId="Web-{B0C6912A-FDFB-4C11-A605-F4A87F0A9E44}" dt="2020-10-02T15:51:01.989" v="28"/>
          <ac:spMkLst>
            <pc:docMk/>
            <pc:sldMk cId="2005443533" sldId="487"/>
            <ac:spMk id="8" creationId="{C0A9BC08-A2CF-49A8-96E8-FB143372C7C9}"/>
          </ac:spMkLst>
        </pc:spChg>
        <pc:spChg chg="del">
          <ac:chgData name="Matthieu Mabyre" userId="S::m.mabyre@castsoftware.com::52a89cab-5e6b-49ac-8601-6d3bc79d567b" providerId="AD" clId="Web-{B0C6912A-FDFB-4C11-A605-F4A87F0A9E44}" dt="2020-10-02T15:51:01.989" v="26"/>
          <ac:spMkLst>
            <pc:docMk/>
            <pc:sldMk cId="2005443533" sldId="487"/>
            <ac:spMk id="10" creationId="{FE7D522E-34E6-4464-A8B8-CC031AA95B2B}"/>
          </ac:spMkLst>
        </pc:spChg>
        <pc:spChg chg="del">
          <ac:chgData name="Matthieu Mabyre" userId="S::m.mabyre@castsoftware.com::52a89cab-5e6b-49ac-8601-6d3bc79d567b" providerId="AD" clId="Web-{B0C6912A-FDFB-4C11-A605-F4A87F0A9E44}" dt="2020-10-02T15:51:01.989" v="25"/>
          <ac:spMkLst>
            <pc:docMk/>
            <pc:sldMk cId="2005443533" sldId="487"/>
            <ac:spMk id="11" creationId="{DC50922F-CFFF-4B96-A6ED-860BC1F17FBB}"/>
          </ac:spMkLst>
        </pc:spChg>
        <pc:spChg chg="del">
          <ac:chgData name="Matthieu Mabyre" userId="S::m.mabyre@castsoftware.com::52a89cab-5e6b-49ac-8601-6d3bc79d567b" providerId="AD" clId="Web-{B0C6912A-FDFB-4C11-A605-F4A87F0A9E44}" dt="2020-10-02T15:51:01.989" v="24"/>
          <ac:spMkLst>
            <pc:docMk/>
            <pc:sldMk cId="2005443533" sldId="487"/>
            <ac:spMk id="12" creationId="{79ECE9EC-37F2-4955-91DB-DA2B670E9D4C}"/>
          </ac:spMkLst>
        </pc:spChg>
        <pc:spChg chg="del">
          <ac:chgData name="Matthieu Mabyre" userId="S::m.mabyre@castsoftware.com::52a89cab-5e6b-49ac-8601-6d3bc79d567b" providerId="AD" clId="Web-{B0C6912A-FDFB-4C11-A605-F4A87F0A9E44}" dt="2020-10-02T15:51:01.989" v="23"/>
          <ac:spMkLst>
            <pc:docMk/>
            <pc:sldMk cId="2005443533" sldId="487"/>
            <ac:spMk id="13" creationId="{BB5CDEF3-212B-4FD5-9B78-38D4DF86DBDD}"/>
          </ac:spMkLst>
        </pc:spChg>
        <pc:spChg chg="del">
          <ac:chgData name="Matthieu Mabyre" userId="S::m.mabyre@castsoftware.com::52a89cab-5e6b-49ac-8601-6d3bc79d567b" providerId="AD" clId="Web-{B0C6912A-FDFB-4C11-A605-F4A87F0A9E44}" dt="2020-10-02T15:51:01.989" v="22"/>
          <ac:spMkLst>
            <pc:docMk/>
            <pc:sldMk cId="2005443533" sldId="487"/>
            <ac:spMk id="14" creationId="{1FAA7961-1E24-4C0B-9ABE-65F06DD07E5C}"/>
          </ac:spMkLst>
        </pc:spChg>
        <pc:spChg chg="del">
          <ac:chgData name="Matthieu Mabyre" userId="S::m.mabyre@castsoftware.com::52a89cab-5e6b-49ac-8601-6d3bc79d567b" providerId="AD" clId="Web-{B0C6912A-FDFB-4C11-A605-F4A87F0A9E44}" dt="2020-10-02T15:51:01.989" v="21"/>
          <ac:spMkLst>
            <pc:docMk/>
            <pc:sldMk cId="2005443533" sldId="487"/>
            <ac:spMk id="15" creationId="{B1483C84-9B1F-475D-9C51-D59284D92006}"/>
          </ac:spMkLst>
        </pc:spChg>
        <pc:spChg chg="del">
          <ac:chgData name="Matthieu Mabyre" userId="S::m.mabyre@castsoftware.com::52a89cab-5e6b-49ac-8601-6d3bc79d567b" providerId="AD" clId="Web-{B0C6912A-FDFB-4C11-A605-F4A87F0A9E44}" dt="2020-10-02T15:51:01.974" v="8"/>
          <ac:spMkLst>
            <pc:docMk/>
            <pc:sldMk cId="2005443533" sldId="487"/>
            <ac:spMk id="28" creationId="{DEFB6A02-A663-41AA-B58F-4026D3013428}"/>
          </ac:spMkLst>
        </pc:spChg>
        <pc:spChg chg="del">
          <ac:chgData name="Matthieu Mabyre" userId="S::m.mabyre@castsoftware.com::52a89cab-5e6b-49ac-8601-6d3bc79d567b" providerId="AD" clId="Web-{B0C6912A-FDFB-4C11-A605-F4A87F0A9E44}" dt="2020-10-02T15:51:01.974" v="7"/>
          <ac:spMkLst>
            <pc:docMk/>
            <pc:sldMk cId="2005443533" sldId="487"/>
            <ac:spMk id="29" creationId="{CEB1C884-59CA-4B7D-998D-129AEAA3A239}"/>
          </ac:spMkLst>
        </pc:spChg>
        <pc:spChg chg="del">
          <ac:chgData name="Matthieu Mabyre" userId="S::m.mabyre@castsoftware.com::52a89cab-5e6b-49ac-8601-6d3bc79d567b" providerId="AD" clId="Web-{B0C6912A-FDFB-4C11-A605-F4A87F0A9E44}" dt="2020-10-02T15:51:01.974" v="6"/>
          <ac:spMkLst>
            <pc:docMk/>
            <pc:sldMk cId="2005443533" sldId="487"/>
            <ac:spMk id="30" creationId="{9BC28585-62BA-4B67-A457-16C3FAF69D46}"/>
          </ac:spMkLst>
        </pc:spChg>
        <pc:spChg chg="del">
          <ac:chgData name="Matthieu Mabyre" userId="S::m.mabyre@castsoftware.com::52a89cab-5e6b-49ac-8601-6d3bc79d567b" providerId="AD" clId="Web-{B0C6912A-FDFB-4C11-A605-F4A87F0A9E44}" dt="2020-10-02T15:51:01.974" v="5"/>
          <ac:spMkLst>
            <pc:docMk/>
            <pc:sldMk cId="2005443533" sldId="487"/>
            <ac:spMk id="31" creationId="{6C6B8D32-B4CB-4E0C-A52E-9D1AC022AB14}"/>
          </ac:spMkLst>
        </pc:spChg>
        <pc:spChg chg="del">
          <ac:chgData name="Matthieu Mabyre" userId="S::m.mabyre@castsoftware.com::52a89cab-5e6b-49ac-8601-6d3bc79d567b" providerId="AD" clId="Web-{B0C6912A-FDFB-4C11-A605-F4A87F0A9E44}" dt="2020-10-02T15:51:28.411" v="48"/>
          <ac:spMkLst>
            <pc:docMk/>
            <pc:sldMk cId="2005443533" sldId="487"/>
            <ac:spMk id="39" creationId="{9B3B3C2B-2D6A-454B-9637-F6BD98B02D8E}"/>
          </ac:spMkLst>
        </pc:spChg>
        <pc:spChg chg="del">
          <ac:chgData name="Matthieu Mabyre" userId="S::m.mabyre@castsoftware.com::52a89cab-5e6b-49ac-8601-6d3bc79d567b" providerId="AD" clId="Web-{B0C6912A-FDFB-4C11-A605-F4A87F0A9E44}" dt="2020-10-02T15:51:26.021" v="47"/>
          <ac:spMkLst>
            <pc:docMk/>
            <pc:sldMk cId="2005443533" sldId="487"/>
            <ac:spMk id="40" creationId="{062DBB7B-8D0C-4648-A550-81B348C37DC4}"/>
          </ac:spMkLst>
        </pc:spChg>
        <pc:picChg chg="del">
          <ac:chgData name="Matthieu Mabyre" userId="S::m.mabyre@castsoftware.com::52a89cab-5e6b-49ac-8601-6d3bc79d567b" providerId="AD" clId="Web-{B0C6912A-FDFB-4C11-A605-F4A87F0A9E44}" dt="2020-10-02T15:51:01.989" v="30"/>
          <ac:picMkLst>
            <pc:docMk/>
            <pc:sldMk cId="2005443533" sldId="487"/>
            <ac:picMk id="6" creationId="{04DB72C9-DB09-4060-91E0-0E6AE5B0F0F7}"/>
          </ac:picMkLst>
        </pc:picChg>
        <pc:cxnChg chg="del">
          <ac:chgData name="Matthieu Mabyre" userId="S::m.mabyre@castsoftware.com::52a89cab-5e6b-49ac-8601-6d3bc79d567b" providerId="AD" clId="Web-{B0C6912A-FDFB-4C11-A605-F4A87F0A9E44}" dt="2020-10-02T15:51:01.989" v="27"/>
          <ac:cxnSpMkLst>
            <pc:docMk/>
            <pc:sldMk cId="2005443533" sldId="487"/>
            <ac:cxnSpMk id="9" creationId="{227096EE-CD50-4D22-8CE4-582CA71A8F79}"/>
          </ac:cxnSpMkLst>
        </pc:cxnChg>
        <pc:cxnChg chg="del">
          <ac:chgData name="Matthieu Mabyre" userId="S::m.mabyre@castsoftware.com::52a89cab-5e6b-49ac-8601-6d3bc79d567b" providerId="AD" clId="Web-{B0C6912A-FDFB-4C11-A605-F4A87F0A9E44}" dt="2020-10-02T15:51:01.989" v="20"/>
          <ac:cxnSpMkLst>
            <pc:docMk/>
            <pc:sldMk cId="2005443533" sldId="487"/>
            <ac:cxnSpMk id="16" creationId="{86BFAF22-BC0E-491B-A7AA-E8D9DABF282E}"/>
          </ac:cxnSpMkLst>
        </pc:cxnChg>
        <pc:cxnChg chg="del">
          <ac:chgData name="Matthieu Mabyre" userId="S::m.mabyre@castsoftware.com::52a89cab-5e6b-49ac-8601-6d3bc79d567b" providerId="AD" clId="Web-{B0C6912A-FDFB-4C11-A605-F4A87F0A9E44}" dt="2020-10-02T15:51:01.989" v="19"/>
          <ac:cxnSpMkLst>
            <pc:docMk/>
            <pc:sldMk cId="2005443533" sldId="487"/>
            <ac:cxnSpMk id="17" creationId="{0A7E071B-258F-4FC7-A481-402E21623D26}"/>
          </ac:cxnSpMkLst>
        </pc:cxnChg>
        <pc:cxnChg chg="del">
          <ac:chgData name="Matthieu Mabyre" userId="S::m.mabyre@castsoftware.com::52a89cab-5e6b-49ac-8601-6d3bc79d567b" providerId="AD" clId="Web-{B0C6912A-FDFB-4C11-A605-F4A87F0A9E44}" dt="2020-10-02T15:51:01.989" v="18"/>
          <ac:cxnSpMkLst>
            <pc:docMk/>
            <pc:sldMk cId="2005443533" sldId="487"/>
            <ac:cxnSpMk id="18" creationId="{D69F846A-D975-488A-9113-FF733EE66070}"/>
          </ac:cxnSpMkLst>
        </pc:cxnChg>
        <pc:cxnChg chg="del">
          <ac:chgData name="Matthieu Mabyre" userId="S::m.mabyre@castsoftware.com::52a89cab-5e6b-49ac-8601-6d3bc79d567b" providerId="AD" clId="Web-{B0C6912A-FDFB-4C11-A605-F4A87F0A9E44}" dt="2020-10-02T15:51:01.974" v="17"/>
          <ac:cxnSpMkLst>
            <pc:docMk/>
            <pc:sldMk cId="2005443533" sldId="487"/>
            <ac:cxnSpMk id="19" creationId="{209C31AB-A063-4B2A-8442-B80A4457870B}"/>
          </ac:cxnSpMkLst>
        </pc:cxnChg>
        <pc:cxnChg chg="del">
          <ac:chgData name="Matthieu Mabyre" userId="S::m.mabyre@castsoftware.com::52a89cab-5e6b-49ac-8601-6d3bc79d567b" providerId="AD" clId="Web-{B0C6912A-FDFB-4C11-A605-F4A87F0A9E44}" dt="2020-10-02T15:51:01.974" v="16"/>
          <ac:cxnSpMkLst>
            <pc:docMk/>
            <pc:sldMk cId="2005443533" sldId="487"/>
            <ac:cxnSpMk id="20" creationId="{0C7612AD-1C07-47B4-9FF9-7439B85B0297}"/>
          </ac:cxnSpMkLst>
        </pc:cxnChg>
        <pc:cxnChg chg="del">
          <ac:chgData name="Matthieu Mabyre" userId="S::m.mabyre@castsoftware.com::52a89cab-5e6b-49ac-8601-6d3bc79d567b" providerId="AD" clId="Web-{B0C6912A-FDFB-4C11-A605-F4A87F0A9E44}" dt="2020-10-02T15:51:01.974" v="15"/>
          <ac:cxnSpMkLst>
            <pc:docMk/>
            <pc:sldMk cId="2005443533" sldId="487"/>
            <ac:cxnSpMk id="21" creationId="{F8819B65-D7FB-4634-836C-BF830AD1615D}"/>
          </ac:cxnSpMkLst>
        </pc:cxnChg>
        <pc:cxnChg chg="del">
          <ac:chgData name="Matthieu Mabyre" userId="S::m.mabyre@castsoftware.com::52a89cab-5e6b-49ac-8601-6d3bc79d567b" providerId="AD" clId="Web-{B0C6912A-FDFB-4C11-A605-F4A87F0A9E44}" dt="2020-10-02T15:51:01.974" v="14"/>
          <ac:cxnSpMkLst>
            <pc:docMk/>
            <pc:sldMk cId="2005443533" sldId="487"/>
            <ac:cxnSpMk id="22" creationId="{5655D41D-1CFD-4DE4-9B9C-7C92309664F8}"/>
          </ac:cxnSpMkLst>
        </pc:cxnChg>
        <pc:cxnChg chg="del">
          <ac:chgData name="Matthieu Mabyre" userId="S::m.mabyre@castsoftware.com::52a89cab-5e6b-49ac-8601-6d3bc79d567b" providerId="AD" clId="Web-{B0C6912A-FDFB-4C11-A605-F4A87F0A9E44}" dt="2020-10-02T15:51:01.974" v="13"/>
          <ac:cxnSpMkLst>
            <pc:docMk/>
            <pc:sldMk cId="2005443533" sldId="487"/>
            <ac:cxnSpMk id="23" creationId="{FEAC05AA-761D-44E8-BDF3-9FA75AA3A8E2}"/>
          </ac:cxnSpMkLst>
        </pc:cxnChg>
        <pc:cxnChg chg="del">
          <ac:chgData name="Matthieu Mabyre" userId="S::m.mabyre@castsoftware.com::52a89cab-5e6b-49ac-8601-6d3bc79d567b" providerId="AD" clId="Web-{B0C6912A-FDFB-4C11-A605-F4A87F0A9E44}" dt="2020-10-02T15:51:01.974" v="12"/>
          <ac:cxnSpMkLst>
            <pc:docMk/>
            <pc:sldMk cId="2005443533" sldId="487"/>
            <ac:cxnSpMk id="24" creationId="{593B8CCC-B631-45F7-9415-631BFDA8B802}"/>
          </ac:cxnSpMkLst>
        </pc:cxnChg>
        <pc:cxnChg chg="del">
          <ac:chgData name="Matthieu Mabyre" userId="S::m.mabyre@castsoftware.com::52a89cab-5e6b-49ac-8601-6d3bc79d567b" providerId="AD" clId="Web-{B0C6912A-FDFB-4C11-A605-F4A87F0A9E44}" dt="2020-10-02T15:51:01.974" v="11"/>
          <ac:cxnSpMkLst>
            <pc:docMk/>
            <pc:sldMk cId="2005443533" sldId="487"/>
            <ac:cxnSpMk id="25" creationId="{60CE891C-7BD1-45C2-A4A8-6AA43E1BF8FC}"/>
          </ac:cxnSpMkLst>
        </pc:cxnChg>
        <pc:cxnChg chg="del">
          <ac:chgData name="Matthieu Mabyre" userId="S::m.mabyre@castsoftware.com::52a89cab-5e6b-49ac-8601-6d3bc79d567b" providerId="AD" clId="Web-{B0C6912A-FDFB-4C11-A605-F4A87F0A9E44}" dt="2020-10-02T15:51:01.974" v="10"/>
          <ac:cxnSpMkLst>
            <pc:docMk/>
            <pc:sldMk cId="2005443533" sldId="487"/>
            <ac:cxnSpMk id="26" creationId="{F9AA800C-7C45-4496-A6BA-2EFC99855B59}"/>
          </ac:cxnSpMkLst>
        </pc:cxnChg>
        <pc:cxnChg chg="del">
          <ac:chgData name="Matthieu Mabyre" userId="S::m.mabyre@castsoftware.com::52a89cab-5e6b-49ac-8601-6d3bc79d567b" providerId="AD" clId="Web-{B0C6912A-FDFB-4C11-A605-F4A87F0A9E44}" dt="2020-10-02T15:51:01.974" v="9"/>
          <ac:cxnSpMkLst>
            <pc:docMk/>
            <pc:sldMk cId="2005443533" sldId="487"/>
            <ac:cxnSpMk id="27" creationId="{B4092BAA-06AC-4679-9367-8977E280D5FF}"/>
          </ac:cxnSpMkLst>
        </pc:cxnChg>
      </pc:sldChg>
    </pc:docChg>
  </pc:docChgLst>
  <pc:docChgLst>
    <pc:chgData name="Matthieu Mabyre" userId="S::m.mabyre@castsoftware.com::52a89cab-5e6b-49ac-8601-6d3bc79d567b" providerId="AD" clId="Web-{DD38E837-3F2D-4D2B-BE21-EBAAAC4FB32A}"/>
    <pc:docChg chg="modSld">
      <pc:chgData name="Matthieu Mabyre" userId="S::m.mabyre@castsoftware.com::52a89cab-5e6b-49ac-8601-6d3bc79d567b" providerId="AD" clId="Web-{DD38E837-3F2D-4D2B-BE21-EBAAAC4FB32A}" dt="2020-10-16T10:04:44.581" v="1" actId="20577"/>
      <pc:docMkLst>
        <pc:docMk/>
      </pc:docMkLst>
      <pc:sldChg chg="modSp">
        <pc:chgData name="Matthieu Mabyre" userId="S::m.mabyre@castsoftware.com::52a89cab-5e6b-49ac-8601-6d3bc79d567b" providerId="AD" clId="Web-{DD38E837-3F2D-4D2B-BE21-EBAAAC4FB32A}" dt="2020-10-16T10:04:44.581" v="1" actId="20577"/>
        <pc:sldMkLst>
          <pc:docMk/>
          <pc:sldMk cId="1630227824" sldId="507"/>
        </pc:sldMkLst>
        <pc:spChg chg="mod">
          <ac:chgData name="Matthieu Mabyre" userId="S::m.mabyre@castsoftware.com::52a89cab-5e6b-49ac-8601-6d3bc79d567b" providerId="AD" clId="Web-{DD38E837-3F2D-4D2B-BE21-EBAAAC4FB32A}" dt="2020-10-16T10:04:44.581" v="1" actId="20577"/>
          <ac:spMkLst>
            <pc:docMk/>
            <pc:sldMk cId="1630227824" sldId="507"/>
            <ac:spMk id="39" creationId="{9B3B3C2B-2D6A-454B-9637-F6BD98B02D8E}"/>
          </ac:spMkLst>
        </pc:spChg>
      </pc:sldChg>
    </pc:docChg>
  </pc:docChgLst>
  <pc:docChgLst>
    <pc:chgData name="Ribhu Kansal" userId="3c3467c4-139b-496f-a6d1-b079f7a0729b" providerId="ADAL" clId="{03C8979B-7827-4C89-A93D-46B7D2636DE9}"/>
    <pc:docChg chg="undo redo custSel modSld sldOrd modMainMaster modSection">
      <pc:chgData name="Ribhu Kansal" userId="3c3467c4-139b-496f-a6d1-b079f7a0729b" providerId="ADAL" clId="{03C8979B-7827-4C89-A93D-46B7D2636DE9}" dt="2020-12-17T17:28:44.302" v="1545" actId="20577"/>
      <pc:docMkLst>
        <pc:docMk/>
      </pc:docMkLst>
      <pc:sldChg chg="ord">
        <pc:chgData name="Ribhu Kansal" userId="3c3467c4-139b-496f-a6d1-b079f7a0729b" providerId="ADAL" clId="{03C8979B-7827-4C89-A93D-46B7D2636DE9}" dt="2020-12-16T20:20:54.197" v="10"/>
        <pc:sldMkLst>
          <pc:docMk/>
          <pc:sldMk cId="2693573443" sldId="272"/>
        </pc:sldMkLst>
      </pc:sldChg>
      <pc:sldChg chg="addSp delSp modSp mod">
        <pc:chgData name="Ribhu Kansal" userId="3c3467c4-139b-496f-a6d1-b079f7a0729b" providerId="ADAL" clId="{03C8979B-7827-4C89-A93D-46B7D2636DE9}" dt="2020-12-17T17:08:15.502" v="1362" actId="14100"/>
        <pc:sldMkLst>
          <pc:docMk/>
          <pc:sldMk cId="2478486860" sldId="318"/>
        </pc:sldMkLst>
        <pc:spChg chg="mod">
          <ac:chgData name="Ribhu Kansal" userId="3c3467c4-139b-496f-a6d1-b079f7a0729b" providerId="ADAL" clId="{03C8979B-7827-4C89-A93D-46B7D2636DE9}" dt="2020-12-16T20:59:17.173" v="1138" actId="404"/>
          <ac:spMkLst>
            <pc:docMk/>
            <pc:sldMk cId="2478486860" sldId="318"/>
            <ac:spMk id="2" creationId="{00000000-0000-0000-0000-000000000000}"/>
          </ac:spMkLst>
        </pc:spChg>
        <pc:spChg chg="mod">
          <ac:chgData name="Ribhu Kansal" userId="3c3467c4-139b-496f-a6d1-b079f7a0729b" providerId="ADAL" clId="{03C8979B-7827-4C89-A93D-46B7D2636DE9}" dt="2020-12-16T20:59:17.173" v="1138" actId="404"/>
          <ac:spMkLst>
            <pc:docMk/>
            <pc:sldMk cId="2478486860" sldId="318"/>
            <ac:spMk id="4" creationId="{00000000-0000-0000-0000-000000000000}"/>
          </ac:spMkLst>
        </pc:spChg>
        <pc:spChg chg="mod">
          <ac:chgData name="Ribhu Kansal" userId="3c3467c4-139b-496f-a6d1-b079f7a0729b" providerId="ADAL" clId="{03C8979B-7827-4C89-A93D-46B7D2636DE9}" dt="2020-12-17T17:08:15.502" v="1362" actId="14100"/>
          <ac:spMkLst>
            <pc:docMk/>
            <pc:sldMk cId="2478486860" sldId="318"/>
            <ac:spMk id="5" creationId="{00000000-0000-0000-0000-000000000000}"/>
          </ac:spMkLst>
        </pc:spChg>
        <pc:spChg chg="mod">
          <ac:chgData name="Ribhu Kansal" userId="3c3467c4-139b-496f-a6d1-b079f7a0729b" providerId="ADAL" clId="{03C8979B-7827-4C89-A93D-46B7D2636DE9}" dt="2020-12-16T20:59:39.140" v="1139" actId="14100"/>
          <ac:spMkLst>
            <pc:docMk/>
            <pc:sldMk cId="2478486860" sldId="318"/>
            <ac:spMk id="6" creationId="{00000000-0000-0000-0000-000000000000}"/>
          </ac:spMkLst>
        </pc:spChg>
        <pc:spChg chg="add del mod">
          <ac:chgData name="Ribhu Kansal" userId="3c3467c4-139b-496f-a6d1-b079f7a0729b" providerId="ADAL" clId="{03C8979B-7827-4C89-A93D-46B7D2636DE9}" dt="2020-12-16T20:59:17.173" v="1138" actId="404"/>
          <ac:spMkLst>
            <pc:docMk/>
            <pc:sldMk cId="2478486860" sldId="318"/>
            <ac:spMk id="7" creationId="{00000000-0000-0000-0000-000000000000}"/>
          </ac:spMkLst>
        </pc:spChg>
        <pc:spChg chg="mod">
          <ac:chgData name="Ribhu Kansal" userId="3c3467c4-139b-496f-a6d1-b079f7a0729b" providerId="ADAL" clId="{03C8979B-7827-4C89-A93D-46B7D2636DE9}" dt="2020-12-16T20:58:48.501" v="1134" actId="1035"/>
          <ac:spMkLst>
            <pc:docMk/>
            <pc:sldMk cId="2478486860" sldId="318"/>
            <ac:spMk id="8" creationId="{00000000-0000-0000-0000-000000000000}"/>
          </ac:spMkLst>
        </pc:spChg>
        <pc:spChg chg="mod">
          <ac:chgData name="Ribhu Kansal" userId="3c3467c4-139b-496f-a6d1-b079f7a0729b" providerId="ADAL" clId="{03C8979B-7827-4C89-A93D-46B7D2636DE9}" dt="2020-12-16T20:58:48.501" v="1134" actId="1035"/>
          <ac:spMkLst>
            <pc:docMk/>
            <pc:sldMk cId="2478486860" sldId="318"/>
            <ac:spMk id="9" creationId="{00000000-0000-0000-0000-000000000000}"/>
          </ac:spMkLst>
        </pc:spChg>
        <pc:spChg chg="mod">
          <ac:chgData name="Ribhu Kansal" userId="3c3467c4-139b-496f-a6d1-b079f7a0729b" providerId="ADAL" clId="{03C8979B-7827-4C89-A93D-46B7D2636DE9}" dt="2020-12-16T20:58:48.501" v="1134" actId="1035"/>
          <ac:spMkLst>
            <pc:docMk/>
            <pc:sldMk cId="2478486860" sldId="318"/>
            <ac:spMk id="11" creationId="{841594D9-E815-4368-AC56-677E0B2B65FF}"/>
          </ac:spMkLst>
        </pc:spChg>
        <pc:spChg chg="mod">
          <ac:chgData name="Ribhu Kansal" userId="3c3467c4-139b-496f-a6d1-b079f7a0729b" providerId="ADAL" clId="{03C8979B-7827-4C89-A93D-46B7D2636DE9}" dt="2020-12-16T20:58:48.501" v="1134" actId="1035"/>
          <ac:spMkLst>
            <pc:docMk/>
            <pc:sldMk cId="2478486860" sldId="318"/>
            <ac:spMk id="12" creationId="{EEA49B44-169A-4E61-98CF-BF2B6A1757B5}"/>
          </ac:spMkLst>
        </pc:spChg>
        <pc:spChg chg="mod">
          <ac:chgData name="Ribhu Kansal" userId="3c3467c4-139b-496f-a6d1-b079f7a0729b" providerId="ADAL" clId="{03C8979B-7827-4C89-A93D-46B7D2636DE9}" dt="2020-12-16T20:58:48.501" v="1134" actId="1035"/>
          <ac:spMkLst>
            <pc:docMk/>
            <pc:sldMk cId="2478486860" sldId="318"/>
            <ac:spMk id="13" creationId="{31A2DC10-BEF7-44EC-B0FC-1DB94D57B7E8}"/>
          </ac:spMkLst>
        </pc:spChg>
        <pc:spChg chg="mod">
          <ac:chgData name="Ribhu Kansal" userId="3c3467c4-139b-496f-a6d1-b079f7a0729b" providerId="ADAL" clId="{03C8979B-7827-4C89-A93D-46B7D2636DE9}" dt="2020-12-16T20:58:48.501" v="1134" actId="1035"/>
          <ac:spMkLst>
            <pc:docMk/>
            <pc:sldMk cId="2478486860" sldId="318"/>
            <ac:spMk id="19" creationId="{0A20574C-861B-41A6-B088-1F60E1E08226}"/>
          </ac:spMkLst>
        </pc:spChg>
        <pc:spChg chg="mod">
          <ac:chgData name="Ribhu Kansal" userId="3c3467c4-139b-496f-a6d1-b079f7a0729b" providerId="ADAL" clId="{03C8979B-7827-4C89-A93D-46B7D2636DE9}" dt="2020-12-16T20:58:48.501" v="1134" actId="1035"/>
          <ac:spMkLst>
            <pc:docMk/>
            <pc:sldMk cId="2478486860" sldId="318"/>
            <ac:spMk id="20" creationId="{B27ACF0B-87D8-43EB-9E05-3B16812D926B}"/>
          </ac:spMkLst>
        </pc:spChg>
        <pc:spChg chg="mod">
          <ac:chgData name="Ribhu Kansal" userId="3c3467c4-139b-496f-a6d1-b079f7a0729b" providerId="ADAL" clId="{03C8979B-7827-4C89-A93D-46B7D2636DE9}" dt="2020-12-16T20:58:48.501" v="1134" actId="1035"/>
          <ac:spMkLst>
            <pc:docMk/>
            <pc:sldMk cId="2478486860" sldId="318"/>
            <ac:spMk id="21" creationId="{E28F1E45-EC36-4841-AE6B-A842DE4BEBD3}"/>
          </ac:spMkLst>
        </pc:spChg>
        <pc:spChg chg="mod">
          <ac:chgData name="Ribhu Kansal" userId="3c3467c4-139b-496f-a6d1-b079f7a0729b" providerId="ADAL" clId="{03C8979B-7827-4C89-A93D-46B7D2636DE9}" dt="2020-12-16T20:36:13.246" v="461" actId="1035"/>
          <ac:spMkLst>
            <pc:docMk/>
            <pc:sldMk cId="2478486860" sldId="318"/>
            <ac:spMk id="24" creationId="{B023101D-DA68-4F17-B42A-E2C871F01512}"/>
          </ac:spMkLst>
        </pc:spChg>
        <pc:grpChg chg="mod">
          <ac:chgData name="Ribhu Kansal" userId="3c3467c4-139b-496f-a6d1-b079f7a0729b" providerId="ADAL" clId="{03C8979B-7827-4C89-A93D-46B7D2636DE9}" dt="2020-12-16T20:58:48.501" v="1134" actId="1035"/>
          <ac:grpSpMkLst>
            <pc:docMk/>
            <pc:sldMk cId="2478486860" sldId="318"/>
            <ac:grpSpMk id="10" creationId="{CC6AF3DC-4362-463B-8BF3-FA97E6C8BAEC}"/>
          </ac:grpSpMkLst>
        </pc:grpChg>
        <pc:grpChg chg="mod">
          <ac:chgData name="Ribhu Kansal" userId="3c3467c4-139b-496f-a6d1-b079f7a0729b" providerId="ADAL" clId="{03C8979B-7827-4C89-A93D-46B7D2636DE9}" dt="2020-12-16T20:58:48.501" v="1134" actId="1035"/>
          <ac:grpSpMkLst>
            <pc:docMk/>
            <pc:sldMk cId="2478486860" sldId="318"/>
            <ac:grpSpMk id="18" creationId="{38FCB088-1D96-4455-A463-B6D0CB5B7386}"/>
          </ac:grpSpMkLst>
        </pc:grpChg>
        <pc:grpChg chg="mod">
          <ac:chgData name="Ribhu Kansal" userId="3c3467c4-139b-496f-a6d1-b079f7a0729b" providerId="ADAL" clId="{03C8979B-7827-4C89-A93D-46B7D2636DE9}" dt="2020-12-16T20:58:48.501" v="1134" actId="1035"/>
          <ac:grpSpMkLst>
            <pc:docMk/>
            <pc:sldMk cId="2478486860" sldId="318"/>
            <ac:grpSpMk id="22" creationId="{00000000-0000-0000-0000-000000000000}"/>
          </ac:grpSpMkLst>
        </pc:grpChg>
        <pc:grpChg chg="mod">
          <ac:chgData name="Ribhu Kansal" userId="3c3467c4-139b-496f-a6d1-b079f7a0729b" providerId="ADAL" clId="{03C8979B-7827-4C89-A93D-46B7D2636DE9}" dt="2020-12-16T20:58:48.501" v="1134" actId="1035"/>
          <ac:grpSpMkLst>
            <pc:docMk/>
            <pc:sldMk cId="2478486860" sldId="318"/>
            <ac:grpSpMk id="23" creationId="{00000000-0000-0000-0000-000000000000}"/>
          </ac:grpSpMkLst>
        </pc:grpChg>
      </pc:sldChg>
      <pc:sldChg chg="addSp delSp modSp mod">
        <pc:chgData name="Ribhu Kansal" userId="3c3467c4-139b-496f-a6d1-b079f7a0729b" providerId="ADAL" clId="{03C8979B-7827-4C89-A93D-46B7D2636DE9}" dt="2020-12-17T17:28:44.302" v="1545" actId="20577"/>
        <pc:sldMkLst>
          <pc:docMk/>
          <pc:sldMk cId="3705176354" sldId="428"/>
        </pc:sldMkLst>
        <pc:spChg chg="mod">
          <ac:chgData name="Ribhu Kansal" userId="3c3467c4-139b-496f-a6d1-b079f7a0729b" providerId="ADAL" clId="{03C8979B-7827-4C89-A93D-46B7D2636DE9}" dt="2020-12-17T17:21:05.952" v="1461" actId="1076"/>
          <ac:spMkLst>
            <pc:docMk/>
            <pc:sldMk cId="3705176354" sldId="428"/>
            <ac:spMk id="2" creationId="{00000000-0000-0000-0000-000000000000}"/>
          </ac:spMkLst>
        </pc:spChg>
        <pc:spChg chg="mod">
          <ac:chgData name="Ribhu Kansal" userId="3c3467c4-139b-496f-a6d1-b079f7a0729b" providerId="ADAL" clId="{03C8979B-7827-4C89-A93D-46B7D2636DE9}" dt="2020-12-17T17:21:57.257" v="1468" actId="1076"/>
          <ac:spMkLst>
            <pc:docMk/>
            <pc:sldMk cId="3705176354" sldId="428"/>
            <ac:spMk id="4" creationId="{1D54A381-9ED5-4626-82D3-1EFCE1DF6AEC}"/>
          </ac:spMkLst>
        </pc:spChg>
        <pc:spChg chg="mod">
          <ac:chgData name="Ribhu Kansal" userId="3c3467c4-139b-496f-a6d1-b079f7a0729b" providerId="ADAL" clId="{03C8979B-7827-4C89-A93D-46B7D2636DE9}" dt="2020-12-17T17:21:57.257" v="1468" actId="1076"/>
          <ac:spMkLst>
            <pc:docMk/>
            <pc:sldMk cId="3705176354" sldId="428"/>
            <ac:spMk id="5" creationId="{652FCEF2-0D6A-496F-BCD0-5EA40A62DBD2}"/>
          </ac:spMkLst>
        </pc:spChg>
        <pc:spChg chg="mod">
          <ac:chgData name="Ribhu Kansal" userId="3c3467c4-139b-496f-a6d1-b079f7a0729b" providerId="ADAL" clId="{03C8979B-7827-4C89-A93D-46B7D2636DE9}" dt="2020-12-17T17:27:02.901" v="1520" actId="1076"/>
          <ac:spMkLst>
            <pc:docMk/>
            <pc:sldMk cId="3705176354" sldId="428"/>
            <ac:spMk id="8"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9"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10"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11"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14" creationId="{00000000-0000-0000-0000-000000000000}"/>
          </ac:spMkLst>
        </pc:spChg>
        <pc:spChg chg="mod">
          <ac:chgData name="Ribhu Kansal" userId="3c3467c4-139b-496f-a6d1-b079f7a0729b" providerId="ADAL" clId="{03C8979B-7827-4C89-A93D-46B7D2636DE9}" dt="2020-12-17T17:27:32.520" v="1521" actId="14100"/>
          <ac:spMkLst>
            <pc:docMk/>
            <pc:sldMk cId="3705176354" sldId="428"/>
            <ac:spMk id="16" creationId="{00000000-0000-0000-0000-000000000000}"/>
          </ac:spMkLst>
        </pc:spChg>
        <pc:spChg chg="mod">
          <ac:chgData name="Ribhu Kansal" userId="3c3467c4-139b-496f-a6d1-b079f7a0729b" providerId="ADAL" clId="{03C8979B-7827-4C89-A93D-46B7D2636DE9}" dt="2020-12-17T17:21:57.257" v="1468" actId="1076"/>
          <ac:spMkLst>
            <pc:docMk/>
            <pc:sldMk cId="3705176354" sldId="428"/>
            <ac:spMk id="18" creationId="{00000000-0000-0000-0000-000000000000}"/>
          </ac:spMkLst>
        </pc:spChg>
        <pc:spChg chg="mod">
          <ac:chgData name="Ribhu Kansal" userId="3c3467c4-139b-496f-a6d1-b079f7a0729b" providerId="ADAL" clId="{03C8979B-7827-4C89-A93D-46B7D2636DE9}" dt="2020-12-17T17:21:57.257" v="1468" actId="1076"/>
          <ac:spMkLst>
            <pc:docMk/>
            <pc:sldMk cId="3705176354" sldId="428"/>
            <ac:spMk id="20" creationId="{00000000-0000-0000-0000-000000000000}"/>
          </ac:spMkLst>
        </pc:spChg>
        <pc:spChg chg="mod">
          <ac:chgData name="Ribhu Kansal" userId="3c3467c4-139b-496f-a6d1-b079f7a0729b" providerId="ADAL" clId="{03C8979B-7827-4C89-A93D-46B7D2636DE9}" dt="2020-12-17T17:21:33.394" v="1464" actId="14100"/>
          <ac:spMkLst>
            <pc:docMk/>
            <pc:sldMk cId="3705176354" sldId="428"/>
            <ac:spMk id="21"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73" creationId="{4C88BB89-4068-499B-8F3F-29D9CFDEB8D9}"/>
          </ac:spMkLst>
        </pc:spChg>
        <pc:spChg chg="mod">
          <ac:chgData name="Ribhu Kansal" userId="3c3467c4-139b-496f-a6d1-b079f7a0729b" providerId="ADAL" clId="{03C8979B-7827-4C89-A93D-46B7D2636DE9}" dt="2020-12-17T17:27:02.901" v="1520" actId="1076"/>
          <ac:spMkLst>
            <pc:docMk/>
            <pc:sldMk cId="3705176354" sldId="428"/>
            <ac:spMk id="74" creationId="{0331598C-AB42-4ED3-AD29-91628B8360D4}"/>
          </ac:spMkLst>
        </pc:spChg>
        <pc:spChg chg="mod">
          <ac:chgData name="Ribhu Kansal" userId="3c3467c4-139b-496f-a6d1-b079f7a0729b" providerId="ADAL" clId="{03C8979B-7827-4C89-A93D-46B7D2636DE9}" dt="2020-12-17T17:27:02.901" v="1520" actId="1076"/>
          <ac:spMkLst>
            <pc:docMk/>
            <pc:sldMk cId="3705176354" sldId="428"/>
            <ac:spMk id="75" creationId="{C3667D43-2D3C-46D6-BEB3-58980BA9DA59}"/>
          </ac:spMkLst>
        </pc:spChg>
        <pc:spChg chg="del mod">
          <ac:chgData name="Ribhu Kansal" userId="3c3467c4-139b-496f-a6d1-b079f7a0729b" providerId="ADAL" clId="{03C8979B-7827-4C89-A93D-46B7D2636DE9}" dt="2020-12-17T16:55:40.414" v="1286" actId="478"/>
          <ac:spMkLst>
            <pc:docMk/>
            <pc:sldMk cId="3705176354" sldId="428"/>
            <ac:spMk id="76" creationId="{928EE9CA-5535-46DE-BED0-F2B33337DE93}"/>
          </ac:spMkLst>
        </pc:spChg>
        <pc:spChg chg="del">
          <ac:chgData name="Ribhu Kansal" userId="3c3467c4-139b-496f-a6d1-b079f7a0729b" providerId="ADAL" clId="{03C8979B-7827-4C89-A93D-46B7D2636DE9}" dt="2020-12-17T16:57:55.271" v="1294" actId="478"/>
          <ac:spMkLst>
            <pc:docMk/>
            <pc:sldMk cId="3705176354" sldId="428"/>
            <ac:spMk id="77"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78" creationId="{00000000-0000-0000-0000-000000000000}"/>
          </ac:spMkLst>
        </pc:spChg>
        <pc:spChg chg="del">
          <ac:chgData name="Ribhu Kansal" userId="3c3467c4-139b-496f-a6d1-b079f7a0729b" providerId="ADAL" clId="{03C8979B-7827-4C89-A93D-46B7D2636DE9}" dt="2020-12-17T16:56:01.202" v="1290" actId="478"/>
          <ac:spMkLst>
            <pc:docMk/>
            <pc:sldMk cId="3705176354" sldId="428"/>
            <ac:spMk id="79" creationId="{D2F5148D-F34C-4849-AEA7-EE8D1EF96982}"/>
          </ac:spMkLst>
        </pc:spChg>
        <pc:spChg chg="mod">
          <ac:chgData name="Ribhu Kansal" userId="3c3467c4-139b-496f-a6d1-b079f7a0729b" providerId="ADAL" clId="{03C8979B-7827-4C89-A93D-46B7D2636DE9}" dt="2020-12-17T17:27:02.901" v="1520" actId="1076"/>
          <ac:spMkLst>
            <pc:docMk/>
            <pc:sldMk cId="3705176354" sldId="428"/>
            <ac:spMk id="81"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82"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83"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84" creationId="{00000000-0000-0000-0000-000000000000}"/>
          </ac:spMkLst>
        </pc:spChg>
        <pc:spChg chg="del">
          <ac:chgData name="Ribhu Kansal" userId="3c3467c4-139b-496f-a6d1-b079f7a0729b" providerId="ADAL" clId="{03C8979B-7827-4C89-A93D-46B7D2636DE9}" dt="2020-12-17T16:57:20.721" v="1291" actId="478"/>
          <ac:spMkLst>
            <pc:docMk/>
            <pc:sldMk cId="3705176354" sldId="428"/>
            <ac:spMk id="85" creationId="{CAA82D74-1D1A-41BE-923C-0BC9FDA651E3}"/>
          </ac:spMkLst>
        </pc:spChg>
        <pc:spChg chg="mod">
          <ac:chgData name="Ribhu Kansal" userId="3c3467c4-139b-496f-a6d1-b079f7a0729b" providerId="ADAL" clId="{03C8979B-7827-4C89-A93D-46B7D2636DE9}" dt="2020-12-17T17:27:02.901" v="1520" actId="1076"/>
          <ac:spMkLst>
            <pc:docMk/>
            <pc:sldMk cId="3705176354" sldId="428"/>
            <ac:spMk id="90" creationId="{00000000-0000-0000-0000-000000000000}"/>
          </ac:spMkLst>
        </pc:spChg>
        <pc:spChg chg="del">
          <ac:chgData name="Ribhu Kansal" userId="3c3467c4-139b-496f-a6d1-b079f7a0729b" providerId="ADAL" clId="{03C8979B-7827-4C89-A93D-46B7D2636DE9}" dt="2020-12-17T16:55:43.406" v="1287" actId="478"/>
          <ac:spMkLst>
            <pc:docMk/>
            <pc:sldMk cId="3705176354" sldId="428"/>
            <ac:spMk id="91" creationId="{16D1D087-216F-4792-9256-99E3BE85D84B}"/>
          </ac:spMkLst>
        </pc:spChg>
        <pc:spChg chg="mod">
          <ac:chgData name="Ribhu Kansal" userId="3c3467c4-139b-496f-a6d1-b079f7a0729b" providerId="ADAL" clId="{03C8979B-7827-4C89-A93D-46B7D2636DE9}" dt="2020-12-17T17:27:02.901" v="1520" actId="1076"/>
          <ac:spMkLst>
            <pc:docMk/>
            <pc:sldMk cId="3705176354" sldId="428"/>
            <ac:spMk id="93"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94"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95"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96"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99"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100"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101"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102"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103"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105"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106"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107"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108"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110"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111" creationId="{00000000-0000-0000-0000-000000000000}"/>
          </ac:spMkLst>
        </pc:spChg>
        <pc:spChg chg="mod">
          <ac:chgData name="Ribhu Kansal" userId="3c3467c4-139b-496f-a6d1-b079f7a0729b" providerId="ADAL" clId="{03C8979B-7827-4C89-A93D-46B7D2636DE9}" dt="2020-12-17T17:27:02.901" v="1520" actId="1076"/>
          <ac:spMkLst>
            <pc:docMk/>
            <pc:sldMk cId="3705176354" sldId="428"/>
            <ac:spMk id="112" creationId="{00000000-0000-0000-0000-000000000000}"/>
          </ac:spMkLst>
        </pc:spChg>
        <pc:spChg chg="mod">
          <ac:chgData name="Ribhu Kansal" userId="3c3467c4-139b-496f-a6d1-b079f7a0729b" providerId="ADAL" clId="{03C8979B-7827-4C89-A93D-46B7D2636DE9}" dt="2020-12-17T17:25:56.179" v="1510" actId="553"/>
          <ac:spMkLst>
            <pc:docMk/>
            <pc:sldMk cId="3705176354" sldId="428"/>
            <ac:spMk id="114" creationId="{00000000-0000-0000-0000-000000000000}"/>
          </ac:spMkLst>
        </pc:spChg>
        <pc:spChg chg="mod">
          <ac:chgData name="Ribhu Kansal" userId="3c3467c4-139b-496f-a6d1-b079f7a0729b" providerId="ADAL" clId="{03C8979B-7827-4C89-A93D-46B7D2636DE9}" dt="2020-12-17T17:25:56.179" v="1510" actId="553"/>
          <ac:spMkLst>
            <pc:docMk/>
            <pc:sldMk cId="3705176354" sldId="428"/>
            <ac:spMk id="115" creationId="{00000000-0000-0000-0000-000000000000}"/>
          </ac:spMkLst>
        </pc:spChg>
        <pc:spChg chg="mod">
          <ac:chgData name="Ribhu Kansal" userId="3c3467c4-139b-496f-a6d1-b079f7a0729b" providerId="ADAL" clId="{03C8979B-7827-4C89-A93D-46B7D2636DE9}" dt="2020-12-17T17:21:57.257" v="1468" actId="1076"/>
          <ac:spMkLst>
            <pc:docMk/>
            <pc:sldMk cId="3705176354" sldId="428"/>
            <ac:spMk id="116" creationId="{00000000-0000-0000-0000-000000000000}"/>
          </ac:spMkLst>
        </pc:spChg>
        <pc:spChg chg="mod">
          <ac:chgData name="Ribhu Kansal" userId="3c3467c4-139b-496f-a6d1-b079f7a0729b" providerId="ADAL" clId="{03C8979B-7827-4C89-A93D-46B7D2636DE9}" dt="2020-12-17T17:21:57.257" v="1468" actId="1076"/>
          <ac:spMkLst>
            <pc:docMk/>
            <pc:sldMk cId="3705176354" sldId="428"/>
            <ac:spMk id="117" creationId="{00000000-0000-0000-0000-000000000000}"/>
          </ac:spMkLst>
        </pc:spChg>
        <pc:spChg chg="mod">
          <ac:chgData name="Ribhu Kansal" userId="3c3467c4-139b-496f-a6d1-b079f7a0729b" providerId="ADAL" clId="{03C8979B-7827-4C89-A93D-46B7D2636DE9}" dt="2020-12-17T17:21:57.257" v="1468" actId="1076"/>
          <ac:spMkLst>
            <pc:docMk/>
            <pc:sldMk cId="3705176354" sldId="428"/>
            <ac:spMk id="118" creationId="{00000000-0000-0000-0000-000000000000}"/>
          </ac:spMkLst>
        </pc:spChg>
        <pc:spChg chg="mod">
          <ac:chgData name="Ribhu Kansal" userId="3c3467c4-139b-496f-a6d1-b079f7a0729b" providerId="ADAL" clId="{03C8979B-7827-4C89-A93D-46B7D2636DE9}" dt="2020-12-17T17:21:57.257" v="1468" actId="1076"/>
          <ac:spMkLst>
            <pc:docMk/>
            <pc:sldMk cId="3705176354" sldId="428"/>
            <ac:spMk id="120" creationId="{00000000-0000-0000-0000-000000000000}"/>
          </ac:spMkLst>
        </pc:spChg>
        <pc:spChg chg="mod">
          <ac:chgData name="Ribhu Kansal" userId="3c3467c4-139b-496f-a6d1-b079f7a0729b" providerId="ADAL" clId="{03C8979B-7827-4C89-A93D-46B7D2636DE9}" dt="2020-12-17T17:21:57.257" v="1468" actId="1076"/>
          <ac:spMkLst>
            <pc:docMk/>
            <pc:sldMk cId="3705176354" sldId="428"/>
            <ac:spMk id="121" creationId="{00000000-0000-0000-0000-000000000000}"/>
          </ac:spMkLst>
        </pc:spChg>
        <pc:spChg chg="mod">
          <ac:chgData name="Ribhu Kansal" userId="3c3467c4-139b-496f-a6d1-b079f7a0729b" providerId="ADAL" clId="{03C8979B-7827-4C89-A93D-46B7D2636DE9}" dt="2020-12-17T17:21:57.257" v="1468" actId="1076"/>
          <ac:spMkLst>
            <pc:docMk/>
            <pc:sldMk cId="3705176354" sldId="428"/>
            <ac:spMk id="122" creationId="{00000000-0000-0000-0000-000000000000}"/>
          </ac:spMkLst>
        </pc:spChg>
        <pc:spChg chg="mod">
          <ac:chgData name="Ribhu Kansal" userId="3c3467c4-139b-496f-a6d1-b079f7a0729b" providerId="ADAL" clId="{03C8979B-7827-4C89-A93D-46B7D2636DE9}" dt="2020-12-17T17:21:57.257" v="1468" actId="1076"/>
          <ac:spMkLst>
            <pc:docMk/>
            <pc:sldMk cId="3705176354" sldId="428"/>
            <ac:spMk id="123" creationId="{00000000-0000-0000-0000-000000000000}"/>
          </ac:spMkLst>
        </pc:spChg>
        <pc:spChg chg="mod">
          <ac:chgData name="Ribhu Kansal" userId="3c3467c4-139b-496f-a6d1-b079f7a0729b" providerId="ADAL" clId="{03C8979B-7827-4C89-A93D-46B7D2636DE9}" dt="2020-12-17T17:25:56.179" v="1510" actId="553"/>
          <ac:spMkLst>
            <pc:docMk/>
            <pc:sldMk cId="3705176354" sldId="428"/>
            <ac:spMk id="124" creationId="{00000000-0000-0000-0000-000000000000}"/>
          </ac:spMkLst>
        </pc:spChg>
        <pc:spChg chg="mod">
          <ac:chgData name="Ribhu Kansal" userId="3c3467c4-139b-496f-a6d1-b079f7a0729b" providerId="ADAL" clId="{03C8979B-7827-4C89-A93D-46B7D2636DE9}" dt="2020-12-17T17:25:56.179" v="1510" actId="553"/>
          <ac:spMkLst>
            <pc:docMk/>
            <pc:sldMk cId="3705176354" sldId="428"/>
            <ac:spMk id="125" creationId="{00000000-0000-0000-0000-000000000000}"/>
          </ac:spMkLst>
        </pc:spChg>
        <pc:spChg chg="mod">
          <ac:chgData name="Ribhu Kansal" userId="3c3467c4-139b-496f-a6d1-b079f7a0729b" providerId="ADAL" clId="{03C8979B-7827-4C89-A93D-46B7D2636DE9}" dt="2020-12-17T17:25:56.179" v="1510" actId="553"/>
          <ac:spMkLst>
            <pc:docMk/>
            <pc:sldMk cId="3705176354" sldId="428"/>
            <ac:spMk id="126" creationId="{00000000-0000-0000-0000-000000000000}"/>
          </ac:spMkLst>
        </pc:spChg>
        <pc:spChg chg="mod">
          <ac:chgData name="Ribhu Kansal" userId="3c3467c4-139b-496f-a6d1-b079f7a0729b" providerId="ADAL" clId="{03C8979B-7827-4C89-A93D-46B7D2636DE9}" dt="2020-12-17T17:26:26.166" v="1518" actId="1037"/>
          <ac:spMkLst>
            <pc:docMk/>
            <pc:sldMk cId="3705176354" sldId="428"/>
            <ac:spMk id="127" creationId="{00000000-0000-0000-0000-000000000000}"/>
          </ac:spMkLst>
        </pc:spChg>
        <pc:spChg chg="del mod">
          <ac:chgData name="Ribhu Kansal" userId="3c3467c4-139b-496f-a6d1-b079f7a0729b" providerId="ADAL" clId="{03C8979B-7827-4C89-A93D-46B7D2636DE9}" dt="2020-12-17T17:19:13.112" v="1440" actId="478"/>
          <ac:spMkLst>
            <pc:docMk/>
            <pc:sldMk cId="3705176354" sldId="428"/>
            <ac:spMk id="128" creationId="{00000000-0000-0000-0000-000000000000}"/>
          </ac:spMkLst>
        </pc:spChg>
        <pc:spChg chg="del mod">
          <ac:chgData name="Ribhu Kansal" userId="3c3467c4-139b-496f-a6d1-b079f7a0729b" providerId="ADAL" clId="{03C8979B-7827-4C89-A93D-46B7D2636DE9}" dt="2020-12-17T17:14:42.748" v="1399" actId="478"/>
          <ac:spMkLst>
            <pc:docMk/>
            <pc:sldMk cId="3705176354" sldId="428"/>
            <ac:spMk id="129" creationId="{00000000-0000-0000-0000-000000000000}"/>
          </ac:spMkLst>
        </pc:spChg>
        <pc:spChg chg="del mod">
          <ac:chgData name="Ribhu Kansal" userId="3c3467c4-139b-496f-a6d1-b079f7a0729b" providerId="ADAL" clId="{03C8979B-7827-4C89-A93D-46B7D2636DE9}" dt="2020-12-17T17:14:40.859" v="1398" actId="478"/>
          <ac:spMkLst>
            <pc:docMk/>
            <pc:sldMk cId="3705176354" sldId="428"/>
            <ac:spMk id="130" creationId="{00000000-0000-0000-0000-000000000000}"/>
          </ac:spMkLst>
        </pc:spChg>
        <pc:spChg chg="mod">
          <ac:chgData name="Ribhu Kansal" userId="3c3467c4-139b-496f-a6d1-b079f7a0729b" providerId="ADAL" clId="{03C8979B-7827-4C89-A93D-46B7D2636DE9}" dt="2020-12-17T17:26:19.689" v="1517" actId="408"/>
          <ac:spMkLst>
            <pc:docMk/>
            <pc:sldMk cId="3705176354" sldId="428"/>
            <ac:spMk id="131" creationId="{00000000-0000-0000-0000-000000000000}"/>
          </ac:spMkLst>
        </pc:spChg>
        <pc:spChg chg="del mod">
          <ac:chgData name="Ribhu Kansal" userId="3c3467c4-139b-496f-a6d1-b079f7a0729b" providerId="ADAL" clId="{03C8979B-7827-4C89-A93D-46B7D2636DE9}" dt="2020-12-17T17:14:45.629" v="1400" actId="478"/>
          <ac:spMkLst>
            <pc:docMk/>
            <pc:sldMk cId="3705176354" sldId="428"/>
            <ac:spMk id="132" creationId="{00000000-0000-0000-0000-000000000000}"/>
          </ac:spMkLst>
        </pc:spChg>
        <pc:spChg chg="mod">
          <ac:chgData name="Ribhu Kansal" userId="3c3467c4-139b-496f-a6d1-b079f7a0729b" providerId="ADAL" clId="{03C8979B-7827-4C89-A93D-46B7D2636DE9}" dt="2020-12-17T17:26:16.300" v="1516" actId="1036"/>
          <ac:spMkLst>
            <pc:docMk/>
            <pc:sldMk cId="3705176354" sldId="428"/>
            <ac:spMk id="133" creationId="{00000000-0000-0000-0000-000000000000}"/>
          </ac:spMkLst>
        </pc:spChg>
        <pc:spChg chg="del mod">
          <ac:chgData name="Ribhu Kansal" userId="3c3467c4-139b-496f-a6d1-b079f7a0729b" providerId="ADAL" clId="{03C8979B-7827-4C89-A93D-46B7D2636DE9}" dt="2020-12-17T17:13:49.937" v="1392" actId="478"/>
          <ac:spMkLst>
            <pc:docMk/>
            <pc:sldMk cId="3705176354" sldId="428"/>
            <ac:spMk id="134" creationId="{00000000-0000-0000-0000-000000000000}"/>
          </ac:spMkLst>
        </pc:spChg>
        <pc:spChg chg="mod">
          <ac:chgData name="Ribhu Kansal" userId="3c3467c4-139b-496f-a6d1-b079f7a0729b" providerId="ADAL" clId="{03C8979B-7827-4C89-A93D-46B7D2636DE9}" dt="2020-12-17T17:26:46.846" v="1519" actId="1076"/>
          <ac:spMkLst>
            <pc:docMk/>
            <pc:sldMk cId="3705176354" sldId="428"/>
            <ac:spMk id="135" creationId="{00000000-0000-0000-0000-000000000000}"/>
          </ac:spMkLst>
        </pc:spChg>
        <pc:spChg chg="del mod">
          <ac:chgData name="Ribhu Kansal" userId="3c3467c4-139b-496f-a6d1-b079f7a0729b" providerId="ADAL" clId="{03C8979B-7827-4C89-A93D-46B7D2636DE9}" dt="2020-12-17T16:55:53.026" v="1289" actId="478"/>
          <ac:spMkLst>
            <pc:docMk/>
            <pc:sldMk cId="3705176354" sldId="428"/>
            <ac:spMk id="136" creationId="{CB8E1DE0-3042-4527-B3BC-75163D3F6659}"/>
          </ac:spMkLst>
        </pc:spChg>
        <pc:spChg chg="add mod">
          <ac:chgData name="Ribhu Kansal" userId="3c3467c4-139b-496f-a6d1-b079f7a0729b" providerId="ADAL" clId="{03C8979B-7827-4C89-A93D-46B7D2636DE9}" dt="2020-12-17T17:28:44.302" v="1545" actId="20577"/>
          <ac:spMkLst>
            <pc:docMk/>
            <pc:sldMk cId="3705176354" sldId="428"/>
            <ac:spMk id="140" creationId="{2FCD0C83-58DE-4726-8D97-9E0B73DF567E}"/>
          </ac:spMkLst>
        </pc:spChg>
        <pc:grpChg chg="mod">
          <ac:chgData name="Ribhu Kansal" userId="3c3467c4-139b-496f-a6d1-b079f7a0729b" providerId="ADAL" clId="{03C8979B-7827-4C89-A93D-46B7D2636DE9}" dt="2020-12-17T17:27:02.901" v="1520" actId="1076"/>
          <ac:grpSpMkLst>
            <pc:docMk/>
            <pc:sldMk cId="3705176354" sldId="428"/>
            <ac:grpSpMk id="80" creationId="{00000000-0000-0000-0000-000000000000}"/>
          </ac:grpSpMkLst>
        </pc:grpChg>
        <pc:grpChg chg="mod">
          <ac:chgData name="Ribhu Kansal" userId="3c3467c4-139b-496f-a6d1-b079f7a0729b" providerId="ADAL" clId="{03C8979B-7827-4C89-A93D-46B7D2636DE9}" dt="2020-12-17T17:25:56.179" v="1510" actId="553"/>
          <ac:grpSpMkLst>
            <pc:docMk/>
            <pc:sldMk cId="3705176354" sldId="428"/>
            <ac:grpSpMk id="86" creationId="{00000000-0000-0000-0000-000000000000}"/>
          </ac:grpSpMkLst>
        </pc:grpChg>
        <pc:grpChg chg="del mod">
          <ac:chgData name="Ribhu Kansal" userId="3c3467c4-139b-496f-a6d1-b079f7a0729b" providerId="ADAL" clId="{03C8979B-7827-4C89-A93D-46B7D2636DE9}" dt="2020-12-17T17:13:49.937" v="1392" actId="478"/>
          <ac:grpSpMkLst>
            <pc:docMk/>
            <pc:sldMk cId="3705176354" sldId="428"/>
            <ac:grpSpMk id="87" creationId="{00000000-0000-0000-0000-000000000000}"/>
          </ac:grpSpMkLst>
        </pc:grpChg>
        <pc:grpChg chg="del mod">
          <ac:chgData name="Ribhu Kansal" userId="3c3467c4-139b-496f-a6d1-b079f7a0729b" providerId="ADAL" clId="{03C8979B-7827-4C89-A93D-46B7D2636DE9}" dt="2020-12-17T17:14:45.629" v="1400" actId="478"/>
          <ac:grpSpMkLst>
            <pc:docMk/>
            <pc:sldMk cId="3705176354" sldId="428"/>
            <ac:grpSpMk id="88" creationId="{00000000-0000-0000-0000-000000000000}"/>
          </ac:grpSpMkLst>
        </pc:grpChg>
        <pc:grpChg chg="del mod">
          <ac:chgData name="Ribhu Kansal" userId="3c3467c4-139b-496f-a6d1-b079f7a0729b" providerId="ADAL" clId="{03C8979B-7827-4C89-A93D-46B7D2636DE9}" dt="2020-12-17T17:14:40.859" v="1398" actId="478"/>
          <ac:grpSpMkLst>
            <pc:docMk/>
            <pc:sldMk cId="3705176354" sldId="428"/>
            <ac:grpSpMk id="89" creationId="{00000000-0000-0000-0000-000000000000}"/>
          </ac:grpSpMkLst>
        </pc:grpChg>
        <pc:grpChg chg="mod">
          <ac:chgData name="Ribhu Kansal" userId="3c3467c4-139b-496f-a6d1-b079f7a0729b" providerId="ADAL" clId="{03C8979B-7827-4C89-A93D-46B7D2636DE9}" dt="2020-12-17T17:27:02.901" v="1520" actId="1076"/>
          <ac:grpSpMkLst>
            <pc:docMk/>
            <pc:sldMk cId="3705176354" sldId="428"/>
            <ac:grpSpMk id="92" creationId="{00000000-0000-0000-0000-000000000000}"/>
          </ac:grpSpMkLst>
        </pc:grpChg>
        <pc:grpChg chg="mod">
          <ac:chgData name="Ribhu Kansal" userId="3c3467c4-139b-496f-a6d1-b079f7a0729b" providerId="ADAL" clId="{03C8979B-7827-4C89-A93D-46B7D2636DE9}" dt="2020-12-17T17:27:02.901" v="1520" actId="1076"/>
          <ac:grpSpMkLst>
            <pc:docMk/>
            <pc:sldMk cId="3705176354" sldId="428"/>
            <ac:grpSpMk id="98" creationId="{00000000-0000-0000-0000-000000000000}"/>
          </ac:grpSpMkLst>
        </pc:grpChg>
        <pc:grpChg chg="mod">
          <ac:chgData name="Ribhu Kansal" userId="3c3467c4-139b-496f-a6d1-b079f7a0729b" providerId="ADAL" clId="{03C8979B-7827-4C89-A93D-46B7D2636DE9}" dt="2020-12-17T17:27:02.901" v="1520" actId="1076"/>
          <ac:grpSpMkLst>
            <pc:docMk/>
            <pc:sldMk cId="3705176354" sldId="428"/>
            <ac:grpSpMk id="104" creationId="{00000000-0000-0000-0000-000000000000}"/>
          </ac:grpSpMkLst>
        </pc:grpChg>
        <pc:grpChg chg="mod">
          <ac:chgData name="Ribhu Kansal" userId="3c3467c4-139b-496f-a6d1-b079f7a0729b" providerId="ADAL" clId="{03C8979B-7827-4C89-A93D-46B7D2636DE9}" dt="2020-12-17T17:27:02.901" v="1520" actId="1076"/>
          <ac:grpSpMkLst>
            <pc:docMk/>
            <pc:sldMk cId="3705176354" sldId="428"/>
            <ac:grpSpMk id="109" creationId="{00000000-0000-0000-0000-000000000000}"/>
          </ac:grpSpMkLst>
        </pc:grpChg>
        <pc:grpChg chg="del mod">
          <ac:chgData name="Ribhu Kansal" userId="3c3467c4-139b-496f-a6d1-b079f7a0729b" providerId="ADAL" clId="{03C8979B-7827-4C89-A93D-46B7D2636DE9}" dt="2020-12-17T17:19:13.112" v="1440" actId="478"/>
          <ac:grpSpMkLst>
            <pc:docMk/>
            <pc:sldMk cId="3705176354" sldId="428"/>
            <ac:grpSpMk id="113" creationId="{00000000-0000-0000-0000-000000000000}"/>
          </ac:grpSpMkLst>
        </pc:grpChg>
        <pc:grpChg chg="mod">
          <ac:chgData name="Ribhu Kansal" userId="3c3467c4-139b-496f-a6d1-b079f7a0729b" providerId="ADAL" clId="{03C8979B-7827-4C89-A93D-46B7D2636DE9}" dt="2020-12-17T17:21:57.257" v="1468" actId="1076"/>
          <ac:grpSpMkLst>
            <pc:docMk/>
            <pc:sldMk cId="3705176354" sldId="428"/>
            <ac:grpSpMk id="119" creationId="{00000000-0000-0000-0000-000000000000}"/>
          </ac:grpSpMkLst>
        </pc:grpChg>
      </pc:sldChg>
      <pc:sldChg chg="modSp mod">
        <pc:chgData name="Ribhu Kansal" userId="3c3467c4-139b-496f-a6d1-b079f7a0729b" providerId="ADAL" clId="{03C8979B-7827-4C89-A93D-46B7D2636DE9}" dt="2020-12-16T21:04:05.147" v="1284" actId="20577"/>
        <pc:sldMkLst>
          <pc:docMk/>
          <pc:sldMk cId="525587053" sldId="555"/>
        </pc:sldMkLst>
        <pc:spChg chg="mod">
          <ac:chgData name="Ribhu Kansal" userId="3c3467c4-139b-496f-a6d1-b079f7a0729b" providerId="ADAL" clId="{03C8979B-7827-4C89-A93D-46B7D2636DE9}" dt="2020-12-16T20:38:47.112" v="532" actId="20577"/>
          <ac:spMkLst>
            <pc:docMk/>
            <pc:sldMk cId="525587053" sldId="555"/>
            <ac:spMk id="26" creationId="{BA6CA995-52CD-4A3C-8300-F69AA026EB19}"/>
          </ac:spMkLst>
        </pc:spChg>
        <pc:graphicFrameChg chg="mod modGraphic">
          <ac:chgData name="Ribhu Kansal" userId="3c3467c4-139b-496f-a6d1-b079f7a0729b" providerId="ADAL" clId="{03C8979B-7827-4C89-A93D-46B7D2636DE9}" dt="2020-12-16T21:04:05.147" v="1284" actId="20577"/>
          <ac:graphicFrameMkLst>
            <pc:docMk/>
            <pc:sldMk cId="525587053" sldId="555"/>
            <ac:graphicFrameMk id="28" creationId="{994870E9-25EF-4A43-B1A1-38CC6A36FD4D}"/>
          </ac:graphicFrameMkLst>
        </pc:graphicFrameChg>
      </pc:sldChg>
      <pc:sldMasterChg chg="addSldLayout delSldLayout modSldLayout">
        <pc:chgData name="Ribhu Kansal" userId="3c3467c4-139b-496f-a6d1-b079f7a0729b" providerId="ADAL" clId="{03C8979B-7827-4C89-A93D-46B7D2636DE9}" dt="2020-12-16T20:19:54.385" v="7" actId="2696"/>
        <pc:sldMasterMkLst>
          <pc:docMk/>
          <pc:sldMasterMk cId="835336367" sldId="2147485117"/>
        </pc:sldMasterMkLst>
        <pc:sldLayoutChg chg="add del">
          <pc:chgData name="Ribhu Kansal" userId="3c3467c4-139b-496f-a6d1-b079f7a0729b" providerId="ADAL" clId="{03C8979B-7827-4C89-A93D-46B7D2636DE9}" dt="2020-12-16T20:19:53.701" v="6" actId="2696"/>
          <pc:sldLayoutMkLst>
            <pc:docMk/>
            <pc:sldMasterMk cId="835336367" sldId="2147485117"/>
            <pc:sldLayoutMk cId="2052710400" sldId="2147485158"/>
          </pc:sldLayoutMkLst>
        </pc:sldLayoutChg>
        <pc:sldLayoutChg chg="addSp modSp mod">
          <pc:chgData name="Ribhu Kansal" userId="3c3467c4-139b-496f-a6d1-b079f7a0729b" providerId="ADAL" clId="{03C8979B-7827-4C89-A93D-46B7D2636DE9}" dt="2020-12-16T20:19:19.671" v="3" actId="1076"/>
          <pc:sldLayoutMkLst>
            <pc:docMk/>
            <pc:sldMasterMk cId="835336367" sldId="2147485117"/>
            <pc:sldLayoutMk cId="1969027386" sldId="2147485170"/>
          </pc:sldLayoutMkLst>
          <pc:spChg chg="mod">
            <ac:chgData name="Ribhu Kansal" userId="3c3467c4-139b-496f-a6d1-b079f7a0729b" providerId="ADAL" clId="{03C8979B-7827-4C89-A93D-46B7D2636DE9}" dt="2020-12-16T20:19:15.807" v="2" actId="1076"/>
            <ac:spMkLst>
              <pc:docMk/>
              <pc:sldMasterMk cId="835336367" sldId="2147485117"/>
              <pc:sldLayoutMk cId="1969027386" sldId="2147485170"/>
              <ac:spMk id="11" creationId="{00000000-0000-0000-0000-000000000000}"/>
            </ac:spMkLst>
          </pc:spChg>
          <pc:spChg chg="mod">
            <ac:chgData name="Ribhu Kansal" userId="3c3467c4-139b-496f-a6d1-b079f7a0729b" providerId="ADAL" clId="{03C8979B-7827-4C89-A93D-46B7D2636DE9}" dt="2020-12-16T20:19:15.807" v="2" actId="1076"/>
            <ac:spMkLst>
              <pc:docMk/>
              <pc:sldMasterMk cId="835336367" sldId="2147485117"/>
              <pc:sldLayoutMk cId="1969027386" sldId="2147485170"/>
              <ac:spMk id="14" creationId="{00000000-0000-0000-0000-000000000000}"/>
            </ac:spMkLst>
          </pc:spChg>
          <pc:picChg chg="add mod">
            <ac:chgData name="Ribhu Kansal" userId="3c3467c4-139b-496f-a6d1-b079f7a0729b" providerId="ADAL" clId="{03C8979B-7827-4C89-A93D-46B7D2636DE9}" dt="2020-12-16T20:19:19.671" v="3" actId="1076"/>
            <ac:picMkLst>
              <pc:docMk/>
              <pc:sldMasterMk cId="835336367" sldId="2147485117"/>
              <pc:sldLayoutMk cId="1969027386" sldId="2147485170"/>
              <ac:picMk id="118786" creationId="{6C9115F2-301A-42BB-9D3A-397DA474333C}"/>
            </ac:picMkLst>
          </pc:picChg>
        </pc:sldLayoutChg>
        <pc:sldLayoutChg chg="add del">
          <pc:chgData name="Ribhu Kansal" userId="3c3467c4-139b-496f-a6d1-b079f7a0729b" providerId="ADAL" clId="{03C8979B-7827-4C89-A93D-46B7D2636DE9}" dt="2020-12-16T20:19:54.385" v="7" actId="2696"/>
          <pc:sldLayoutMkLst>
            <pc:docMk/>
            <pc:sldMasterMk cId="835336367" sldId="2147485117"/>
            <pc:sldLayoutMk cId="3984939824" sldId="2147485171"/>
          </pc:sldLayoutMkLst>
        </pc:sldLayoutChg>
      </pc:sldMasterChg>
    </pc:docChg>
  </pc:docChgLst>
  <pc:docChgLst>
    <pc:chgData name="Manish Sharma" userId="97d895ad-8d7a-4884-8c18-743afd731b6f" providerId="ADAL" clId="{98D6BF9E-951A-44E3-9068-B5D71577D20F}"/>
    <pc:docChg chg="undo redo custSel addSld delSld modSld sldOrd modMainMaster modSection">
      <pc:chgData name="Manish Sharma" userId="97d895ad-8d7a-4884-8c18-743afd731b6f" providerId="ADAL" clId="{98D6BF9E-951A-44E3-9068-B5D71577D20F}" dt="2020-10-16T20:59:40.295" v="18514"/>
      <pc:docMkLst>
        <pc:docMk/>
      </pc:docMkLst>
      <pc:sldChg chg="delSp modSp mod">
        <pc:chgData name="Manish Sharma" userId="97d895ad-8d7a-4884-8c18-743afd731b6f" providerId="ADAL" clId="{98D6BF9E-951A-44E3-9068-B5D71577D20F}" dt="2020-10-16T19:42:22.739" v="18183" actId="478"/>
        <pc:sldMkLst>
          <pc:docMk/>
          <pc:sldMk cId="2693573443" sldId="272"/>
        </pc:sldMkLst>
        <pc:spChg chg="mod">
          <ac:chgData name="Manish Sharma" userId="97d895ad-8d7a-4884-8c18-743afd731b6f" providerId="ADAL" clId="{98D6BF9E-951A-44E3-9068-B5D71577D20F}" dt="2020-10-16T14:40:53.462" v="16041" actId="108"/>
          <ac:spMkLst>
            <pc:docMk/>
            <pc:sldMk cId="2693573443" sldId="272"/>
            <ac:spMk id="3" creationId="{00000000-0000-0000-0000-000000000000}"/>
          </ac:spMkLst>
        </pc:spChg>
        <pc:spChg chg="mod">
          <ac:chgData name="Manish Sharma" userId="97d895ad-8d7a-4884-8c18-743afd731b6f" providerId="ADAL" clId="{98D6BF9E-951A-44E3-9068-B5D71577D20F}" dt="2020-10-16T18:15:41.565" v="17757" actId="14100"/>
          <ac:spMkLst>
            <pc:docMk/>
            <pc:sldMk cId="2693573443" sldId="272"/>
            <ac:spMk id="4" creationId="{DC342AD0-6244-4CC5-8419-E0541F66BE9C}"/>
          </ac:spMkLst>
        </pc:spChg>
        <pc:picChg chg="del mod">
          <ac:chgData name="Manish Sharma" userId="97d895ad-8d7a-4884-8c18-743afd731b6f" providerId="ADAL" clId="{98D6BF9E-951A-44E3-9068-B5D71577D20F}" dt="2020-10-16T19:42:22.739" v="18183" actId="478"/>
          <ac:picMkLst>
            <pc:docMk/>
            <pc:sldMk cId="2693573443" sldId="272"/>
            <ac:picMk id="10" creationId="{A222421C-63E8-4147-95D2-04AD75E6EB6B}"/>
          </ac:picMkLst>
        </pc:picChg>
      </pc:sldChg>
      <pc:sldChg chg="delSp mod">
        <pc:chgData name="Manish Sharma" userId="97d895ad-8d7a-4884-8c18-743afd731b6f" providerId="ADAL" clId="{98D6BF9E-951A-44E3-9068-B5D71577D20F}" dt="2020-10-16T20:41:06.177" v="18446" actId="478"/>
        <pc:sldMkLst>
          <pc:docMk/>
          <pc:sldMk cId="1099406581" sldId="310"/>
        </pc:sldMkLst>
        <pc:spChg chg="del">
          <ac:chgData name="Manish Sharma" userId="97d895ad-8d7a-4884-8c18-743afd731b6f" providerId="ADAL" clId="{98D6BF9E-951A-44E3-9068-B5D71577D20F}" dt="2020-10-16T20:41:06.177" v="18446" actId="478"/>
          <ac:spMkLst>
            <pc:docMk/>
            <pc:sldMk cId="1099406581" sldId="310"/>
            <ac:spMk id="68" creationId="{00000000-0000-0000-0000-000000000000}"/>
          </ac:spMkLst>
        </pc:spChg>
        <pc:picChg chg="del">
          <ac:chgData name="Manish Sharma" userId="97d895ad-8d7a-4884-8c18-743afd731b6f" providerId="ADAL" clId="{98D6BF9E-951A-44E3-9068-B5D71577D20F}" dt="2020-10-16T19:49:44.670" v="18237" actId="478"/>
          <ac:picMkLst>
            <pc:docMk/>
            <pc:sldMk cId="1099406581" sldId="310"/>
            <ac:picMk id="65" creationId="{00000000-0000-0000-0000-000000000000}"/>
          </ac:picMkLst>
        </pc:picChg>
      </pc:sldChg>
      <pc:sldChg chg="delSp mod">
        <pc:chgData name="Manish Sharma" userId="97d895ad-8d7a-4884-8c18-743afd731b6f" providerId="ADAL" clId="{98D6BF9E-951A-44E3-9068-B5D71577D20F}" dt="2020-10-16T20:41:08.967" v="18447" actId="478"/>
        <pc:sldMkLst>
          <pc:docMk/>
          <pc:sldMk cId="2825048304" sldId="313"/>
        </pc:sldMkLst>
        <pc:spChg chg="del">
          <ac:chgData name="Manish Sharma" userId="97d895ad-8d7a-4884-8c18-743afd731b6f" providerId="ADAL" clId="{98D6BF9E-951A-44E3-9068-B5D71577D20F}" dt="2020-10-16T20:41:08.967" v="18447" actId="478"/>
          <ac:spMkLst>
            <pc:docMk/>
            <pc:sldMk cId="2825048304" sldId="313"/>
            <ac:spMk id="27" creationId="{00000000-0000-0000-0000-000000000000}"/>
          </ac:spMkLst>
        </pc:spChg>
        <pc:picChg chg="del">
          <ac:chgData name="Manish Sharma" userId="97d895ad-8d7a-4884-8c18-743afd731b6f" providerId="ADAL" clId="{98D6BF9E-951A-44E3-9068-B5D71577D20F}" dt="2020-10-16T19:49:48.228" v="18238" actId="478"/>
          <ac:picMkLst>
            <pc:docMk/>
            <pc:sldMk cId="2825048304" sldId="313"/>
            <ac:picMk id="7" creationId="{00000000-0000-0000-0000-000000000000}"/>
          </ac:picMkLst>
        </pc:picChg>
      </pc:sldChg>
      <pc:sldChg chg="delSp mod">
        <pc:chgData name="Manish Sharma" userId="97d895ad-8d7a-4884-8c18-743afd731b6f" providerId="ADAL" clId="{98D6BF9E-951A-44E3-9068-B5D71577D20F}" dt="2020-10-16T20:41:12.607" v="18448" actId="478"/>
        <pc:sldMkLst>
          <pc:docMk/>
          <pc:sldMk cId="2361744333" sldId="314"/>
        </pc:sldMkLst>
        <pc:spChg chg="del">
          <ac:chgData name="Manish Sharma" userId="97d895ad-8d7a-4884-8c18-743afd731b6f" providerId="ADAL" clId="{98D6BF9E-951A-44E3-9068-B5D71577D20F}" dt="2020-10-16T20:41:12.607" v="18448" actId="478"/>
          <ac:spMkLst>
            <pc:docMk/>
            <pc:sldMk cId="2361744333" sldId="314"/>
            <ac:spMk id="27" creationId="{00000000-0000-0000-0000-000000000000}"/>
          </ac:spMkLst>
        </pc:spChg>
        <pc:picChg chg="del">
          <ac:chgData name="Manish Sharma" userId="97d895ad-8d7a-4884-8c18-743afd731b6f" providerId="ADAL" clId="{98D6BF9E-951A-44E3-9068-B5D71577D20F}" dt="2020-10-16T19:49:50.782" v="18239" actId="478"/>
          <ac:picMkLst>
            <pc:docMk/>
            <pc:sldMk cId="2361744333" sldId="314"/>
            <ac:picMk id="7" creationId="{00000000-0000-0000-0000-000000000000}"/>
          </ac:picMkLst>
        </pc:picChg>
      </pc:sldChg>
      <pc:sldChg chg="addSp delSp modSp mod">
        <pc:chgData name="Manish Sharma" userId="97d895ad-8d7a-4884-8c18-743afd731b6f" providerId="ADAL" clId="{98D6BF9E-951A-44E3-9068-B5D71577D20F}" dt="2020-10-16T20:32:08.261" v="18357" actId="478"/>
        <pc:sldMkLst>
          <pc:docMk/>
          <pc:sldMk cId="2478486860" sldId="318"/>
        </pc:sldMkLst>
        <pc:spChg chg="mod">
          <ac:chgData name="Manish Sharma" userId="97d895ad-8d7a-4884-8c18-743afd731b6f" providerId="ADAL" clId="{98D6BF9E-951A-44E3-9068-B5D71577D20F}" dt="2020-10-16T20:19:18.543" v="18339" actId="2"/>
          <ac:spMkLst>
            <pc:docMk/>
            <pc:sldMk cId="2478486860" sldId="318"/>
            <ac:spMk id="4" creationId="{00000000-0000-0000-0000-000000000000}"/>
          </ac:spMkLst>
        </pc:spChg>
        <pc:spChg chg="del">
          <ac:chgData name="Manish Sharma" userId="97d895ad-8d7a-4884-8c18-743afd731b6f" providerId="ADAL" clId="{98D6BF9E-951A-44E3-9068-B5D71577D20F}" dt="2020-10-15T14:10:15.826" v="9740" actId="478"/>
          <ac:spMkLst>
            <pc:docMk/>
            <pc:sldMk cId="2478486860" sldId="318"/>
            <ac:spMk id="17" creationId="{2A866B7B-5CDF-4326-81CD-7FAEE876F14F}"/>
          </ac:spMkLst>
        </pc:spChg>
        <pc:spChg chg="del">
          <ac:chgData name="Manish Sharma" userId="97d895ad-8d7a-4884-8c18-743afd731b6f" providerId="ADAL" clId="{98D6BF9E-951A-44E3-9068-B5D71577D20F}" dt="2020-10-16T20:32:08.261" v="18357" actId="478"/>
          <ac:spMkLst>
            <pc:docMk/>
            <pc:sldMk cId="2478486860" sldId="318"/>
            <ac:spMk id="27" creationId="{00000000-0000-0000-0000-000000000000}"/>
          </ac:spMkLst>
        </pc:spChg>
        <pc:picChg chg="del">
          <ac:chgData name="Manish Sharma" userId="97d895ad-8d7a-4884-8c18-743afd731b6f" providerId="ADAL" clId="{98D6BF9E-951A-44E3-9068-B5D71577D20F}" dt="2020-10-16T19:42:16.134" v="18181" actId="478"/>
          <ac:picMkLst>
            <pc:docMk/>
            <pc:sldMk cId="2478486860" sldId="318"/>
            <ac:picMk id="3" creationId="{00000000-0000-0000-0000-000000000000}"/>
          </ac:picMkLst>
        </pc:picChg>
        <pc:picChg chg="add mod">
          <ac:chgData name="Manish Sharma" userId="97d895ad-8d7a-4884-8c18-743afd731b6f" providerId="ADAL" clId="{98D6BF9E-951A-44E3-9068-B5D71577D20F}" dt="2020-10-16T19:44:31.569" v="18193" actId="1076"/>
          <ac:picMkLst>
            <pc:docMk/>
            <pc:sldMk cId="2478486860" sldId="318"/>
            <ac:picMk id="14" creationId="{AE9433E2-A246-4A1B-B853-E96F5F17ABC9}"/>
          </ac:picMkLst>
        </pc:picChg>
      </pc:sldChg>
      <pc:sldChg chg="delSp mod">
        <pc:chgData name="Manish Sharma" userId="97d895ad-8d7a-4884-8c18-743afd731b6f" providerId="ADAL" clId="{98D6BF9E-951A-44E3-9068-B5D71577D20F}" dt="2020-10-16T20:40:50.731" v="18442" actId="478"/>
        <pc:sldMkLst>
          <pc:docMk/>
          <pc:sldMk cId="308080427" sldId="342"/>
        </pc:sldMkLst>
        <pc:spChg chg="del">
          <ac:chgData name="Manish Sharma" userId="97d895ad-8d7a-4884-8c18-743afd731b6f" providerId="ADAL" clId="{98D6BF9E-951A-44E3-9068-B5D71577D20F}" dt="2020-10-16T20:40:50.731" v="18442" actId="478"/>
          <ac:spMkLst>
            <pc:docMk/>
            <pc:sldMk cId="308080427" sldId="342"/>
            <ac:spMk id="103" creationId="{00000000-0000-0000-0000-000000000000}"/>
          </ac:spMkLst>
        </pc:spChg>
        <pc:picChg chg="del">
          <ac:chgData name="Manish Sharma" userId="97d895ad-8d7a-4884-8c18-743afd731b6f" providerId="ADAL" clId="{98D6BF9E-951A-44E3-9068-B5D71577D20F}" dt="2020-10-16T19:49:32.134" v="18233" actId="478"/>
          <ac:picMkLst>
            <pc:docMk/>
            <pc:sldMk cId="308080427" sldId="342"/>
            <ac:picMk id="3" creationId="{00000000-0000-0000-0000-000000000000}"/>
          </ac:picMkLst>
        </pc:picChg>
      </pc:sldChg>
      <pc:sldChg chg="delSp mod">
        <pc:chgData name="Manish Sharma" userId="97d895ad-8d7a-4884-8c18-743afd731b6f" providerId="ADAL" clId="{98D6BF9E-951A-44E3-9068-B5D71577D20F}" dt="2020-10-16T20:40:54.163" v="18443" actId="478"/>
        <pc:sldMkLst>
          <pc:docMk/>
          <pc:sldMk cId="231093575" sldId="344"/>
        </pc:sldMkLst>
        <pc:spChg chg="del">
          <ac:chgData name="Manish Sharma" userId="97d895ad-8d7a-4884-8c18-743afd731b6f" providerId="ADAL" clId="{98D6BF9E-951A-44E3-9068-B5D71577D20F}" dt="2020-10-16T20:40:54.163" v="18443" actId="478"/>
          <ac:spMkLst>
            <pc:docMk/>
            <pc:sldMk cId="231093575" sldId="344"/>
            <ac:spMk id="74" creationId="{00000000-0000-0000-0000-000000000000}"/>
          </ac:spMkLst>
        </pc:spChg>
        <pc:picChg chg="del">
          <ac:chgData name="Manish Sharma" userId="97d895ad-8d7a-4884-8c18-743afd731b6f" providerId="ADAL" clId="{98D6BF9E-951A-44E3-9068-B5D71577D20F}" dt="2020-10-16T19:49:34.673" v="18234" actId="478"/>
          <ac:picMkLst>
            <pc:docMk/>
            <pc:sldMk cId="231093575" sldId="344"/>
            <ac:picMk id="110" creationId="{00000000-0000-0000-0000-000000000000}"/>
          </ac:picMkLst>
        </pc:picChg>
      </pc:sldChg>
      <pc:sldChg chg="delSp mod">
        <pc:chgData name="Manish Sharma" userId="97d895ad-8d7a-4884-8c18-743afd731b6f" providerId="ADAL" clId="{98D6BF9E-951A-44E3-9068-B5D71577D20F}" dt="2020-10-16T20:40:58.086" v="18444" actId="478"/>
        <pc:sldMkLst>
          <pc:docMk/>
          <pc:sldMk cId="2358656871" sldId="374"/>
        </pc:sldMkLst>
        <pc:spChg chg="del">
          <ac:chgData name="Manish Sharma" userId="97d895ad-8d7a-4884-8c18-743afd731b6f" providerId="ADAL" clId="{98D6BF9E-951A-44E3-9068-B5D71577D20F}" dt="2020-10-16T20:40:58.086" v="18444" actId="478"/>
          <ac:spMkLst>
            <pc:docMk/>
            <pc:sldMk cId="2358656871" sldId="374"/>
            <ac:spMk id="32" creationId="{00000000-0000-0000-0000-000000000000}"/>
          </ac:spMkLst>
        </pc:spChg>
        <pc:picChg chg="del">
          <ac:chgData name="Manish Sharma" userId="97d895ad-8d7a-4884-8c18-743afd731b6f" providerId="ADAL" clId="{98D6BF9E-951A-44E3-9068-B5D71577D20F}" dt="2020-10-16T19:49:37.969" v="18235" actId="478"/>
          <ac:picMkLst>
            <pc:docMk/>
            <pc:sldMk cId="2358656871" sldId="374"/>
            <ac:picMk id="34" creationId="{00000000-0000-0000-0000-000000000000}"/>
          </ac:picMkLst>
        </pc:picChg>
      </pc:sldChg>
      <pc:sldChg chg="delSp mod">
        <pc:chgData name="Manish Sharma" userId="97d895ad-8d7a-4884-8c18-743afd731b6f" providerId="ADAL" clId="{98D6BF9E-951A-44E3-9068-B5D71577D20F}" dt="2020-10-16T20:41:02.089" v="18445" actId="478"/>
        <pc:sldMkLst>
          <pc:docMk/>
          <pc:sldMk cId="3632372976" sldId="375"/>
        </pc:sldMkLst>
        <pc:spChg chg="del">
          <ac:chgData name="Manish Sharma" userId="97d895ad-8d7a-4884-8c18-743afd731b6f" providerId="ADAL" clId="{98D6BF9E-951A-44E3-9068-B5D71577D20F}" dt="2020-10-16T20:41:02.089" v="18445" actId="478"/>
          <ac:spMkLst>
            <pc:docMk/>
            <pc:sldMk cId="3632372976" sldId="375"/>
            <ac:spMk id="73" creationId="{00000000-0000-0000-0000-000000000000}"/>
          </ac:spMkLst>
        </pc:spChg>
        <pc:picChg chg="del">
          <ac:chgData name="Manish Sharma" userId="97d895ad-8d7a-4884-8c18-743afd731b6f" providerId="ADAL" clId="{98D6BF9E-951A-44E3-9068-B5D71577D20F}" dt="2020-10-16T19:49:40.522" v="18236" actId="478"/>
          <ac:picMkLst>
            <pc:docMk/>
            <pc:sldMk cId="3632372976" sldId="375"/>
            <ac:picMk id="58" creationId="{00000000-0000-0000-0000-000000000000}"/>
          </ac:picMkLst>
        </pc:picChg>
      </pc:sldChg>
      <pc:sldChg chg="addSp delSp modSp mod">
        <pc:chgData name="Manish Sharma" userId="97d895ad-8d7a-4884-8c18-743afd731b6f" providerId="ADAL" clId="{98D6BF9E-951A-44E3-9068-B5D71577D20F}" dt="2020-10-16T20:59:21.220" v="18513"/>
        <pc:sldMkLst>
          <pc:docMk/>
          <pc:sldMk cId="2829381692" sldId="393"/>
        </pc:sldMkLst>
        <pc:spChg chg="mod">
          <ac:chgData name="Manish Sharma" userId="97d895ad-8d7a-4884-8c18-743afd731b6f" providerId="ADAL" clId="{98D6BF9E-951A-44E3-9068-B5D71577D20F}" dt="2020-10-12T20:35:53.248" v="2458" actId="20577"/>
          <ac:spMkLst>
            <pc:docMk/>
            <pc:sldMk cId="2829381692" sldId="393"/>
            <ac:spMk id="2" creationId="{00000000-0000-0000-0000-000000000000}"/>
          </ac:spMkLst>
        </pc:spChg>
        <pc:spChg chg="del">
          <ac:chgData name="Manish Sharma" userId="97d895ad-8d7a-4884-8c18-743afd731b6f" providerId="ADAL" clId="{98D6BF9E-951A-44E3-9068-B5D71577D20F}" dt="2020-10-12T20:35:40.475" v="2429" actId="478"/>
          <ac:spMkLst>
            <pc:docMk/>
            <pc:sldMk cId="2829381692" sldId="393"/>
            <ac:spMk id="3" creationId="{1F6D7D5D-E9F5-41C3-A159-497096BD8C0A}"/>
          </ac:spMkLst>
        </pc:spChg>
        <pc:spChg chg="del">
          <ac:chgData name="Manish Sharma" userId="97d895ad-8d7a-4884-8c18-743afd731b6f" providerId="ADAL" clId="{98D6BF9E-951A-44E3-9068-B5D71577D20F}" dt="2020-10-16T20:32:42.391" v="18364" actId="478"/>
          <ac:spMkLst>
            <pc:docMk/>
            <pc:sldMk cId="2829381692" sldId="393"/>
            <ac:spMk id="13" creationId="{00000000-0000-0000-0000-000000000000}"/>
          </ac:spMkLst>
        </pc:spChg>
        <pc:spChg chg="mod">
          <ac:chgData name="Manish Sharma" userId="97d895ad-8d7a-4884-8c18-743afd731b6f" providerId="ADAL" clId="{98D6BF9E-951A-44E3-9068-B5D71577D20F}" dt="2020-10-16T15:05:43.804" v="16296" actId="14100"/>
          <ac:spMkLst>
            <pc:docMk/>
            <pc:sldMk cId="2829381692" sldId="393"/>
            <ac:spMk id="20" creationId="{00000000-0000-0000-0000-000000000000}"/>
          </ac:spMkLst>
        </pc:spChg>
        <pc:spChg chg="mod">
          <ac:chgData name="Manish Sharma" userId="97d895ad-8d7a-4884-8c18-743afd731b6f" providerId="ADAL" clId="{98D6BF9E-951A-44E3-9068-B5D71577D20F}" dt="2020-10-12T20:44:55.702" v="2657" actId="20577"/>
          <ac:spMkLst>
            <pc:docMk/>
            <pc:sldMk cId="2829381692" sldId="393"/>
            <ac:spMk id="30" creationId="{BC68C9EA-24FC-4D79-A0C1-213D45B72034}"/>
          </ac:spMkLst>
        </pc:spChg>
        <pc:spChg chg="mod">
          <ac:chgData name="Manish Sharma" userId="97d895ad-8d7a-4884-8c18-743afd731b6f" providerId="ADAL" clId="{98D6BF9E-951A-44E3-9068-B5D71577D20F}" dt="2020-10-12T20:40:05.416" v="2511" actId="14100"/>
          <ac:spMkLst>
            <pc:docMk/>
            <pc:sldMk cId="2829381692" sldId="393"/>
            <ac:spMk id="39" creationId="{11848AE5-F7EA-4874-A2C7-547D3B6E4679}"/>
          </ac:spMkLst>
        </pc:spChg>
        <pc:spChg chg="mod">
          <ac:chgData name="Manish Sharma" userId="97d895ad-8d7a-4884-8c18-743afd731b6f" providerId="ADAL" clId="{98D6BF9E-951A-44E3-9068-B5D71577D20F}" dt="2020-10-12T20:39:12.580" v="2485"/>
          <ac:spMkLst>
            <pc:docMk/>
            <pc:sldMk cId="2829381692" sldId="393"/>
            <ac:spMk id="40" creationId="{C807699B-0CC5-411B-8381-FCD1780AA9C5}"/>
          </ac:spMkLst>
        </pc:spChg>
        <pc:spChg chg="mod">
          <ac:chgData name="Manish Sharma" userId="97d895ad-8d7a-4884-8c18-743afd731b6f" providerId="ADAL" clId="{98D6BF9E-951A-44E3-9068-B5D71577D20F}" dt="2020-10-12T20:39:19.282" v="2490" actId="20577"/>
          <ac:spMkLst>
            <pc:docMk/>
            <pc:sldMk cId="2829381692" sldId="393"/>
            <ac:spMk id="42" creationId="{BAE7045A-5CC6-44E2-AB64-B70A5521D2C4}"/>
          </ac:spMkLst>
        </pc:spChg>
        <pc:grpChg chg="mod">
          <ac:chgData name="Manish Sharma" userId="97d895ad-8d7a-4884-8c18-743afd731b6f" providerId="ADAL" clId="{98D6BF9E-951A-44E3-9068-B5D71577D20F}" dt="2020-10-12T20:39:07.238" v="2483" actId="1076"/>
          <ac:grpSpMkLst>
            <pc:docMk/>
            <pc:sldMk cId="2829381692" sldId="393"/>
            <ac:grpSpMk id="9" creationId="{0C9A9329-34F4-42B3-B417-32AA75A6C343}"/>
          </ac:grpSpMkLst>
        </pc:grpChg>
        <pc:grpChg chg="mod">
          <ac:chgData name="Manish Sharma" userId="97d895ad-8d7a-4884-8c18-743afd731b6f" providerId="ADAL" clId="{98D6BF9E-951A-44E3-9068-B5D71577D20F}" dt="2020-10-12T20:39:10.798" v="2484" actId="1076"/>
          <ac:grpSpMkLst>
            <pc:docMk/>
            <pc:sldMk cId="2829381692" sldId="393"/>
            <ac:grpSpMk id="10" creationId="{C4153FF1-0D99-45EB-9EE7-432D02358821}"/>
          </ac:grpSpMkLst>
        </pc:grpChg>
        <pc:grpChg chg="del">
          <ac:chgData name="Manish Sharma" userId="97d895ad-8d7a-4884-8c18-743afd731b6f" providerId="ADAL" clId="{98D6BF9E-951A-44E3-9068-B5D71577D20F}" dt="2020-10-12T20:39:01.919" v="2482" actId="478"/>
          <ac:grpSpMkLst>
            <pc:docMk/>
            <pc:sldMk cId="2829381692" sldId="393"/>
            <ac:grpSpMk id="31" creationId="{E25F4F95-7A0F-42EA-9868-B84486C82AEB}"/>
          </ac:grpSpMkLst>
        </pc:grpChg>
        <pc:grpChg chg="add mod">
          <ac:chgData name="Manish Sharma" userId="97d895ad-8d7a-4884-8c18-743afd731b6f" providerId="ADAL" clId="{98D6BF9E-951A-44E3-9068-B5D71577D20F}" dt="2020-10-12T20:39:15.895" v="2486" actId="1076"/>
          <ac:grpSpMkLst>
            <pc:docMk/>
            <pc:sldMk cId="2829381692" sldId="393"/>
            <ac:grpSpMk id="33" creationId="{4BA241F4-B0FC-433B-8BA1-C2355070954B}"/>
          </ac:grpSpMkLst>
        </pc:grpChg>
        <pc:grpChg chg="mod">
          <ac:chgData name="Manish Sharma" userId="97d895ad-8d7a-4884-8c18-743afd731b6f" providerId="ADAL" clId="{98D6BF9E-951A-44E3-9068-B5D71577D20F}" dt="2020-10-12T20:39:12.580" v="2485"/>
          <ac:grpSpMkLst>
            <pc:docMk/>
            <pc:sldMk cId="2829381692" sldId="393"/>
            <ac:grpSpMk id="34" creationId="{DC7177C2-0560-4514-A191-1E4BC876BE3C}"/>
          </ac:grpSpMkLst>
        </pc:grpChg>
        <pc:graphicFrameChg chg="del">
          <ac:chgData name="Manish Sharma" userId="97d895ad-8d7a-4884-8c18-743afd731b6f" providerId="ADAL" clId="{98D6BF9E-951A-44E3-9068-B5D71577D20F}" dt="2020-10-12T20:35:58.323" v="2459" actId="478"/>
          <ac:graphicFrameMkLst>
            <pc:docMk/>
            <pc:sldMk cId="2829381692" sldId="393"/>
            <ac:graphicFrameMk id="4" creationId="{47BE1CB3-73D3-4B98-B603-C3E7A648EBF5}"/>
          </ac:graphicFrameMkLst>
        </pc:graphicFrameChg>
        <pc:graphicFrameChg chg="add mod modGraphic">
          <ac:chgData name="Manish Sharma" userId="97d895ad-8d7a-4884-8c18-743afd731b6f" providerId="ADAL" clId="{98D6BF9E-951A-44E3-9068-B5D71577D20F}" dt="2020-10-16T15:08:45.551" v="16299" actId="113"/>
          <ac:graphicFrameMkLst>
            <pc:docMk/>
            <pc:sldMk cId="2829381692" sldId="393"/>
            <ac:graphicFrameMk id="5" creationId="{77517C0B-B41D-49FB-8EAE-461DCF0BDAF4}"/>
          </ac:graphicFrameMkLst>
        </pc:graphicFrameChg>
        <pc:graphicFrameChg chg="add mod">
          <ac:chgData name="Manish Sharma" userId="97d895ad-8d7a-4884-8c18-743afd731b6f" providerId="ADAL" clId="{98D6BF9E-951A-44E3-9068-B5D71577D20F}" dt="2020-10-16T20:59:21.220" v="18513"/>
          <ac:graphicFrameMkLst>
            <pc:docMk/>
            <pc:sldMk cId="2829381692" sldId="393"/>
            <ac:graphicFrameMk id="6" creationId="{F1FB2FF7-3737-430B-BE5C-18E6E6E6D019}"/>
          </ac:graphicFrameMkLst>
        </pc:graphicFrameChg>
        <pc:graphicFrameChg chg="del">
          <ac:chgData name="Manish Sharma" userId="97d895ad-8d7a-4884-8c18-743afd731b6f" providerId="ADAL" clId="{98D6BF9E-951A-44E3-9068-B5D71577D20F}" dt="2020-10-12T20:40:23.816" v="2512" actId="478"/>
          <ac:graphicFrameMkLst>
            <pc:docMk/>
            <pc:sldMk cId="2829381692" sldId="393"/>
            <ac:graphicFrameMk id="22" creationId="{6D6DF940-B8E8-4490-B6F0-052CED940925}"/>
          </ac:graphicFrameMkLst>
        </pc:graphicFrameChg>
        <pc:picChg chg="add del">
          <ac:chgData name="Manish Sharma" userId="97d895ad-8d7a-4884-8c18-743afd731b6f" providerId="ADAL" clId="{98D6BF9E-951A-44E3-9068-B5D71577D20F}" dt="2020-10-13T17:40:57.435" v="4314" actId="22"/>
          <ac:picMkLst>
            <pc:docMk/>
            <pc:sldMk cId="2829381692" sldId="393"/>
            <ac:picMk id="4" creationId="{CE13CCB0-CAF0-49DB-A247-373226BABEF3}"/>
          </ac:picMkLst>
        </pc:picChg>
        <pc:picChg chg="del">
          <ac:chgData name="Manish Sharma" userId="97d895ad-8d7a-4884-8c18-743afd731b6f" providerId="ADAL" clId="{98D6BF9E-951A-44E3-9068-B5D71577D20F}" dt="2020-10-16T19:48:18.917" v="18215" actId="478"/>
          <ac:picMkLst>
            <pc:docMk/>
            <pc:sldMk cId="2829381692" sldId="393"/>
            <ac:picMk id="12" creationId="{00000000-0000-0000-0000-000000000000}"/>
          </ac:picMkLst>
        </pc:picChg>
        <pc:cxnChg chg="mod">
          <ac:chgData name="Manish Sharma" userId="97d895ad-8d7a-4884-8c18-743afd731b6f" providerId="ADAL" clId="{98D6BF9E-951A-44E3-9068-B5D71577D20F}" dt="2020-10-12T20:39:12.580" v="2485"/>
          <ac:cxnSpMkLst>
            <pc:docMk/>
            <pc:sldMk cId="2829381692" sldId="393"/>
            <ac:cxnSpMk id="41" creationId="{E30A3F72-0E1E-4C1B-9BC7-F649EC10E253}"/>
          </ac:cxnSpMkLst>
        </pc:cxnChg>
      </pc:sldChg>
      <pc:sldChg chg="delSp modSp mod">
        <pc:chgData name="Manish Sharma" userId="97d895ad-8d7a-4884-8c18-743afd731b6f" providerId="ADAL" clId="{98D6BF9E-951A-44E3-9068-B5D71577D20F}" dt="2020-10-16T19:52:51.023" v="18260" actId="20577"/>
        <pc:sldMkLst>
          <pc:docMk/>
          <pc:sldMk cId="1999519132" sldId="425"/>
        </pc:sldMkLst>
        <pc:spChg chg="del">
          <ac:chgData name="Manish Sharma" userId="97d895ad-8d7a-4884-8c18-743afd731b6f" providerId="ADAL" clId="{98D6BF9E-951A-44E3-9068-B5D71577D20F}" dt="2020-10-14T23:37:42.102" v="5436" actId="478"/>
          <ac:spMkLst>
            <pc:docMk/>
            <pc:sldMk cId="1999519132" sldId="425"/>
            <ac:spMk id="3" creationId="{F0981A91-8822-4642-83CC-67BF45B9711A}"/>
          </ac:spMkLst>
        </pc:spChg>
        <pc:spChg chg="mod">
          <ac:chgData name="Manish Sharma" userId="97d895ad-8d7a-4884-8c18-743afd731b6f" providerId="ADAL" clId="{98D6BF9E-951A-44E3-9068-B5D71577D20F}" dt="2020-10-16T19:52:44.855" v="18259" actId="20577"/>
          <ac:spMkLst>
            <pc:docMk/>
            <pc:sldMk cId="1999519132" sldId="425"/>
            <ac:spMk id="25" creationId="{822CB3C9-19F1-48FD-B87F-0FE3265E0570}"/>
          </ac:spMkLst>
        </pc:spChg>
        <pc:spChg chg="mod">
          <ac:chgData name="Manish Sharma" userId="97d895ad-8d7a-4884-8c18-743afd731b6f" providerId="ADAL" clId="{98D6BF9E-951A-44E3-9068-B5D71577D20F}" dt="2020-10-16T15:10:59.259" v="16531" actId="1076"/>
          <ac:spMkLst>
            <pc:docMk/>
            <pc:sldMk cId="1999519132" sldId="425"/>
            <ac:spMk id="31" creationId="{3EA2289E-76AB-4C45-8310-09A7DC5E2CA4}"/>
          </ac:spMkLst>
        </pc:spChg>
        <pc:spChg chg="mod">
          <ac:chgData name="Manish Sharma" userId="97d895ad-8d7a-4884-8c18-743afd731b6f" providerId="ADAL" clId="{98D6BF9E-951A-44E3-9068-B5D71577D20F}" dt="2020-10-16T15:11:05.018" v="16532" actId="1076"/>
          <ac:spMkLst>
            <pc:docMk/>
            <pc:sldMk cId="1999519132" sldId="425"/>
            <ac:spMk id="32" creationId="{CE17ED59-8945-44F5-B85D-737BD643BAF5}"/>
          </ac:spMkLst>
        </pc:spChg>
        <pc:spChg chg="mod">
          <ac:chgData name="Manish Sharma" userId="97d895ad-8d7a-4884-8c18-743afd731b6f" providerId="ADAL" clId="{98D6BF9E-951A-44E3-9068-B5D71577D20F}" dt="2020-10-16T15:11:08.658" v="16533" actId="1076"/>
          <ac:spMkLst>
            <pc:docMk/>
            <pc:sldMk cId="1999519132" sldId="425"/>
            <ac:spMk id="33" creationId="{E45FF77D-67C6-4A06-AF64-0F07D3C50A91}"/>
          </ac:spMkLst>
        </pc:spChg>
        <pc:grpChg chg="mod">
          <ac:chgData name="Manish Sharma" userId="97d895ad-8d7a-4884-8c18-743afd731b6f" providerId="ADAL" clId="{98D6BF9E-951A-44E3-9068-B5D71577D20F}" dt="2020-10-15T00:23:40.181" v="5719" actId="1076"/>
          <ac:grpSpMkLst>
            <pc:docMk/>
            <pc:sldMk cId="1999519132" sldId="425"/>
            <ac:grpSpMk id="20" creationId="{39C6F481-A59E-4144-84E5-DAB62DB8211B}"/>
          </ac:grpSpMkLst>
        </pc:grpChg>
        <pc:grpChg chg="mod">
          <ac:chgData name="Manish Sharma" userId="97d895ad-8d7a-4884-8c18-743afd731b6f" providerId="ADAL" clId="{98D6BF9E-951A-44E3-9068-B5D71577D20F}" dt="2020-10-15T00:23:36.305" v="5718" actId="1076"/>
          <ac:grpSpMkLst>
            <pc:docMk/>
            <pc:sldMk cId="1999519132" sldId="425"/>
            <ac:grpSpMk id="21" creationId="{9283C501-A504-4F36-AF14-A5F59691036F}"/>
          </ac:grpSpMkLst>
        </pc:grpChg>
        <pc:grpChg chg="mod">
          <ac:chgData name="Manish Sharma" userId="97d895ad-8d7a-4884-8c18-743afd731b6f" providerId="ADAL" clId="{98D6BF9E-951A-44E3-9068-B5D71577D20F}" dt="2020-10-15T00:23:43.577" v="5720" actId="1076"/>
          <ac:grpSpMkLst>
            <pc:docMk/>
            <pc:sldMk cId="1999519132" sldId="425"/>
            <ac:grpSpMk id="24" creationId="{DE50B2AE-536D-439A-BC19-7473FCD757D5}"/>
          </ac:grpSpMkLst>
        </pc:grpChg>
        <pc:graphicFrameChg chg="mod modGraphic">
          <ac:chgData name="Manish Sharma" userId="97d895ad-8d7a-4884-8c18-743afd731b6f" providerId="ADAL" clId="{98D6BF9E-951A-44E3-9068-B5D71577D20F}" dt="2020-10-16T19:52:51.023" v="18260" actId="20577"/>
          <ac:graphicFrameMkLst>
            <pc:docMk/>
            <pc:sldMk cId="1999519132" sldId="425"/>
            <ac:graphicFrameMk id="28" creationId="{994870E9-25EF-4A43-B1A1-38CC6A36FD4D}"/>
          </ac:graphicFrameMkLst>
        </pc:graphicFrameChg>
      </pc:sldChg>
      <pc:sldChg chg="delSp modSp mod">
        <pc:chgData name="Manish Sharma" userId="97d895ad-8d7a-4884-8c18-743afd731b6f" providerId="ADAL" clId="{98D6BF9E-951A-44E3-9068-B5D71577D20F}" dt="2020-10-16T20:32:05.193" v="18356" actId="478"/>
        <pc:sldMkLst>
          <pc:docMk/>
          <pc:sldMk cId="706555508" sldId="426"/>
        </pc:sldMkLst>
        <pc:spChg chg="mod">
          <ac:chgData name="Manish Sharma" userId="97d895ad-8d7a-4884-8c18-743afd731b6f" providerId="ADAL" clId="{98D6BF9E-951A-44E3-9068-B5D71577D20F}" dt="2020-10-16T18:24:50.646" v="17989" actId="13926"/>
          <ac:spMkLst>
            <pc:docMk/>
            <pc:sldMk cId="706555508" sldId="426"/>
            <ac:spMk id="2" creationId="{00000000-0000-0000-0000-000000000000}"/>
          </ac:spMkLst>
        </pc:spChg>
        <pc:spChg chg="mod">
          <ac:chgData name="Manish Sharma" userId="97d895ad-8d7a-4884-8c18-743afd731b6f" providerId="ADAL" clId="{98D6BF9E-951A-44E3-9068-B5D71577D20F}" dt="2020-10-16T20:31:26.662" v="18355" actId="20577"/>
          <ac:spMkLst>
            <pc:docMk/>
            <pc:sldMk cId="706555508" sldId="426"/>
            <ac:spMk id="4" creationId="{00000000-0000-0000-0000-000000000000}"/>
          </ac:spMkLst>
        </pc:spChg>
        <pc:spChg chg="del">
          <ac:chgData name="Manish Sharma" userId="97d895ad-8d7a-4884-8c18-743afd731b6f" providerId="ADAL" clId="{98D6BF9E-951A-44E3-9068-B5D71577D20F}" dt="2020-10-16T17:18:53.538" v="17259" actId="478"/>
          <ac:spMkLst>
            <pc:docMk/>
            <pc:sldMk cId="706555508" sldId="426"/>
            <ac:spMk id="5" creationId="{AE80FC07-FE1A-45B0-99A7-72F6ACCEBF8E}"/>
          </ac:spMkLst>
        </pc:spChg>
        <pc:spChg chg="del">
          <ac:chgData name="Manish Sharma" userId="97d895ad-8d7a-4884-8c18-743afd731b6f" providerId="ADAL" clId="{98D6BF9E-951A-44E3-9068-B5D71577D20F}" dt="2020-10-16T20:32:05.193" v="18356" actId="478"/>
          <ac:spMkLst>
            <pc:docMk/>
            <pc:sldMk cId="706555508" sldId="426"/>
            <ac:spMk id="14" creationId="{00000000-0000-0000-0000-000000000000}"/>
          </ac:spMkLst>
        </pc:spChg>
        <pc:picChg chg="del">
          <ac:chgData name="Manish Sharma" userId="97d895ad-8d7a-4884-8c18-743afd731b6f" providerId="ADAL" clId="{98D6BF9E-951A-44E3-9068-B5D71577D20F}" dt="2020-10-16T19:42:29.360" v="18184" actId="478"/>
          <ac:picMkLst>
            <pc:docMk/>
            <pc:sldMk cId="706555508" sldId="426"/>
            <ac:picMk id="3" creationId="{00000000-0000-0000-0000-000000000000}"/>
          </ac:picMkLst>
        </pc:picChg>
      </pc:sldChg>
      <pc:sldChg chg="addSp delSp modSp mod">
        <pc:chgData name="Manish Sharma" userId="97d895ad-8d7a-4884-8c18-743afd731b6f" providerId="ADAL" clId="{98D6BF9E-951A-44E3-9068-B5D71577D20F}" dt="2020-10-16T20:32:13.836" v="18358" actId="478"/>
        <pc:sldMkLst>
          <pc:docMk/>
          <pc:sldMk cId="3705176354" sldId="428"/>
        </pc:sldMkLst>
        <pc:spChg chg="mod">
          <ac:chgData name="Manish Sharma" userId="97d895ad-8d7a-4884-8c18-743afd731b6f" providerId="ADAL" clId="{98D6BF9E-951A-44E3-9068-B5D71577D20F}" dt="2020-10-09T01:47:38.236" v="1880" actId="13926"/>
          <ac:spMkLst>
            <pc:docMk/>
            <pc:sldMk cId="3705176354" sldId="428"/>
            <ac:spMk id="2" creationId="{00000000-0000-0000-0000-000000000000}"/>
          </ac:spMkLst>
        </pc:spChg>
        <pc:spChg chg="del">
          <ac:chgData name="Manish Sharma" userId="97d895ad-8d7a-4884-8c18-743afd731b6f" providerId="ADAL" clId="{98D6BF9E-951A-44E3-9068-B5D71577D20F}" dt="2020-10-09T01:42:53.507" v="1664" actId="478"/>
          <ac:spMkLst>
            <pc:docMk/>
            <pc:sldMk cId="3705176354" sldId="428"/>
            <ac:spMk id="4" creationId="{A3394E8D-1875-4ABD-89E8-A6C5EB2BF13F}"/>
          </ac:spMkLst>
        </pc:spChg>
        <pc:spChg chg="mod">
          <ac:chgData name="Manish Sharma" userId="97d895ad-8d7a-4884-8c18-743afd731b6f" providerId="ADAL" clId="{98D6BF9E-951A-44E3-9068-B5D71577D20F}" dt="2020-10-09T16:26:19.647" v="2135" actId="20577"/>
          <ac:spMkLst>
            <pc:docMk/>
            <pc:sldMk cId="3705176354" sldId="428"/>
            <ac:spMk id="21" creationId="{00000000-0000-0000-0000-000000000000}"/>
          </ac:spMkLst>
        </pc:spChg>
        <pc:spChg chg="mod">
          <ac:chgData name="Manish Sharma" userId="97d895ad-8d7a-4884-8c18-743afd731b6f" providerId="ADAL" clId="{98D6BF9E-951A-44E3-9068-B5D71577D20F}" dt="2020-10-09T01:47:46.215" v="1882" actId="108"/>
          <ac:spMkLst>
            <pc:docMk/>
            <pc:sldMk cId="3705176354" sldId="428"/>
            <ac:spMk id="73" creationId="{4C88BB89-4068-499B-8F3F-29D9CFDEB8D9}"/>
          </ac:spMkLst>
        </pc:spChg>
        <pc:spChg chg="mod">
          <ac:chgData name="Manish Sharma" userId="97d895ad-8d7a-4884-8c18-743afd731b6f" providerId="ADAL" clId="{98D6BF9E-951A-44E3-9068-B5D71577D20F}" dt="2020-10-09T01:47:47.502" v="1883" actId="108"/>
          <ac:spMkLst>
            <pc:docMk/>
            <pc:sldMk cId="3705176354" sldId="428"/>
            <ac:spMk id="74" creationId="{0331598C-AB42-4ED3-AD29-91628B8360D4}"/>
          </ac:spMkLst>
        </pc:spChg>
        <pc:spChg chg="mod">
          <ac:chgData name="Manish Sharma" userId="97d895ad-8d7a-4884-8c18-743afd731b6f" providerId="ADAL" clId="{98D6BF9E-951A-44E3-9068-B5D71577D20F}" dt="2020-10-16T02:32:13.363" v="15708" actId="208"/>
          <ac:spMkLst>
            <pc:docMk/>
            <pc:sldMk cId="3705176354" sldId="428"/>
            <ac:spMk id="75" creationId="{C3667D43-2D3C-46D6-BEB3-58980BA9DA59}"/>
          </ac:spMkLst>
        </pc:spChg>
        <pc:spChg chg="add del">
          <ac:chgData name="Manish Sharma" userId="97d895ad-8d7a-4884-8c18-743afd731b6f" providerId="ADAL" clId="{98D6BF9E-951A-44E3-9068-B5D71577D20F}" dt="2020-10-16T02:31:18.927" v="15702" actId="22"/>
          <ac:spMkLst>
            <pc:docMk/>
            <pc:sldMk cId="3705176354" sldId="428"/>
            <ac:spMk id="76" creationId="{E5C03634-6D81-4684-8CEC-937E2940123F}"/>
          </ac:spMkLst>
        </pc:spChg>
        <pc:spChg chg="mod">
          <ac:chgData name="Manish Sharma" userId="97d895ad-8d7a-4884-8c18-743afd731b6f" providerId="ADAL" clId="{98D6BF9E-951A-44E3-9068-B5D71577D20F}" dt="2020-10-09T00:41:36.203" v="115" actId="20577"/>
          <ac:spMkLst>
            <pc:docMk/>
            <pc:sldMk cId="3705176354" sldId="428"/>
            <ac:spMk id="77" creationId="{00000000-0000-0000-0000-000000000000}"/>
          </ac:spMkLst>
        </pc:spChg>
        <pc:spChg chg="mod">
          <ac:chgData name="Manish Sharma" userId="97d895ad-8d7a-4884-8c18-743afd731b6f" providerId="ADAL" clId="{98D6BF9E-951A-44E3-9068-B5D71577D20F}" dt="2020-10-09T01:47:44.773" v="1881" actId="108"/>
          <ac:spMkLst>
            <pc:docMk/>
            <pc:sldMk cId="3705176354" sldId="428"/>
            <ac:spMk id="78" creationId="{00000000-0000-0000-0000-000000000000}"/>
          </ac:spMkLst>
        </pc:spChg>
        <pc:spChg chg="mod">
          <ac:chgData name="Manish Sharma" userId="97d895ad-8d7a-4884-8c18-743afd731b6f" providerId="ADAL" clId="{98D6BF9E-951A-44E3-9068-B5D71577D20F}" dt="2020-10-09T01:47:54.753" v="1885" actId="108"/>
          <ac:spMkLst>
            <pc:docMk/>
            <pc:sldMk cId="3705176354" sldId="428"/>
            <ac:spMk id="81" creationId="{00000000-0000-0000-0000-000000000000}"/>
          </ac:spMkLst>
        </pc:spChg>
        <pc:spChg chg="mod">
          <ac:chgData name="Manish Sharma" userId="97d895ad-8d7a-4884-8c18-743afd731b6f" providerId="ADAL" clId="{98D6BF9E-951A-44E3-9068-B5D71577D20F}" dt="2020-10-09T01:49:02.597" v="1894" actId="14100"/>
          <ac:spMkLst>
            <pc:docMk/>
            <pc:sldMk cId="3705176354" sldId="428"/>
            <ac:spMk id="82" creationId="{00000000-0000-0000-0000-000000000000}"/>
          </ac:spMkLst>
        </pc:spChg>
        <pc:spChg chg="mod">
          <ac:chgData name="Manish Sharma" userId="97d895ad-8d7a-4884-8c18-743afd731b6f" providerId="ADAL" clId="{98D6BF9E-951A-44E3-9068-B5D71577D20F}" dt="2020-10-09T01:49:02.597" v="1894" actId="14100"/>
          <ac:spMkLst>
            <pc:docMk/>
            <pc:sldMk cId="3705176354" sldId="428"/>
            <ac:spMk id="83" creationId="{00000000-0000-0000-0000-000000000000}"/>
          </ac:spMkLst>
        </pc:spChg>
        <pc:spChg chg="mod">
          <ac:chgData name="Manish Sharma" userId="97d895ad-8d7a-4884-8c18-743afd731b6f" providerId="ADAL" clId="{98D6BF9E-951A-44E3-9068-B5D71577D20F}" dt="2020-10-09T01:49:02.597" v="1894" actId="14100"/>
          <ac:spMkLst>
            <pc:docMk/>
            <pc:sldMk cId="3705176354" sldId="428"/>
            <ac:spMk id="84" creationId="{00000000-0000-0000-0000-000000000000}"/>
          </ac:spMkLst>
        </pc:spChg>
        <pc:spChg chg="mod">
          <ac:chgData name="Manish Sharma" userId="97d895ad-8d7a-4884-8c18-743afd731b6f" providerId="ADAL" clId="{98D6BF9E-951A-44E3-9068-B5D71577D20F}" dt="2020-10-09T16:26:02.832" v="2131" actId="20577"/>
          <ac:spMkLst>
            <pc:docMk/>
            <pc:sldMk cId="3705176354" sldId="428"/>
            <ac:spMk id="90" creationId="{00000000-0000-0000-0000-000000000000}"/>
          </ac:spMkLst>
        </pc:spChg>
        <pc:spChg chg="mod">
          <ac:chgData name="Manish Sharma" userId="97d895ad-8d7a-4884-8c18-743afd731b6f" providerId="ADAL" clId="{98D6BF9E-951A-44E3-9068-B5D71577D20F}" dt="2020-10-09T01:49:15.956" v="1896" actId="14100"/>
          <ac:spMkLst>
            <pc:docMk/>
            <pc:sldMk cId="3705176354" sldId="428"/>
            <ac:spMk id="93" creationId="{00000000-0000-0000-0000-000000000000}"/>
          </ac:spMkLst>
        </pc:spChg>
        <pc:spChg chg="mod">
          <ac:chgData name="Manish Sharma" userId="97d895ad-8d7a-4884-8c18-743afd731b6f" providerId="ADAL" clId="{98D6BF9E-951A-44E3-9068-B5D71577D20F}" dt="2020-10-09T01:49:15.956" v="1896" actId="14100"/>
          <ac:spMkLst>
            <pc:docMk/>
            <pc:sldMk cId="3705176354" sldId="428"/>
            <ac:spMk id="94" creationId="{00000000-0000-0000-0000-000000000000}"/>
          </ac:spMkLst>
        </pc:spChg>
        <pc:spChg chg="mod">
          <ac:chgData name="Manish Sharma" userId="97d895ad-8d7a-4884-8c18-743afd731b6f" providerId="ADAL" clId="{98D6BF9E-951A-44E3-9068-B5D71577D20F}" dt="2020-10-09T01:49:15.956" v="1896" actId="14100"/>
          <ac:spMkLst>
            <pc:docMk/>
            <pc:sldMk cId="3705176354" sldId="428"/>
            <ac:spMk id="95" creationId="{00000000-0000-0000-0000-000000000000}"/>
          </ac:spMkLst>
        </pc:spChg>
        <pc:spChg chg="mod">
          <ac:chgData name="Manish Sharma" userId="97d895ad-8d7a-4884-8c18-743afd731b6f" providerId="ADAL" clId="{98D6BF9E-951A-44E3-9068-B5D71577D20F}" dt="2020-10-09T01:48:51.211" v="1893" actId="403"/>
          <ac:spMkLst>
            <pc:docMk/>
            <pc:sldMk cId="3705176354" sldId="428"/>
            <ac:spMk id="96" creationId="{00000000-0000-0000-0000-000000000000}"/>
          </ac:spMkLst>
        </pc:spChg>
        <pc:spChg chg="mod">
          <ac:chgData name="Manish Sharma" userId="97d895ad-8d7a-4884-8c18-743afd731b6f" providerId="ADAL" clId="{98D6BF9E-951A-44E3-9068-B5D71577D20F}" dt="2020-10-09T01:49:28.962" v="1897" actId="14100"/>
          <ac:spMkLst>
            <pc:docMk/>
            <pc:sldMk cId="3705176354" sldId="428"/>
            <ac:spMk id="99" creationId="{00000000-0000-0000-0000-000000000000}"/>
          </ac:spMkLst>
        </pc:spChg>
        <pc:spChg chg="mod">
          <ac:chgData name="Manish Sharma" userId="97d895ad-8d7a-4884-8c18-743afd731b6f" providerId="ADAL" clId="{98D6BF9E-951A-44E3-9068-B5D71577D20F}" dt="2020-10-09T01:49:28.962" v="1897" actId="14100"/>
          <ac:spMkLst>
            <pc:docMk/>
            <pc:sldMk cId="3705176354" sldId="428"/>
            <ac:spMk id="100" creationId="{00000000-0000-0000-0000-000000000000}"/>
          </ac:spMkLst>
        </pc:spChg>
        <pc:spChg chg="mod">
          <ac:chgData name="Manish Sharma" userId="97d895ad-8d7a-4884-8c18-743afd731b6f" providerId="ADAL" clId="{98D6BF9E-951A-44E3-9068-B5D71577D20F}" dt="2020-10-09T01:49:28.962" v="1897" actId="14100"/>
          <ac:spMkLst>
            <pc:docMk/>
            <pc:sldMk cId="3705176354" sldId="428"/>
            <ac:spMk id="101" creationId="{00000000-0000-0000-0000-000000000000}"/>
          </ac:spMkLst>
        </pc:spChg>
        <pc:spChg chg="mod">
          <ac:chgData name="Manish Sharma" userId="97d895ad-8d7a-4884-8c18-743afd731b6f" providerId="ADAL" clId="{98D6BF9E-951A-44E3-9068-B5D71577D20F}" dt="2020-10-09T01:47:57.013" v="1887" actId="108"/>
          <ac:spMkLst>
            <pc:docMk/>
            <pc:sldMk cId="3705176354" sldId="428"/>
            <ac:spMk id="102" creationId="{00000000-0000-0000-0000-000000000000}"/>
          </ac:spMkLst>
        </pc:spChg>
        <pc:spChg chg="mod">
          <ac:chgData name="Manish Sharma" userId="97d895ad-8d7a-4884-8c18-743afd731b6f" providerId="ADAL" clId="{98D6BF9E-951A-44E3-9068-B5D71577D20F}" dt="2020-10-09T01:47:48.896" v="1884" actId="108"/>
          <ac:spMkLst>
            <pc:docMk/>
            <pc:sldMk cId="3705176354" sldId="428"/>
            <ac:spMk id="103" creationId="{00000000-0000-0000-0000-000000000000}"/>
          </ac:spMkLst>
        </pc:spChg>
        <pc:spChg chg="mod">
          <ac:chgData name="Manish Sharma" userId="97d895ad-8d7a-4884-8c18-743afd731b6f" providerId="ADAL" clId="{98D6BF9E-951A-44E3-9068-B5D71577D20F}" dt="2020-10-09T01:49:53.493" v="1901" actId="14100"/>
          <ac:spMkLst>
            <pc:docMk/>
            <pc:sldMk cId="3705176354" sldId="428"/>
            <ac:spMk id="105" creationId="{00000000-0000-0000-0000-000000000000}"/>
          </ac:spMkLst>
        </pc:spChg>
        <pc:spChg chg="mod">
          <ac:chgData name="Manish Sharma" userId="97d895ad-8d7a-4884-8c18-743afd731b6f" providerId="ADAL" clId="{98D6BF9E-951A-44E3-9068-B5D71577D20F}" dt="2020-10-09T01:49:53.493" v="1901" actId="14100"/>
          <ac:spMkLst>
            <pc:docMk/>
            <pc:sldMk cId="3705176354" sldId="428"/>
            <ac:spMk id="106" creationId="{00000000-0000-0000-0000-000000000000}"/>
          </ac:spMkLst>
        </pc:spChg>
        <pc:spChg chg="mod">
          <ac:chgData name="Manish Sharma" userId="97d895ad-8d7a-4884-8c18-743afd731b6f" providerId="ADAL" clId="{98D6BF9E-951A-44E3-9068-B5D71577D20F}" dt="2020-10-09T01:49:53.493" v="1901" actId="14100"/>
          <ac:spMkLst>
            <pc:docMk/>
            <pc:sldMk cId="3705176354" sldId="428"/>
            <ac:spMk id="107" creationId="{00000000-0000-0000-0000-000000000000}"/>
          </ac:spMkLst>
        </pc:spChg>
        <pc:spChg chg="mod">
          <ac:chgData name="Manish Sharma" userId="97d895ad-8d7a-4884-8c18-743afd731b6f" providerId="ADAL" clId="{98D6BF9E-951A-44E3-9068-B5D71577D20F}" dt="2020-10-09T01:47:57.885" v="1888" actId="108"/>
          <ac:spMkLst>
            <pc:docMk/>
            <pc:sldMk cId="3705176354" sldId="428"/>
            <ac:spMk id="108" creationId="{00000000-0000-0000-0000-000000000000}"/>
          </ac:spMkLst>
        </pc:spChg>
        <pc:spChg chg="mod">
          <ac:chgData name="Manish Sharma" userId="97d895ad-8d7a-4884-8c18-743afd731b6f" providerId="ADAL" clId="{98D6BF9E-951A-44E3-9068-B5D71577D20F}" dt="2020-10-09T01:49:08.255" v="1895" actId="14100"/>
          <ac:spMkLst>
            <pc:docMk/>
            <pc:sldMk cId="3705176354" sldId="428"/>
            <ac:spMk id="110" creationId="{00000000-0000-0000-0000-000000000000}"/>
          </ac:spMkLst>
        </pc:spChg>
        <pc:spChg chg="mod">
          <ac:chgData name="Manish Sharma" userId="97d895ad-8d7a-4884-8c18-743afd731b6f" providerId="ADAL" clId="{98D6BF9E-951A-44E3-9068-B5D71577D20F}" dt="2020-10-09T01:49:08.255" v="1895" actId="14100"/>
          <ac:spMkLst>
            <pc:docMk/>
            <pc:sldMk cId="3705176354" sldId="428"/>
            <ac:spMk id="111" creationId="{00000000-0000-0000-0000-000000000000}"/>
          </ac:spMkLst>
        </pc:spChg>
        <pc:spChg chg="mod">
          <ac:chgData name="Manish Sharma" userId="97d895ad-8d7a-4884-8c18-743afd731b6f" providerId="ADAL" clId="{98D6BF9E-951A-44E3-9068-B5D71577D20F}" dt="2020-10-09T01:49:08.255" v="1895" actId="14100"/>
          <ac:spMkLst>
            <pc:docMk/>
            <pc:sldMk cId="3705176354" sldId="428"/>
            <ac:spMk id="112" creationId="{00000000-0000-0000-0000-000000000000}"/>
          </ac:spMkLst>
        </pc:spChg>
        <pc:spChg chg="mod">
          <ac:chgData name="Manish Sharma" userId="97d895ad-8d7a-4884-8c18-743afd731b6f" providerId="ADAL" clId="{98D6BF9E-951A-44E3-9068-B5D71577D20F}" dt="2020-10-09T01:40:25.595" v="1663" actId="20577"/>
          <ac:spMkLst>
            <pc:docMk/>
            <pc:sldMk cId="3705176354" sldId="428"/>
            <ac:spMk id="116" creationId="{00000000-0000-0000-0000-000000000000}"/>
          </ac:spMkLst>
        </pc:spChg>
        <pc:spChg chg="mod">
          <ac:chgData name="Manish Sharma" userId="97d895ad-8d7a-4884-8c18-743afd731b6f" providerId="ADAL" clId="{98D6BF9E-951A-44E3-9068-B5D71577D20F}" dt="2020-10-09T00:40:17.454" v="20" actId="20577"/>
          <ac:spMkLst>
            <pc:docMk/>
            <pc:sldMk cId="3705176354" sldId="428"/>
            <ac:spMk id="117" creationId="{00000000-0000-0000-0000-000000000000}"/>
          </ac:spMkLst>
        </pc:spChg>
        <pc:spChg chg="mod">
          <ac:chgData name="Manish Sharma" userId="97d895ad-8d7a-4884-8c18-743afd731b6f" providerId="ADAL" clId="{98D6BF9E-951A-44E3-9068-B5D71577D20F}" dt="2020-10-09T01:50:14.177" v="1902" actId="14100"/>
          <ac:spMkLst>
            <pc:docMk/>
            <pc:sldMk cId="3705176354" sldId="428"/>
            <ac:spMk id="120" creationId="{00000000-0000-0000-0000-000000000000}"/>
          </ac:spMkLst>
        </pc:spChg>
        <pc:spChg chg="mod">
          <ac:chgData name="Manish Sharma" userId="97d895ad-8d7a-4884-8c18-743afd731b6f" providerId="ADAL" clId="{98D6BF9E-951A-44E3-9068-B5D71577D20F}" dt="2020-10-09T01:50:14.177" v="1902" actId="14100"/>
          <ac:spMkLst>
            <pc:docMk/>
            <pc:sldMk cId="3705176354" sldId="428"/>
            <ac:spMk id="121" creationId="{00000000-0000-0000-0000-000000000000}"/>
          </ac:spMkLst>
        </pc:spChg>
        <pc:spChg chg="mod">
          <ac:chgData name="Manish Sharma" userId="97d895ad-8d7a-4884-8c18-743afd731b6f" providerId="ADAL" clId="{98D6BF9E-951A-44E3-9068-B5D71577D20F}" dt="2020-10-09T01:50:14.177" v="1902" actId="14100"/>
          <ac:spMkLst>
            <pc:docMk/>
            <pc:sldMk cId="3705176354" sldId="428"/>
            <ac:spMk id="122" creationId="{00000000-0000-0000-0000-000000000000}"/>
          </ac:spMkLst>
        </pc:spChg>
        <pc:spChg chg="mod">
          <ac:chgData name="Manish Sharma" userId="97d895ad-8d7a-4884-8c18-743afd731b6f" providerId="ADAL" clId="{98D6BF9E-951A-44E3-9068-B5D71577D20F}" dt="2020-10-09T01:56:27.904" v="1997" actId="20577"/>
          <ac:spMkLst>
            <pc:docMk/>
            <pc:sldMk cId="3705176354" sldId="428"/>
            <ac:spMk id="123" creationId="{00000000-0000-0000-0000-000000000000}"/>
          </ac:spMkLst>
        </pc:spChg>
        <pc:spChg chg="mod">
          <ac:chgData name="Manish Sharma" userId="97d895ad-8d7a-4884-8c18-743afd731b6f" providerId="ADAL" clId="{98D6BF9E-951A-44E3-9068-B5D71577D20F}" dt="2020-10-09T00:41:21.784" v="90" actId="1037"/>
          <ac:spMkLst>
            <pc:docMk/>
            <pc:sldMk cId="3705176354" sldId="428"/>
            <ac:spMk id="135" creationId="{00000000-0000-0000-0000-000000000000}"/>
          </ac:spMkLst>
        </pc:spChg>
        <pc:spChg chg="del">
          <ac:chgData name="Manish Sharma" userId="97d895ad-8d7a-4884-8c18-743afd731b6f" providerId="ADAL" clId="{98D6BF9E-951A-44E3-9068-B5D71577D20F}" dt="2020-10-16T20:32:13.836" v="18358" actId="478"/>
          <ac:spMkLst>
            <pc:docMk/>
            <pc:sldMk cId="3705176354" sldId="428"/>
            <ac:spMk id="136" creationId="{00000000-0000-0000-0000-000000000000}"/>
          </ac:spMkLst>
        </pc:spChg>
        <pc:grpChg chg="mod">
          <ac:chgData name="Manish Sharma" userId="97d895ad-8d7a-4884-8c18-743afd731b6f" providerId="ADAL" clId="{98D6BF9E-951A-44E3-9068-B5D71577D20F}" dt="2020-10-09T01:49:02.597" v="1894" actId="14100"/>
          <ac:grpSpMkLst>
            <pc:docMk/>
            <pc:sldMk cId="3705176354" sldId="428"/>
            <ac:grpSpMk id="80" creationId="{00000000-0000-0000-0000-000000000000}"/>
          </ac:grpSpMkLst>
        </pc:grpChg>
        <pc:grpChg chg="mod">
          <ac:chgData name="Manish Sharma" userId="97d895ad-8d7a-4884-8c18-743afd731b6f" providerId="ADAL" clId="{98D6BF9E-951A-44E3-9068-B5D71577D20F}" dt="2020-10-09T01:49:15.956" v="1896" actId="14100"/>
          <ac:grpSpMkLst>
            <pc:docMk/>
            <pc:sldMk cId="3705176354" sldId="428"/>
            <ac:grpSpMk id="92" creationId="{00000000-0000-0000-0000-000000000000}"/>
          </ac:grpSpMkLst>
        </pc:grpChg>
        <pc:grpChg chg="mod">
          <ac:chgData name="Manish Sharma" userId="97d895ad-8d7a-4884-8c18-743afd731b6f" providerId="ADAL" clId="{98D6BF9E-951A-44E3-9068-B5D71577D20F}" dt="2020-10-09T01:49:28.962" v="1897" actId="14100"/>
          <ac:grpSpMkLst>
            <pc:docMk/>
            <pc:sldMk cId="3705176354" sldId="428"/>
            <ac:grpSpMk id="98" creationId="{00000000-0000-0000-0000-000000000000}"/>
          </ac:grpSpMkLst>
        </pc:grpChg>
        <pc:grpChg chg="mod">
          <ac:chgData name="Manish Sharma" userId="97d895ad-8d7a-4884-8c18-743afd731b6f" providerId="ADAL" clId="{98D6BF9E-951A-44E3-9068-B5D71577D20F}" dt="2020-10-09T01:49:53.493" v="1901" actId="14100"/>
          <ac:grpSpMkLst>
            <pc:docMk/>
            <pc:sldMk cId="3705176354" sldId="428"/>
            <ac:grpSpMk id="104" creationId="{00000000-0000-0000-0000-000000000000}"/>
          </ac:grpSpMkLst>
        </pc:grpChg>
        <pc:grpChg chg="mod">
          <ac:chgData name="Manish Sharma" userId="97d895ad-8d7a-4884-8c18-743afd731b6f" providerId="ADAL" clId="{98D6BF9E-951A-44E3-9068-B5D71577D20F}" dt="2020-10-09T01:49:08.255" v="1895" actId="14100"/>
          <ac:grpSpMkLst>
            <pc:docMk/>
            <pc:sldMk cId="3705176354" sldId="428"/>
            <ac:grpSpMk id="109" creationId="{00000000-0000-0000-0000-000000000000}"/>
          </ac:grpSpMkLst>
        </pc:grpChg>
        <pc:grpChg chg="mod">
          <ac:chgData name="Manish Sharma" userId="97d895ad-8d7a-4884-8c18-743afd731b6f" providerId="ADAL" clId="{98D6BF9E-951A-44E3-9068-B5D71577D20F}" dt="2020-10-09T01:50:14.177" v="1902" actId="14100"/>
          <ac:grpSpMkLst>
            <pc:docMk/>
            <pc:sldMk cId="3705176354" sldId="428"/>
            <ac:grpSpMk id="119" creationId="{00000000-0000-0000-0000-000000000000}"/>
          </ac:grpSpMkLst>
        </pc:grpChg>
        <pc:picChg chg="del">
          <ac:chgData name="Manish Sharma" userId="97d895ad-8d7a-4884-8c18-743afd731b6f" providerId="ADAL" clId="{98D6BF9E-951A-44E3-9068-B5D71577D20F}" dt="2020-10-16T19:45:42.218" v="18198" actId="478"/>
          <ac:picMkLst>
            <pc:docMk/>
            <pc:sldMk cId="3705176354" sldId="428"/>
            <ac:picMk id="3" creationId="{00000000-0000-0000-0000-000000000000}"/>
          </ac:picMkLst>
        </pc:picChg>
      </pc:sldChg>
      <pc:sldChg chg="modSp">
        <pc:chgData name="Manish Sharma" userId="97d895ad-8d7a-4884-8c18-743afd731b6f" providerId="ADAL" clId="{98D6BF9E-951A-44E3-9068-B5D71577D20F}" dt="2020-10-16T20:38:28.181" v="18421" actId="465"/>
        <pc:sldMkLst>
          <pc:docMk/>
          <pc:sldMk cId="2872844160" sldId="440"/>
        </pc:sldMkLst>
        <pc:spChg chg="mod">
          <ac:chgData name="Manish Sharma" userId="97d895ad-8d7a-4884-8c18-743afd731b6f" providerId="ADAL" clId="{98D6BF9E-951A-44E3-9068-B5D71577D20F}" dt="2020-10-16T20:38:28.181" v="18421" actId="465"/>
          <ac:spMkLst>
            <pc:docMk/>
            <pc:sldMk cId="2872844160" sldId="440"/>
            <ac:spMk id="2" creationId="{000F93BD-1633-45C3-B844-70B135096D8F}"/>
          </ac:spMkLst>
        </pc:spChg>
        <pc:spChg chg="mod">
          <ac:chgData name="Manish Sharma" userId="97d895ad-8d7a-4884-8c18-743afd731b6f" providerId="ADAL" clId="{98D6BF9E-951A-44E3-9068-B5D71577D20F}" dt="2020-10-16T20:38:28.181" v="18421" actId="465"/>
          <ac:spMkLst>
            <pc:docMk/>
            <pc:sldMk cId="2872844160" sldId="440"/>
            <ac:spMk id="10" creationId="{00000000-0000-0000-0000-000000000000}"/>
          </ac:spMkLst>
        </pc:spChg>
        <pc:spChg chg="mod">
          <ac:chgData name="Manish Sharma" userId="97d895ad-8d7a-4884-8c18-743afd731b6f" providerId="ADAL" clId="{98D6BF9E-951A-44E3-9068-B5D71577D20F}" dt="2020-10-16T20:38:28.181" v="18421" actId="465"/>
          <ac:spMkLst>
            <pc:docMk/>
            <pc:sldMk cId="2872844160" sldId="440"/>
            <ac:spMk id="14" creationId="{10910E56-12B7-4659-A83E-149B51BC73C3}"/>
          </ac:spMkLst>
        </pc:spChg>
        <pc:spChg chg="mod">
          <ac:chgData name="Manish Sharma" userId="97d895ad-8d7a-4884-8c18-743afd731b6f" providerId="ADAL" clId="{98D6BF9E-951A-44E3-9068-B5D71577D20F}" dt="2020-10-16T20:38:28.181" v="18421" actId="465"/>
          <ac:spMkLst>
            <pc:docMk/>
            <pc:sldMk cId="2872844160" sldId="440"/>
            <ac:spMk id="20" creationId="{00000000-0000-0000-0000-000000000000}"/>
          </ac:spMkLst>
        </pc:spChg>
      </pc:sldChg>
      <pc:sldChg chg="delSp modSp mod">
        <pc:chgData name="Manish Sharma" userId="97d895ad-8d7a-4884-8c18-743afd731b6f" providerId="ADAL" clId="{98D6BF9E-951A-44E3-9068-B5D71577D20F}" dt="2020-10-16T20:36:53.802" v="18415" actId="478"/>
        <pc:sldMkLst>
          <pc:docMk/>
          <pc:sldMk cId="3785293199" sldId="445"/>
        </pc:sldMkLst>
        <pc:spChg chg="mod">
          <ac:chgData name="Manish Sharma" userId="97d895ad-8d7a-4884-8c18-743afd731b6f" providerId="ADAL" clId="{98D6BF9E-951A-44E3-9068-B5D71577D20F}" dt="2020-10-16T19:50:43.615" v="18244" actId="20577"/>
          <ac:spMkLst>
            <pc:docMk/>
            <pc:sldMk cId="3785293199" sldId="445"/>
            <ac:spMk id="2" creationId="{00000000-0000-0000-0000-000000000000}"/>
          </ac:spMkLst>
        </pc:spChg>
        <pc:spChg chg="mod">
          <ac:chgData name="Manish Sharma" userId="97d895ad-8d7a-4884-8c18-743afd731b6f" providerId="ADAL" clId="{98D6BF9E-951A-44E3-9068-B5D71577D20F}" dt="2020-10-16T19:50:55.122" v="18246" actId="20577"/>
          <ac:spMkLst>
            <pc:docMk/>
            <pc:sldMk cId="3785293199" sldId="445"/>
            <ac:spMk id="5" creationId="{57DA03D2-BDDD-4B29-A79F-3BCEC511705B}"/>
          </ac:spMkLst>
        </pc:spChg>
        <pc:spChg chg="del">
          <ac:chgData name="Manish Sharma" userId="97d895ad-8d7a-4884-8c18-743afd731b6f" providerId="ADAL" clId="{98D6BF9E-951A-44E3-9068-B5D71577D20F}" dt="2020-10-12T20:47:02.567" v="2779" actId="478"/>
          <ac:spMkLst>
            <pc:docMk/>
            <pc:sldMk cId="3785293199" sldId="445"/>
            <ac:spMk id="6" creationId="{21801399-D238-48A8-ABF1-7F8514BAB081}"/>
          </ac:spMkLst>
        </pc:spChg>
        <pc:spChg chg="mod">
          <ac:chgData name="Manish Sharma" userId="97d895ad-8d7a-4884-8c18-743afd731b6f" providerId="ADAL" clId="{98D6BF9E-951A-44E3-9068-B5D71577D20F}" dt="2020-10-16T19:51:11.602" v="18251" actId="20577"/>
          <ac:spMkLst>
            <pc:docMk/>
            <pc:sldMk cId="3785293199" sldId="445"/>
            <ac:spMk id="14" creationId="{3ADA01F1-3B4B-4FAA-84E6-17ACC70140F8}"/>
          </ac:spMkLst>
        </pc:spChg>
        <pc:spChg chg="mod">
          <ac:chgData name="Manish Sharma" userId="97d895ad-8d7a-4884-8c18-743afd731b6f" providerId="ADAL" clId="{98D6BF9E-951A-44E3-9068-B5D71577D20F}" dt="2020-10-13T02:12:58.940" v="2794"/>
          <ac:spMkLst>
            <pc:docMk/>
            <pc:sldMk cId="3785293199" sldId="445"/>
            <ac:spMk id="25" creationId="{2A68DE28-217C-4D58-BA92-1AC7776A922E}"/>
          </ac:spMkLst>
        </pc:spChg>
        <pc:spChg chg="mod">
          <ac:chgData name="Manish Sharma" userId="97d895ad-8d7a-4884-8c18-743afd731b6f" providerId="ADAL" clId="{98D6BF9E-951A-44E3-9068-B5D71577D20F}" dt="2020-10-13T02:13:23.922" v="2797" actId="14100"/>
          <ac:spMkLst>
            <pc:docMk/>
            <pc:sldMk cId="3785293199" sldId="445"/>
            <ac:spMk id="27" creationId="{813FD8F9-6E60-45F9-A8B5-18176FF3E434}"/>
          </ac:spMkLst>
        </pc:spChg>
        <pc:spChg chg="mod">
          <ac:chgData name="Manish Sharma" userId="97d895ad-8d7a-4884-8c18-743afd731b6f" providerId="ADAL" clId="{98D6BF9E-951A-44E3-9068-B5D71577D20F}" dt="2020-10-13T02:13:10.411" v="2795"/>
          <ac:spMkLst>
            <pc:docMk/>
            <pc:sldMk cId="3785293199" sldId="445"/>
            <ac:spMk id="29" creationId="{72CB840D-447D-492C-A14A-718942E7B821}"/>
          </ac:spMkLst>
        </pc:spChg>
        <pc:spChg chg="mod">
          <ac:chgData name="Manish Sharma" userId="97d895ad-8d7a-4884-8c18-743afd731b6f" providerId="ADAL" clId="{98D6BF9E-951A-44E3-9068-B5D71577D20F}" dt="2020-10-16T20:17:20.020" v="18331" actId="6549"/>
          <ac:spMkLst>
            <pc:docMk/>
            <pc:sldMk cId="3785293199" sldId="445"/>
            <ac:spMk id="56" creationId="{3280F2A9-5208-4D26-B8F6-7B5775F8A555}"/>
          </ac:spMkLst>
        </pc:spChg>
        <pc:spChg chg="mod">
          <ac:chgData name="Manish Sharma" userId="97d895ad-8d7a-4884-8c18-743afd731b6f" providerId="ADAL" clId="{98D6BF9E-951A-44E3-9068-B5D71577D20F}" dt="2020-10-13T02:15:53.064" v="2839" actId="1036"/>
          <ac:spMkLst>
            <pc:docMk/>
            <pc:sldMk cId="3785293199" sldId="445"/>
            <ac:spMk id="57" creationId="{CC03FD15-A844-44DF-825A-BBD03D260E98}"/>
          </ac:spMkLst>
        </pc:spChg>
        <pc:spChg chg="mod">
          <ac:chgData name="Manish Sharma" userId="97d895ad-8d7a-4884-8c18-743afd731b6f" providerId="ADAL" clId="{98D6BF9E-951A-44E3-9068-B5D71577D20F}" dt="2020-10-13T02:15:53.064" v="2839" actId="1036"/>
          <ac:spMkLst>
            <pc:docMk/>
            <pc:sldMk cId="3785293199" sldId="445"/>
            <ac:spMk id="59" creationId="{4BBE2AF7-7872-47ED-A60A-F22539E34570}"/>
          </ac:spMkLst>
        </pc:spChg>
        <pc:spChg chg="del">
          <ac:chgData name="Manish Sharma" userId="97d895ad-8d7a-4884-8c18-743afd731b6f" providerId="ADAL" clId="{98D6BF9E-951A-44E3-9068-B5D71577D20F}" dt="2020-10-16T20:36:53.802" v="18415" actId="478"/>
          <ac:spMkLst>
            <pc:docMk/>
            <pc:sldMk cId="3785293199" sldId="445"/>
            <ac:spMk id="68" creationId="{00000000-0000-0000-0000-000000000000}"/>
          </ac:spMkLst>
        </pc:spChg>
        <pc:graphicFrameChg chg="mod modGraphic">
          <ac:chgData name="Manish Sharma" userId="97d895ad-8d7a-4884-8c18-743afd731b6f" providerId="ADAL" clId="{98D6BF9E-951A-44E3-9068-B5D71577D20F}" dt="2020-10-13T02:15:39.433" v="2833" actId="1035"/>
          <ac:graphicFrameMkLst>
            <pc:docMk/>
            <pc:sldMk cId="3785293199" sldId="445"/>
            <ac:graphicFrameMk id="53" creationId="{E5833FD7-3504-4AE9-9C58-79A4D525D16B}"/>
          </ac:graphicFrameMkLst>
        </pc:graphicFrameChg>
        <pc:graphicFrameChg chg="mod modGraphic">
          <ac:chgData name="Manish Sharma" userId="97d895ad-8d7a-4884-8c18-743afd731b6f" providerId="ADAL" clId="{98D6BF9E-951A-44E3-9068-B5D71577D20F}" dt="2020-10-13T02:15:39.433" v="2833" actId="1035"/>
          <ac:graphicFrameMkLst>
            <pc:docMk/>
            <pc:sldMk cId="3785293199" sldId="445"/>
            <ac:graphicFrameMk id="55" creationId="{A7A9C0A9-652B-44C1-AFD0-CA965CA34DBB}"/>
          </ac:graphicFrameMkLst>
        </pc:graphicFrameChg>
        <pc:picChg chg="del">
          <ac:chgData name="Manish Sharma" userId="97d895ad-8d7a-4884-8c18-743afd731b6f" providerId="ADAL" clId="{98D6BF9E-951A-44E3-9068-B5D71577D20F}" dt="2020-10-16T19:48:16.286" v="18214" actId="478"/>
          <ac:picMkLst>
            <pc:docMk/>
            <pc:sldMk cId="3785293199" sldId="445"/>
            <ac:picMk id="80" creationId="{00000000-0000-0000-0000-000000000000}"/>
          </ac:picMkLst>
        </pc:picChg>
        <pc:cxnChg chg="mod">
          <ac:chgData name="Manish Sharma" userId="97d895ad-8d7a-4884-8c18-743afd731b6f" providerId="ADAL" clId="{98D6BF9E-951A-44E3-9068-B5D71577D20F}" dt="2020-10-13T02:13:23.922" v="2797" actId="14100"/>
          <ac:cxnSpMkLst>
            <pc:docMk/>
            <pc:sldMk cId="3785293199" sldId="445"/>
            <ac:cxnSpMk id="28" creationId="{7E176FA6-7F35-4FD5-BCD2-7C2136CFFAA3}"/>
          </ac:cxnSpMkLst>
        </pc:cxnChg>
        <pc:cxnChg chg="mod">
          <ac:chgData name="Manish Sharma" userId="97d895ad-8d7a-4884-8c18-743afd731b6f" providerId="ADAL" clId="{98D6BF9E-951A-44E3-9068-B5D71577D20F}" dt="2020-10-13T02:13:10.411" v="2795"/>
          <ac:cxnSpMkLst>
            <pc:docMk/>
            <pc:sldMk cId="3785293199" sldId="445"/>
            <ac:cxnSpMk id="30" creationId="{0ED2CC6C-47B4-4325-8655-C3CC64AEE9D2}"/>
          </ac:cxnSpMkLst>
        </pc:cxnChg>
      </pc:sldChg>
      <pc:sldChg chg="addSp delSp modSp mod">
        <pc:chgData name="Manish Sharma" userId="97d895ad-8d7a-4884-8c18-743afd731b6f" providerId="ADAL" clId="{98D6BF9E-951A-44E3-9068-B5D71577D20F}" dt="2020-10-16T20:34:56.491" v="18411" actId="14100"/>
        <pc:sldMkLst>
          <pc:docMk/>
          <pc:sldMk cId="2762800380" sldId="448"/>
        </pc:sldMkLst>
        <pc:spChg chg="mod">
          <ac:chgData name="Manish Sharma" userId="97d895ad-8d7a-4884-8c18-743afd731b6f" providerId="ADAL" clId="{98D6BF9E-951A-44E3-9068-B5D71577D20F}" dt="2020-10-13T02:39:42.595" v="2876" actId="20577"/>
          <ac:spMkLst>
            <pc:docMk/>
            <pc:sldMk cId="2762800380" sldId="448"/>
            <ac:spMk id="2" creationId="{00000000-0000-0000-0000-000000000000}"/>
          </ac:spMkLst>
        </pc:spChg>
        <pc:spChg chg="del">
          <ac:chgData name="Manish Sharma" userId="97d895ad-8d7a-4884-8c18-743afd731b6f" providerId="ADAL" clId="{98D6BF9E-951A-44E3-9068-B5D71577D20F}" dt="2020-10-13T02:39:38.242" v="2867" actId="478"/>
          <ac:spMkLst>
            <pc:docMk/>
            <pc:sldMk cId="2762800380" sldId="448"/>
            <ac:spMk id="4" creationId="{DE3F3616-407F-43E9-8EB5-4C8CA225E810}"/>
          </ac:spMkLst>
        </pc:spChg>
        <pc:spChg chg="mod">
          <ac:chgData name="Manish Sharma" userId="97d895ad-8d7a-4884-8c18-743afd731b6f" providerId="ADAL" clId="{98D6BF9E-951A-44E3-9068-B5D71577D20F}" dt="2020-10-13T02:39:25.734" v="2865" actId="1035"/>
          <ac:spMkLst>
            <pc:docMk/>
            <pc:sldMk cId="2762800380" sldId="448"/>
            <ac:spMk id="7" creationId="{09E2691E-B29D-45D6-AAB6-ABF31D80F444}"/>
          </ac:spMkLst>
        </pc:spChg>
        <pc:spChg chg="mod">
          <ac:chgData name="Manish Sharma" userId="97d895ad-8d7a-4884-8c18-743afd731b6f" providerId="ADAL" clId="{98D6BF9E-951A-44E3-9068-B5D71577D20F}" dt="2020-10-13T02:39:22.090" v="2864" actId="1035"/>
          <ac:spMkLst>
            <pc:docMk/>
            <pc:sldMk cId="2762800380" sldId="448"/>
            <ac:spMk id="8" creationId="{0F250931-7AE3-41E3-A718-D4E1AD2BB6FC}"/>
          </ac:spMkLst>
        </pc:spChg>
        <pc:spChg chg="mod">
          <ac:chgData name="Manish Sharma" userId="97d895ad-8d7a-4884-8c18-743afd731b6f" providerId="ADAL" clId="{98D6BF9E-951A-44E3-9068-B5D71577D20F}" dt="2020-10-13T02:39:28.937" v="2866" actId="1035"/>
          <ac:spMkLst>
            <pc:docMk/>
            <pc:sldMk cId="2762800380" sldId="448"/>
            <ac:spMk id="11" creationId="{5109CF6C-4157-403A-8F06-2DA5CB32E773}"/>
          </ac:spMkLst>
        </pc:spChg>
        <pc:spChg chg="mod">
          <ac:chgData name="Manish Sharma" userId="97d895ad-8d7a-4884-8c18-743afd731b6f" providerId="ADAL" clId="{98D6BF9E-951A-44E3-9068-B5D71577D20F}" dt="2020-10-13T02:38:20.395" v="2846" actId="1076"/>
          <ac:spMkLst>
            <pc:docMk/>
            <pc:sldMk cId="2762800380" sldId="448"/>
            <ac:spMk id="14" creationId="{1503C336-06AF-4E2D-8A12-85F05A83BD35}"/>
          </ac:spMkLst>
        </pc:spChg>
        <pc:spChg chg="mod">
          <ac:chgData name="Manish Sharma" userId="97d895ad-8d7a-4884-8c18-743afd731b6f" providerId="ADAL" clId="{98D6BF9E-951A-44E3-9068-B5D71577D20F}" dt="2020-10-16T20:34:56.491" v="18411" actId="14100"/>
          <ac:spMkLst>
            <pc:docMk/>
            <pc:sldMk cId="2762800380" sldId="448"/>
            <ac:spMk id="19" creationId="{8D9A2195-E46A-4A5C-BD11-87B61401C498}"/>
          </ac:spMkLst>
        </pc:spChg>
        <pc:spChg chg="mod">
          <ac:chgData name="Manish Sharma" userId="97d895ad-8d7a-4884-8c18-743afd731b6f" providerId="ADAL" clId="{98D6BF9E-951A-44E3-9068-B5D71577D20F}" dt="2020-10-13T02:40:02.846" v="2883" actId="14100"/>
          <ac:spMkLst>
            <pc:docMk/>
            <pc:sldMk cId="2762800380" sldId="448"/>
            <ac:spMk id="41" creationId="{45964E5A-BE5E-45C2-8E43-74F4B9DD344A}"/>
          </ac:spMkLst>
        </pc:spChg>
        <pc:spChg chg="del">
          <ac:chgData name="Manish Sharma" userId="97d895ad-8d7a-4884-8c18-743afd731b6f" providerId="ADAL" clId="{98D6BF9E-951A-44E3-9068-B5D71577D20F}" dt="2020-10-16T20:32:24.713" v="18360" actId="478"/>
          <ac:spMkLst>
            <pc:docMk/>
            <pc:sldMk cId="2762800380" sldId="448"/>
            <ac:spMk id="43" creationId="{00000000-0000-0000-0000-000000000000}"/>
          </ac:spMkLst>
        </pc:spChg>
        <pc:spChg chg="mod">
          <ac:chgData name="Manish Sharma" userId="97d895ad-8d7a-4884-8c18-743afd731b6f" providerId="ADAL" clId="{98D6BF9E-951A-44E3-9068-B5D71577D20F}" dt="2020-10-13T02:40:02.846" v="2883" actId="14100"/>
          <ac:spMkLst>
            <pc:docMk/>
            <pc:sldMk cId="2762800380" sldId="448"/>
            <ac:spMk id="44" creationId="{51E3BAEC-16CE-4528-B1C9-357E4FA66480}"/>
          </ac:spMkLst>
        </pc:spChg>
        <pc:spChg chg="mod">
          <ac:chgData name="Manish Sharma" userId="97d895ad-8d7a-4884-8c18-743afd731b6f" providerId="ADAL" clId="{98D6BF9E-951A-44E3-9068-B5D71577D20F}" dt="2020-10-13T02:40:02.846" v="2883" actId="14100"/>
          <ac:spMkLst>
            <pc:docMk/>
            <pc:sldMk cId="2762800380" sldId="448"/>
            <ac:spMk id="45" creationId="{EBCBCBD1-E21B-4393-8D88-21097657E3FB}"/>
          </ac:spMkLst>
        </pc:spChg>
        <pc:spChg chg="mod">
          <ac:chgData name="Manish Sharma" userId="97d895ad-8d7a-4884-8c18-743afd731b6f" providerId="ADAL" clId="{98D6BF9E-951A-44E3-9068-B5D71577D20F}" dt="2020-10-13T02:40:02.846" v="2883" actId="14100"/>
          <ac:spMkLst>
            <pc:docMk/>
            <pc:sldMk cId="2762800380" sldId="448"/>
            <ac:spMk id="46" creationId="{706A9863-1AD8-497E-8475-4F9C3C938702}"/>
          </ac:spMkLst>
        </pc:spChg>
        <pc:spChg chg="mod">
          <ac:chgData name="Manish Sharma" userId="97d895ad-8d7a-4884-8c18-743afd731b6f" providerId="ADAL" clId="{98D6BF9E-951A-44E3-9068-B5D71577D20F}" dt="2020-10-13T02:40:02.846" v="2883" actId="14100"/>
          <ac:spMkLst>
            <pc:docMk/>
            <pc:sldMk cId="2762800380" sldId="448"/>
            <ac:spMk id="47" creationId="{6928B57C-8C22-45F2-AE7C-2AFDD3C368DB}"/>
          </ac:spMkLst>
        </pc:spChg>
        <pc:spChg chg="mod">
          <ac:chgData name="Manish Sharma" userId="97d895ad-8d7a-4884-8c18-743afd731b6f" providerId="ADAL" clId="{98D6BF9E-951A-44E3-9068-B5D71577D20F}" dt="2020-10-13T03:33:16.289" v="3788" actId="1037"/>
          <ac:spMkLst>
            <pc:docMk/>
            <pc:sldMk cId="2762800380" sldId="448"/>
            <ac:spMk id="48" creationId="{550B5241-A055-4A97-AFA6-0C804F2553E0}"/>
          </ac:spMkLst>
        </pc:spChg>
        <pc:spChg chg="mod">
          <ac:chgData name="Manish Sharma" userId="97d895ad-8d7a-4884-8c18-743afd731b6f" providerId="ADAL" clId="{98D6BF9E-951A-44E3-9068-B5D71577D20F}" dt="2020-10-13T03:33:08.288" v="3742" actId="20577"/>
          <ac:spMkLst>
            <pc:docMk/>
            <pc:sldMk cId="2762800380" sldId="448"/>
            <ac:spMk id="80" creationId="{6F5A7825-C260-4831-9B48-001AB9DF90D5}"/>
          </ac:spMkLst>
        </pc:spChg>
        <pc:grpChg chg="mod">
          <ac:chgData name="Manish Sharma" userId="97d895ad-8d7a-4884-8c18-743afd731b6f" providerId="ADAL" clId="{98D6BF9E-951A-44E3-9068-B5D71577D20F}" dt="2020-10-13T02:40:02.846" v="2883" actId="14100"/>
          <ac:grpSpMkLst>
            <pc:docMk/>
            <pc:sldMk cId="2762800380" sldId="448"/>
            <ac:grpSpMk id="12" creationId="{2FFA7AA6-EF1B-47F4-83B4-7ADD97B76433}"/>
          </ac:grpSpMkLst>
        </pc:grpChg>
        <pc:grpChg chg="mod">
          <ac:chgData name="Manish Sharma" userId="97d895ad-8d7a-4884-8c18-743afd731b6f" providerId="ADAL" clId="{98D6BF9E-951A-44E3-9068-B5D71577D20F}" dt="2020-10-13T02:40:02.846" v="2883" actId="14100"/>
          <ac:grpSpMkLst>
            <pc:docMk/>
            <pc:sldMk cId="2762800380" sldId="448"/>
            <ac:grpSpMk id="42" creationId="{88DAE97C-633A-4A00-9D3B-FF12DDC9AD78}"/>
          </ac:grpSpMkLst>
        </pc:grpChg>
        <pc:picChg chg="del">
          <ac:chgData name="Manish Sharma" userId="97d895ad-8d7a-4884-8c18-743afd731b6f" providerId="ADAL" clId="{98D6BF9E-951A-44E3-9068-B5D71577D20F}" dt="2020-10-16T19:48:03.189" v="18212" actId="478"/>
          <ac:picMkLst>
            <pc:docMk/>
            <pc:sldMk cId="2762800380" sldId="448"/>
            <ac:picMk id="3" creationId="{00000000-0000-0000-0000-000000000000}"/>
          </ac:picMkLst>
        </pc:picChg>
        <pc:picChg chg="add mod ord">
          <ac:chgData name="Manish Sharma" userId="97d895ad-8d7a-4884-8c18-743afd731b6f" providerId="ADAL" clId="{98D6BF9E-951A-44E3-9068-B5D71577D20F}" dt="2020-10-13T02:38:25.347" v="2848" actId="167"/>
          <ac:picMkLst>
            <pc:docMk/>
            <pc:sldMk cId="2762800380" sldId="448"/>
            <ac:picMk id="6" creationId="{0741E425-97CD-4533-8570-37E8FEDCD051}"/>
          </ac:picMkLst>
        </pc:picChg>
        <pc:picChg chg="del">
          <ac:chgData name="Manish Sharma" userId="97d895ad-8d7a-4884-8c18-743afd731b6f" providerId="ADAL" clId="{98D6BF9E-951A-44E3-9068-B5D71577D20F}" dt="2020-10-13T02:38:06.548" v="2840" actId="478"/>
          <ac:picMkLst>
            <pc:docMk/>
            <pc:sldMk cId="2762800380" sldId="448"/>
            <ac:picMk id="9" creationId="{90FE13C4-96AE-481E-936E-F80F1C1F43A8}"/>
          </ac:picMkLst>
        </pc:picChg>
      </pc:sldChg>
      <pc:sldChg chg="addSp delSp modSp mod">
        <pc:chgData name="Manish Sharma" userId="97d895ad-8d7a-4884-8c18-743afd731b6f" providerId="ADAL" clId="{98D6BF9E-951A-44E3-9068-B5D71577D20F}" dt="2020-10-16T20:35:06.004" v="18413" actId="14100"/>
        <pc:sldMkLst>
          <pc:docMk/>
          <pc:sldMk cId="780727013" sldId="452"/>
        </pc:sldMkLst>
        <pc:spChg chg="mod">
          <ac:chgData name="Manish Sharma" userId="97d895ad-8d7a-4884-8c18-743afd731b6f" providerId="ADAL" clId="{98D6BF9E-951A-44E3-9068-B5D71577D20F}" dt="2020-10-13T03:40:36.797" v="3875" actId="20577"/>
          <ac:spMkLst>
            <pc:docMk/>
            <pc:sldMk cId="780727013" sldId="452"/>
            <ac:spMk id="2" creationId="{00000000-0000-0000-0000-000000000000}"/>
          </ac:spMkLst>
        </pc:spChg>
        <pc:spChg chg="del">
          <ac:chgData name="Manish Sharma" userId="97d895ad-8d7a-4884-8c18-743afd731b6f" providerId="ADAL" clId="{98D6BF9E-951A-44E3-9068-B5D71577D20F}" dt="2020-10-13T03:40:32.142" v="3866" actId="478"/>
          <ac:spMkLst>
            <pc:docMk/>
            <pc:sldMk cId="780727013" sldId="452"/>
            <ac:spMk id="4" creationId="{6C5E2CFB-23E1-4B5D-A73B-7A041DD759E1}"/>
          </ac:spMkLst>
        </pc:spChg>
        <pc:spChg chg="mod">
          <ac:chgData name="Manish Sharma" userId="97d895ad-8d7a-4884-8c18-743afd731b6f" providerId="ADAL" clId="{98D6BF9E-951A-44E3-9068-B5D71577D20F}" dt="2020-10-13T03:40:17.810" v="3850" actId="14100"/>
          <ac:spMkLst>
            <pc:docMk/>
            <pc:sldMk cId="780727013" sldId="452"/>
            <ac:spMk id="8" creationId="{002C3AD6-2F5E-4534-B638-C704D9D3D569}"/>
          </ac:spMkLst>
        </pc:spChg>
        <pc:spChg chg="mod">
          <ac:chgData name="Manish Sharma" userId="97d895ad-8d7a-4884-8c18-743afd731b6f" providerId="ADAL" clId="{98D6BF9E-951A-44E3-9068-B5D71577D20F}" dt="2020-10-13T03:40:23.298" v="3852" actId="14100"/>
          <ac:spMkLst>
            <pc:docMk/>
            <pc:sldMk cId="780727013" sldId="452"/>
            <ac:spMk id="9" creationId="{BE896D1A-4DC9-460D-A48A-70595726F044}"/>
          </ac:spMkLst>
        </pc:spChg>
        <pc:spChg chg="mod">
          <ac:chgData name="Manish Sharma" userId="97d895ad-8d7a-4884-8c18-743afd731b6f" providerId="ADAL" clId="{98D6BF9E-951A-44E3-9068-B5D71577D20F}" dt="2020-10-16T19:16:23.564" v="18174" actId="14100"/>
          <ac:spMkLst>
            <pc:docMk/>
            <pc:sldMk cId="780727013" sldId="452"/>
            <ac:spMk id="15" creationId="{7F764852-256F-49DF-B500-7AB466E1A418}"/>
          </ac:spMkLst>
        </pc:spChg>
        <pc:spChg chg="mod">
          <ac:chgData name="Manish Sharma" userId="97d895ad-8d7a-4884-8c18-743afd731b6f" providerId="ADAL" clId="{98D6BF9E-951A-44E3-9068-B5D71577D20F}" dt="2020-10-16T20:35:06.004" v="18413" actId="14100"/>
          <ac:spMkLst>
            <pc:docMk/>
            <pc:sldMk cId="780727013" sldId="452"/>
            <ac:spMk id="19" creationId="{A5637282-18F0-4AB5-8A7A-D839BEAE8C8E}"/>
          </ac:spMkLst>
        </pc:spChg>
        <pc:spChg chg="mod">
          <ac:chgData name="Manish Sharma" userId="97d895ad-8d7a-4884-8c18-743afd731b6f" providerId="ADAL" clId="{98D6BF9E-951A-44E3-9068-B5D71577D20F}" dt="2020-10-13T03:39:48.966" v="3840" actId="14100"/>
          <ac:spMkLst>
            <pc:docMk/>
            <pc:sldMk cId="780727013" sldId="452"/>
            <ac:spMk id="26" creationId="{57104545-F8E9-434B-A0B6-77A034D113B9}"/>
          </ac:spMkLst>
        </pc:spChg>
        <pc:spChg chg="mod">
          <ac:chgData name="Manish Sharma" userId="97d895ad-8d7a-4884-8c18-743afd731b6f" providerId="ADAL" clId="{98D6BF9E-951A-44E3-9068-B5D71577D20F}" dt="2020-10-13T03:39:48.966" v="3840" actId="14100"/>
          <ac:spMkLst>
            <pc:docMk/>
            <pc:sldMk cId="780727013" sldId="452"/>
            <ac:spMk id="28" creationId="{DE1FCFDF-848D-4479-B9CD-70D6D0FD7B86}"/>
          </ac:spMkLst>
        </pc:spChg>
        <pc:spChg chg="mod">
          <ac:chgData name="Manish Sharma" userId="97d895ad-8d7a-4884-8c18-743afd731b6f" providerId="ADAL" clId="{98D6BF9E-951A-44E3-9068-B5D71577D20F}" dt="2020-10-13T03:39:48.966" v="3840" actId="14100"/>
          <ac:spMkLst>
            <pc:docMk/>
            <pc:sldMk cId="780727013" sldId="452"/>
            <ac:spMk id="29" creationId="{4DA7A29A-D95C-40B8-A5EF-CBEBDD3540F4}"/>
          </ac:spMkLst>
        </pc:spChg>
        <pc:spChg chg="mod">
          <ac:chgData name="Manish Sharma" userId="97d895ad-8d7a-4884-8c18-743afd731b6f" providerId="ADAL" clId="{98D6BF9E-951A-44E3-9068-B5D71577D20F}" dt="2020-10-13T03:39:48.966" v="3840" actId="14100"/>
          <ac:spMkLst>
            <pc:docMk/>
            <pc:sldMk cId="780727013" sldId="452"/>
            <ac:spMk id="30" creationId="{5346693D-031F-47AA-B5A4-A8133A9642B0}"/>
          </ac:spMkLst>
        </pc:spChg>
        <pc:spChg chg="mod">
          <ac:chgData name="Manish Sharma" userId="97d895ad-8d7a-4884-8c18-743afd731b6f" providerId="ADAL" clId="{98D6BF9E-951A-44E3-9068-B5D71577D20F}" dt="2020-10-13T03:39:48.966" v="3840" actId="14100"/>
          <ac:spMkLst>
            <pc:docMk/>
            <pc:sldMk cId="780727013" sldId="452"/>
            <ac:spMk id="31" creationId="{CE2BF30C-948B-4A4B-80B6-EB64BBBBC1C2}"/>
          </ac:spMkLst>
        </pc:spChg>
        <pc:spChg chg="del">
          <ac:chgData name="Manish Sharma" userId="97d895ad-8d7a-4884-8c18-743afd731b6f" providerId="ADAL" clId="{98D6BF9E-951A-44E3-9068-B5D71577D20F}" dt="2020-10-16T20:32:28.080" v="18361" actId="478"/>
          <ac:spMkLst>
            <pc:docMk/>
            <pc:sldMk cId="780727013" sldId="452"/>
            <ac:spMk id="43" creationId="{00000000-0000-0000-0000-000000000000}"/>
          </ac:spMkLst>
        </pc:spChg>
        <pc:spChg chg="mod">
          <ac:chgData name="Manish Sharma" userId="97d895ad-8d7a-4884-8c18-743afd731b6f" providerId="ADAL" clId="{98D6BF9E-951A-44E3-9068-B5D71577D20F}" dt="2020-10-13T03:40:29.790" v="3865" actId="1037"/>
          <ac:spMkLst>
            <pc:docMk/>
            <pc:sldMk cId="780727013" sldId="452"/>
            <ac:spMk id="49" creationId="{4593EDF8-B17E-4F23-96F2-7B57265E27C7}"/>
          </ac:spMkLst>
        </pc:spChg>
        <pc:grpChg chg="mod">
          <ac:chgData name="Manish Sharma" userId="97d895ad-8d7a-4884-8c18-743afd731b6f" providerId="ADAL" clId="{98D6BF9E-951A-44E3-9068-B5D71577D20F}" dt="2020-10-13T03:39:48.966" v="3840" actId="14100"/>
          <ac:grpSpMkLst>
            <pc:docMk/>
            <pc:sldMk cId="780727013" sldId="452"/>
            <ac:grpSpMk id="25" creationId="{36C41730-27C6-4116-A7A5-CD6A25361E67}"/>
          </ac:grpSpMkLst>
        </pc:grpChg>
        <pc:grpChg chg="mod">
          <ac:chgData name="Manish Sharma" userId="97d895ad-8d7a-4884-8c18-743afd731b6f" providerId="ADAL" clId="{98D6BF9E-951A-44E3-9068-B5D71577D20F}" dt="2020-10-13T03:39:48.966" v="3840" actId="14100"/>
          <ac:grpSpMkLst>
            <pc:docMk/>
            <pc:sldMk cId="780727013" sldId="452"/>
            <ac:grpSpMk id="27" creationId="{0665A04C-8840-44E3-95C8-BFB8019B6818}"/>
          </ac:grpSpMkLst>
        </pc:grpChg>
        <pc:graphicFrameChg chg="mod modGraphic">
          <ac:chgData name="Manish Sharma" userId="97d895ad-8d7a-4884-8c18-743afd731b6f" providerId="ADAL" clId="{98D6BF9E-951A-44E3-9068-B5D71577D20F}" dt="2020-10-13T03:36:00.831" v="3817" actId="20577"/>
          <ac:graphicFrameMkLst>
            <pc:docMk/>
            <pc:sldMk cId="780727013" sldId="452"/>
            <ac:graphicFrameMk id="10" creationId="{215B3BAA-C7A4-4B52-A79A-C282D5DEF2CC}"/>
          </ac:graphicFrameMkLst>
        </pc:graphicFrameChg>
        <pc:picChg chg="add mod ord">
          <ac:chgData name="Manish Sharma" userId="97d895ad-8d7a-4884-8c18-743afd731b6f" providerId="ADAL" clId="{98D6BF9E-951A-44E3-9068-B5D71577D20F}" dt="2020-10-13T03:40:11.526" v="3848" actId="167"/>
          <ac:picMkLst>
            <pc:docMk/>
            <pc:sldMk cId="780727013" sldId="452"/>
            <ac:picMk id="6" creationId="{4FF1D227-4F86-4B03-B67D-EEF313CB26B0}"/>
          </ac:picMkLst>
        </pc:picChg>
        <pc:picChg chg="del">
          <ac:chgData name="Manish Sharma" userId="97d895ad-8d7a-4884-8c18-743afd731b6f" providerId="ADAL" clId="{98D6BF9E-951A-44E3-9068-B5D71577D20F}" dt="2020-10-13T03:36:25.723" v="3834" actId="478"/>
          <ac:picMkLst>
            <pc:docMk/>
            <pc:sldMk cId="780727013" sldId="452"/>
            <ac:picMk id="11" creationId="{1361839C-D976-4C63-8C23-CA25488BBA3B}"/>
          </ac:picMkLst>
        </pc:picChg>
      </pc:sldChg>
      <pc:sldChg chg="delSp modSp mod">
        <pc:chgData name="Manish Sharma" userId="97d895ad-8d7a-4884-8c18-743afd731b6f" providerId="ADAL" clId="{98D6BF9E-951A-44E3-9068-B5D71577D20F}" dt="2020-10-16T20:42:57.033" v="18501" actId="20577"/>
        <pc:sldMkLst>
          <pc:docMk/>
          <pc:sldMk cId="318827490" sldId="456"/>
        </pc:sldMkLst>
        <pc:spChg chg="mod">
          <ac:chgData name="Manish Sharma" userId="97d895ad-8d7a-4884-8c18-743afd731b6f" providerId="ADAL" clId="{98D6BF9E-951A-44E3-9068-B5D71577D20F}" dt="2020-10-16T16:59:02.089" v="17157" actId="20577"/>
          <ac:spMkLst>
            <pc:docMk/>
            <pc:sldMk cId="318827490" sldId="456"/>
            <ac:spMk id="2" creationId="{00000000-0000-0000-0000-000000000000}"/>
          </ac:spMkLst>
        </pc:spChg>
        <pc:spChg chg="del">
          <ac:chgData name="Manish Sharma" userId="97d895ad-8d7a-4884-8c18-743afd731b6f" providerId="ADAL" clId="{98D6BF9E-951A-44E3-9068-B5D71577D20F}" dt="2020-10-15T02:19:36.483" v="8080" actId="478"/>
          <ac:spMkLst>
            <pc:docMk/>
            <pc:sldMk cId="318827490" sldId="456"/>
            <ac:spMk id="4" creationId="{965BE931-F60C-43ED-9D58-6F4CE7836559}"/>
          </ac:spMkLst>
        </pc:spChg>
        <pc:spChg chg="mod">
          <ac:chgData name="Manish Sharma" userId="97d895ad-8d7a-4884-8c18-743afd731b6f" providerId="ADAL" clId="{98D6BF9E-951A-44E3-9068-B5D71577D20F}" dt="2020-10-16T16:59:05.483" v="17158" actId="20577"/>
          <ac:spMkLst>
            <pc:docMk/>
            <pc:sldMk cId="318827490" sldId="456"/>
            <ac:spMk id="21" creationId="{00000000-0000-0000-0000-000000000000}"/>
          </ac:spMkLst>
        </pc:spChg>
        <pc:spChg chg="mod">
          <ac:chgData name="Manish Sharma" userId="97d895ad-8d7a-4884-8c18-743afd731b6f" providerId="ADAL" clId="{98D6BF9E-951A-44E3-9068-B5D71577D20F}" dt="2020-10-15T02:22:06.555" v="8176" actId="108"/>
          <ac:spMkLst>
            <pc:docMk/>
            <pc:sldMk cId="318827490" sldId="456"/>
            <ac:spMk id="73" creationId="{4C88BB89-4068-499B-8F3F-29D9CFDEB8D9}"/>
          </ac:spMkLst>
        </pc:spChg>
        <pc:spChg chg="mod">
          <ac:chgData name="Manish Sharma" userId="97d895ad-8d7a-4884-8c18-743afd731b6f" providerId="ADAL" clId="{98D6BF9E-951A-44E3-9068-B5D71577D20F}" dt="2020-10-15T02:22:08.944" v="8178" actId="108"/>
          <ac:spMkLst>
            <pc:docMk/>
            <pc:sldMk cId="318827490" sldId="456"/>
            <ac:spMk id="74" creationId="{0331598C-AB42-4ED3-AD29-91628B8360D4}"/>
          </ac:spMkLst>
        </pc:spChg>
        <pc:spChg chg="mod">
          <ac:chgData name="Manish Sharma" userId="97d895ad-8d7a-4884-8c18-743afd731b6f" providerId="ADAL" clId="{98D6BF9E-951A-44E3-9068-B5D71577D20F}" dt="2020-10-15T02:22:07.744" v="8177" actId="108"/>
          <ac:spMkLst>
            <pc:docMk/>
            <pc:sldMk cId="318827490" sldId="456"/>
            <ac:spMk id="75" creationId="{C3667D43-2D3C-46D6-BEB3-58980BA9DA59}"/>
          </ac:spMkLst>
        </pc:spChg>
        <pc:spChg chg="mod">
          <ac:chgData name="Manish Sharma" userId="97d895ad-8d7a-4884-8c18-743afd731b6f" providerId="ADAL" clId="{98D6BF9E-951A-44E3-9068-B5D71577D20F}" dt="2020-10-16T20:42:57.033" v="18501" actId="20577"/>
          <ac:spMkLst>
            <pc:docMk/>
            <pc:sldMk cId="318827490" sldId="456"/>
            <ac:spMk id="77" creationId="{00000000-0000-0000-0000-000000000000}"/>
          </ac:spMkLst>
        </pc:spChg>
        <pc:spChg chg="mod">
          <ac:chgData name="Manish Sharma" userId="97d895ad-8d7a-4884-8c18-743afd731b6f" providerId="ADAL" clId="{98D6BF9E-951A-44E3-9068-B5D71577D20F}" dt="2020-10-15T02:22:02.074" v="8175" actId="208"/>
          <ac:spMkLst>
            <pc:docMk/>
            <pc:sldMk cId="318827490" sldId="456"/>
            <ac:spMk id="78" creationId="{00000000-0000-0000-0000-000000000000}"/>
          </ac:spMkLst>
        </pc:spChg>
        <pc:spChg chg="mod">
          <ac:chgData name="Manish Sharma" userId="97d895ad-8d7a-4884-8c18-743afd731b6f" providerId="ADAL" clId="{98D6BF9E-951A-44E3-9068-B5D71577D20F}" dt="2020-10-15T02:22:16.499" v="8180" actId="207"/>
          <ac:spMkLst>
            <pc:docMk/>
            <pc:sldMk cId="318827490" sldId="456"/>
            <ac:spMk id="81" creationId="{00000000-0000-0000-0000-000000000000}"/>
          </ac:spMkLst>
        </pc:spChg>
        <pc:spChg chg="mod">
          <ac:chgData name="Manish Sharma" userId="97d895ad-8d7a-4884-8c18-743afd731b6f" providerId="ADAL" clId="{98D6BF9E-951A-44E3-9068-B5D71577D20F}" dt="2020-10-16T20:15:43.850" v="18306" actId="14100"/>
          <ac:spMkLst>
            <pc:docMk/>
            <pc:sldMk cId="318827490" sldId="456"/>
            <ac:spMk id="82" creationId="{00000000-0000-0000-0000-000000000000}"/>
          </ac:spMkLst>
        </pc:spChg>
        <pc:spChg chg="mod">
          <ac:chgData name="Manish Sharma" userId="97d895ad-8d7a-4884-8c18-743afd731b6f" providerId="ADAL" clId="{98D6BF9E-951A-44E3-9068-B5D71577D20F}" dt="2020-10-16T20:15:43.850" v="18306" actId="14100"/>
          <ac:spMkLst>
            <pc:docMk/>
            <pc:sldMk cId="318827490" sldId="456"/>
            <ac:spMk id="83" creationId="{00000000-0000-0000-0000-000000000000}"/>
          </ac:spMkLst>
        </pc:spChg>
        <pc:spChg chg="mod">
          <ac:chgData name="Manish Sharma" userId="97d895ad-8d7a-4884-8c18-743afd731b6f" providerId="ADAL" clId="{98D6BF9E-951A-44E3-9068-B5D71577D20F}" dt="2020-10-16T20:15:43.850" v="18306" actId="14100"/>
          <ac:spMkLst>
            <pc:docMk/>
            <pc:sldMk cId="318827490" sldId="456"/>
            <ac:spMk id="84" creationId="{00000000-0000-0000-0000-000000000000}"/>
          </ac:spMkLst>
        </pc:spChg>
        <pc:spChg chg="mod">
          <ac:chgData name="Manish Sharma" userId="97d895ad-8d7a-4884-8c18-743afd731b6f" providerId="ADAL" clId="{98D6BF9E-951A-44E3-9068-B5D71577D20F}" dt="2020-10-15T02:22:20.091" v="8181" actId="108"/>
          <ac:spMkLst>
            <pc:docMk/>
            <pc:sldMk cId="318827490" sldId="456"/>
            <ac:spMk id="90" creationId="{00000000-0000-0000-0000-000000000000}"/>
          </ac:spMkLst>
        </pc:spChg>
        <pc:spChg chg="mod">
          <ac:chgData name="Manish Sharma" userId="97d895ad-8d7a-4884-8c18-743afd731b6f" providerId="ADAL" clId="{98D6BF9E-951A-44E3-9068-B5D71577D20F}" dt="2020-10-16T20:15:43.850" v="18306" actId="14100"/>
          <ac:spMkLst>
            <pc:docMk/>
            <pc:sldMk cId="318827490" sldId="456"/>
            <ac:spMk id="93" creationId="{00000000-0000-0000-0000-000000000000}"/>
          </ac:spMkLst>
        </pc:spChg>
        <pc:spChg chg="mod">
          <ac:chgData name="Manish Sharma" userId="97d895ad-8d7a-4884-8c18-743afd731b6f" providerId="ADAL" clId="{98D6BF9E-951A-44E3-9068-B5D71577D20F}" dt="2020-10-16T20:15:43.850" v="18306" actId="14100"/>
          <ac:spMkLst>
            <pc:docMk/>
            <pc:sldMk cId="318827490" sldId="456"/>
            <ac:spMk id="94" creationId="{00000000-0000-0000-0000-000000000000}"/>
          </ac:spMkLst>
        </pc:spChg>
        <pc:spChg chg="mod">
          <ac:chgData name="Manish Sharma" userId="97d895ad-8d7a-4884-8c18-743afd731b6f" providerId="ADAL" clId="{98D6BF9E-951A-44E3-9068-B5D71577D20F}" dt="2020-10-16T20:15:43.850" v="18306" actId="14100"/>
          <ac:spMkLst>
            <pc:docMk/>
            <pc:sldMk cId="318827490" sldId="456"/>
            <ac:spMk id="95" creationId="{00000000-0000-0000-0000-000000000000}"/>
          </ac:spMkLst>
        </pc:spChg>
        <pc:spChg chg="mod">
          <ac:chgData name="Manish Sharma" userId="97d895ad-8d7a-4884-8c18-743afd731b6f" providerId="ADAL" clId="{98D6BF9E-951A-44E3-9068-B5D71577D20F}" dt="2020-10-15T02:22:20.846" v="8182" actId="108"/>
          <ac:spMkLst>
            <pc:docMk/>
            <pc:sldMk cId="318827490" sldId="456"/>
            <ac:spMk id="96" creationId="{00000000-0000-0000-0000-000000000000}"/>
          </ac:spMkLst>
        </pc:spChg>
        <pc:spChg chg="mod">
          <ac:chgData name="Manish Sharma" userId="97d895ad-8d7a-4884-8c18-743afd731b6f" providerId="ADAL" clId="{98D6BF9E-951A-44E3-9068-B5D71577D20F}" dt="2020-10-16T20:15:43.850" v="18306" actId="14100"/>
          <ac:spMkLst>
            <pc:docMk/>
            <pc:sldMk cId="318827490" sldId="456"/>
            <ac:spMk id="99" creationId="{00000000-0000-0000-0000-000000000000}"/>
          </ac:spMkLst>
        </pc:spChg>
        <pc:spChg chg="mod">
          <ac:chgData name="Manish Sharma" userId="97d895ad-8d7a-4884-8c18-743afd731b6f" providerId="ADAL" clId="{98D6BF9E-951A-44E3-9068-B5D71577D20F}" dt="2020-10-16T20:15:43.850" v="18306" actId="14100"/>
          <ac:spMkLst>
            <pc:docMk/>
            <pc:sldMk cId="318827490" sldId="456"/>
            <ac:spMk id="100" creationId="{00000000-0000-0000-0000-000000000000}"/>
          </ac:spMkLst>
        </pc:spChg>
        <pc:spChg chg="mod">
          <ac:chgData name="Manish Sharma" userId="97d895ad-8d7a-4884-8c18-743afd731b6f" providerId="ADAL" clId="{98D6BF9E-951A-44E3-9068-B5D71577D20F}" dt="2020-10-16T20:15:43.850" v="18306" actId="14100"/>
          <ac:spMkLst>
            <pc:docMk/>
            <pc:sldMk cId="318827490" sldId="456"/>
            <ac:spMk id="101" creationId="{00000000-0000-0000-0000-000000000000}"/>
          </ac:spMkLst>
        </pc:spChg>
        <pc:spChg chg="mod">
          <ac:chgData name="Manish Sharma" userId="97d895ad-8d7a-4884-8c18-743afd731b6f" providerId="ADAL" clId="{98D6BF9E-951A-44E3-9068-B5D71577D20F}" dt="2020-10-15T02:22:21.811" v="8183" actId="108"/>
          <ac:spMkLst>
            <pc:docMk/>
            <pc:sldMk cId="318827490" sldId="456"/>
            <ac:spMk id="102" creationId="{00000000-0000-0000-0000-000000000000}"/>
          </ac:spMkLst>
        </pc:spChg>
        <pc:spChg chg="mod">
          <ac:chgData name="Manish Sharma" userId="97d895ad-8d7a-4884-8c18-743afd731b6f" providerId="ADAL" clId="{98D6BF9E-951A-44E3-9068-B5D71577D20F}" dt="2020-10-15T02:22:10.023" v="8179" actId="108"/>
          <ac:spMkLst>
            <pc:docMk/>
            <pc:sldMk cId="318827490" sldId="456"/>
            <ac:spMk id="103" creationId="{00000000-0000-0000-0000-000000000000}"/>
          </ac:spMkLst>
        </pc:spChg>
        <pc:spChg chg="mod">
          <ac:chgData name="Manish Sharma" userId="97d895ad-8d7a-4884-8c18-743afd731b6f" providerId="ADAL" clId="{98D6BF9E-951A-44E3-9068-B5D71577D20F}" dt="2020-10-16T20:15:43.850" v="18306" actId="14100"/>
          <ac:spMkLst>
            <pc:docMk/>
            <pc:sldMk cId="318827490" sldId="456"/>
            <ac:spMk id="105" creationId="{00000000-0000-0000-0000-000000000000}"/>
          </ac:spMkLst>
        </pc:spChg>
        <pc:spChg chg="mod">
          <ac:chgData name="Manish Sharma" userId="97d895ad-8d7a-4884-8c18-743afd731b6f" providerId="ADAL" clId="{98D6BF9E-951A-44E3-9068-B5D71577D20F}" dt="2020-10-16T20:15:43.850" v="18306" actId="14100"/>
          <ac:spMkLst>
            <pc:docMk/>
            <pc:sldMk cId="318827490" sldId="456"/>
            <ac:spMk id="106" creationId="{00000000-0000-0000-0000-000000000000}"/>
          </ac:spMkLst>
        </pc:spChg>
        <pc:spChg chg="mod">
          <ac:chgData name="Manish Sharma" userId="97d895ad-8d7a-4884-8c18-743afd731b6f" providerId="ADAL" clId="{98D6BF9E-951A-44E3-9068-B5D71577D20F}" dt="2020-10-16T20:15:43.850" v="18306" actId="14100"/>
          <ac:spMkLst>
            <pc:docMk/>
            <pc:sldMk cId="318827490" sldId="456"/>
            <ac:spMk id="107" creationId="{00000000-0000-0000-0000-000000000000}"/>
          </ac:spMkLst>
        </pc:spChg>
        <pc:spChg chg="mod">
          <ac:chgData name="Manish Sharma" userId="97d895ad-8d7a-4884-8c18-743afd731b6f" providerId="ADAL" clId="{98D6BF9E-951A-44E3-9068-B5D71577D20F}" dt="2020-10-15T02:22:22.546" v="8184" actId="108"/>
          <ac:spMkLst>
            <pc:docMk/>
            <pc:sldMk cId="318827490" sldId="456"/>
            <ac:spMk id="108" creationId="{00000000-0000-0000-0000-000000000000}"/>
          </ac:spMkLst>
        </pc:spChg>
        <pc:spChg chg="mod">
          <ac:chgData name="Manish Sharma" userId="97d895ad-8d7a-4884-8c18-743afd731b6f" providerId="ADAL" clId="{98D6BF9E-951A-44E3-9068-B5D71577D20F}" dt="2020-10-16T20:15:43.850" v="18306" actId="14100"/>
          <ac:spMkLst>
            <pc:docMk/>
            <pc:sldMk cId="318827490" sldId="456"/>
            <ac:spMk id="110" creationId="{00000000-0000-0000-0000-000000000000}"/>
          </ac:spMkLst>
        </pc:spChg>
        <pc:spChg chg="mod">
          <ac:chgData name="Manish Sharma" userId="97d895ad-8d7a-4884-8c18-743afd731b6f" providerId="ADAL" clId="{98D6BF9E-951A-44E3-9068-B5D71577D20F}" dt="2020-10-16T20:15:43.850" v="18306" actId="14100"/>
          <ac:spMkLst>
            <pc:docMk/>
            <pc:sldMk cId="318827490" sldId="456"/>
            <ac:spMk id="111" creationId="{00000000-0000-0000-0000-000000000000}"/>
          </ac:spMkLst>
        </pc:spChg>
        <pc:spChg chg="mod">
          <ac:chgData name="Manish Sharma" userId="97d895ad-8d7a-4884-8c18-743afd731b6f" providerId="ADAL" clId="{98D6BF9E-951A-44E3-9068-B5D71577D20F}" dt="2020-10-16T20:15:43.850" v="18306" actId="14100"/>
          <ac:spMkLst>
            <pc:docMk/>
            <pc:sldMk cId="318827490" sldId="456"/>
            <ac:spMk id="112" creationId="{00000000-0000-0000-0000-000000000000}"/>
          </ac:spMkLst>
        </pc:spChg>
        <pc:spChg chg="mod">
          <ac:chgData name="Manish Sharma" userId="97d895ad-8d7a-4884-8c18-743afd731b6f" providerId="ADAL" clId="{98D6BF9E-951A-44E3-9068-B5D71577D20F}" dt="2020-10-15T02:21:33.403" v="8165" actId="20577"/>
          <ac:spMkLst>
            <pc:docMk/>
            <pc:sldMk cId="318827490" sldId="456"/>
            <ac:spMk id="116" creationId="{00000000-0000-0000-0000-000000000000}"/>
          </ac:spMkLst>
        </pc:spChg>
        <pc:spChg chg="mod">
          <ac:chgData name="Manish Sharma" userId="97d895ad-8d7a-4884-8c18-743afd731b6f" providerId="ADAL" clId="{98D6BF9E-951A-44E3-9068-B5D71577D20F}" dt="2020-10-15T02:21:44.787" v="8173" actId="20577"/>
          <ac:spMkLst>
            <pc:docMk/>
            <pc:sldMk cId="318827490" sldId="456"/>
            <ac:spMk id="117" creationId="{00000000-0000-0000-0000-000000000000}"/>
          </ac:spMkLst>
        </pc:spChg>
        <pc:spChg chg="mod">
          <ac:chgData name="Manish Sharma" userId="97d895ad-8d7a-4884-8c18-743afd731b6f" providerId="ADAL" clId="{98D6BF9E-951A-44E3-9068-B5D71577D20F}" dt="2020-10-16T20:15:35.894" v="18305" actId="14100"/>
          <ac:spMkLst>
            <pc:docMk/>
            <pc:sldMk cId="318827490" sldId="456"/>
            <ac:spMk id="120" creationId="{00000000-0000-0000-0000-000000000000}"/>
          </ac:spMkLst>
        </pc:spChg>
        <pc:spChg chg="mod">
          <ac:chgData name="Manish Sharma" userId="97d895ad-8d7a-4884-8c18-743afd731b6f" providerId="ADAL" clId="{98D6BF9E-951A-44E3-9068-B5D71577D20F}" dt="2020-10-16T20:15:35.894" v="18305" actId="14100"/>
          <ac:spMkLst>
            <pc:docMk/>
            <pc:sldMk cId="318827490" sldId="456"/>
            <ac:spMk id="121" creationId="{00000000-0000-0000-0000-000000000000}"/>
          </ac:spMkLst>
        </pc:spChg>
        <pc:spChg chg="mod">
          <ac:chgData name="Manish Sharma" userId="97d895ad-8d7a-4884-8c18-743afd731b6f" providerId="ADAL" clId="{98D6BF9E-951A-44E3-9068-B5D71577D20F}" dt="2020-10-16T20:15:35.894" v="18305" actId="14100"/>
          <ac:spMkLst>
            <pc:docMk/>
            <pc:sldMk cId="318827490" sldId="456"/>
            <ac:spMk id="122" creationId="{00000000-0000-0000-0000-000000000000}"/>
          </ac:spMkLst>
        </pc:spChg>
        <pc:spChg chg="mod">
          <ac:chgData name="Manish Sharma" userId="97d895ad-8d7a-4884-8c18-743afd731b6f" providerId="ADAL" clId="{98D6BF9E-951A-44E3-9068-B5D71577D20F}" dt="2020-10-15T02:20:52.646" v="8154" actId="20577"/>
          <ac:spMkLst>
            <pc:docMk/>
            <pc:sldMk cId="318827490" sldId="456"/>
            <ac:spMk id="123" creationId="{00000000-0000-0000-0000-000000000000}"/>
          </ac:spMkLst>
        </pc:spChg>
        <pc:spChg chg="mod">
          <ac:chgData name="Manish Sharma" userId="97d895ad-8d7a-4884-8c18-743afd731b6f" providerId="ADAL" clId="{98D6BF9E-951A-44E3-9068-B5D71577D20F}" dt="2020-10-15T02:22:30.704" v="8227" actId="1037"/>
          <ac:spMkLst>
            <pc:docMk/>
            <pc:sldMk cId="318827490" sldId="456"/>
            <ac:spMk id="135" creationId="{00000000-0000-0000-0000-000000000000}"/>
          </ac:spMkLst>
        </pc:spChg>
        <pc:spChg chg="del">
          <ac:chgData name="Manish Sharma" userId="97d895ad-8d7a-4884-8c18-743afd731b6f" providerId="ADAL" clId="{98D6BF9E-951A-44E3-9068-B5D71577D20F}" dt="2020-10-16T20:34:03.633" v="18400" actId="478"/>
          <ac:spMkLst>
            <pc:docMk/>
            <pc:sldMk cId="318827490" sldId="456"/>
            <ac:spMk id="136" creationId="{00000000-0000-0000-0000-000000000000}"/>
          </ac:spMkLst>
        </pc:spChg>
        <pc:grpChg chg="mod">
          <ac:chgData name="Manish Sharma" userId="97d895ad-8d7a-4884-8c18-743afd731b6f" providerId="ADAL" clId="{98D6BF9E-951A-44E3-9068-B5D71577D20F}" dt="2020-10-16T20:15:43.850" v="18306" actId="14100"/>
          <ac:grpSpMkLst>
            <pc:docMk/>
            <pc:sldMk cId="318827490" sldId="456"/>
            <ac:grpSpMk id="80" creationId="{00000000-0000-0000-0000-000000000000}"/>
          </ac:grpSpMkLst>
        </pc:grpChg>
        <pc:grpChg chg="mod">
          <ac:chgData name="Manish Sharma" userId="97d895ad-8d7a-4884-8c18-743afd731b6f" providerId="ADAL" clId="{98D6BF9E-951A-44E3-9068-B5D71577D20F}" dt="2020-10-16T20:15:43.850" v="18306" actId="14100"/>
          <ac:grpSpMkLst>
            <pc:docMk/>
            <pc:sldMk cId="318827490" sldId="456"/>
            <ac:grpSpMk id="92" creationId="{00000000-0000-0000-0000-000000000000}"/>
          </ac:grpSpMkLst>
        </pc:grpChg>
        <pc:grpChg chg="mod">
          <ac:chgData name="Manish Sharma" userId="97d895ad-8d7a-4884-8c18-743afd731b6f" providerId="ADAL" clId="{98D6BF9E-951A-44E3-9068-B5D71577D20F}" dt="2020-10-16T20:15:43.850" v="18306" actId="14100"/>
          <ac:grpSpMkLst>
            <pc:docMk/>
            <pc:sldMk cId="318827490" sldId="456"/>
            <ac:grpSpMk id="98" creationId="{00000000-0000-0000-0000-000000000000}"/>
          </ac:grpSpMkLst>
        </pc:grpChg>
        <pc:grpChg chg="mod">
          <ac:chgData name="Manish Sharma" userId="97d895ad-8d7a-4884-8c18-743afd731b6f" providerId="ADAL" clId="{98D6BF9E-951A-44E3-9068-B5D71577D20F}" dt="2020-10-16T20:15:43.850" v="18306" actId="14100"/>
          <ac:grpSpMkLst>
            <pc:docMk/>
            <pc:sldMk cId="318827490" sldId="456"/>
            <ac:grpSpMk id="104" creationId="{00000000-0000-0000-0000-000000000000}"/>
          </ac:grpSpMkLst>
        </pc:grpChg>
        <pc:grpChg chg="mod">
          <ac:chgData name="Manish Sharma" userId="97d895ad-8d7a-4884-8c18-743afd731b6f" providerId="ADAL" clId="{98D6BF9E-951A-44E3-9068-B5D71577D20F}" dt="2020-10-16T20:15:43.850" v="18306" actId="14100"/>
          <ac:grpSpMkLst>
            <pc:docMk/>
            <pc:sldMk cId="318827490" sldId="456"/>
            <ac:grpSpMk id="109" creationId="{00000000-0000-0000-0000-000000000000}"/>
          </ac:grpSpMkLst>
        </pc:grpChg>
        <pc:grpChg chg="mod">
          <ac:chgData name="Manish Sharma" userId="97d895ad-8d7a-4884-8c18-743afd731b6f" providerId="ADAL" clId="{98D6BF9E-951A-44E3-9068-B5D71577D20F}" dt="2020-10-16T20:15:35.894" v="18305" actId="14100"/>
          <ac:grpSpMkLst>
            <pc:docMk/>
            <pc:sldMk cId="318827490" sldId="456"/>
            <ac:grpSpMk id="119" creationId="{00000000-0000-0000-0000-000000000000}"/>
          </ac:grpSpMkLst>
        </pc:grpChg>
        <pc:picChg chg="del">
          <ac:chgData name="Manish Sharma" userId="97d895ad-8d7a-4884-8c18-743afd731b6f" providerId="ADAL" clId="{98D6BF9E-951A-44E3-9068-B5D71577D20F}" dt="2020-10-16T19:48:26.316" v="18216" actId="478"/>
          <ac:picMkLst>
            <pc:docMk/>
            <pc:sldMk cId="318827490" sldId="456"/>
            <ac:picMk id="3" creationId="{00000000-0000-0000-0000-000000000000}"/>
          </ac:picMkLst>
        </pc:picChg>
      </pc:sldChg>
      <pc:sldChg chg="addSp delSp modSp mod">
        <pc:chgData name="Manish Sharma" userId="97d895ad-8d7a-4884-8c18-743afd731b6f" providerId="ADAL" clId="{98D6BF9E-951A-44E3-9068-B5D71577D20F}" dt="2020-10-16T20:44:06.230" v="18510" actId="6549"/>
        <pc:sldMkLst>
          <pc:docMk/>
          <pc:sldMk cId="64462132" sldId="457"/>
        </pc:sldMkLst>
        <pc:spChg chg="mod">
          <ac:chgData name="Manish Sharma" userId="97d895ad-8d7a-4884-8c18-743afd731b6f" providerId="ADAL" clId="{98D6BF9E-951A-44E3-9068-B5D71577D20F}" dt="2020-10-16T20:44:02.571" v="18509" actId="6549"/>
          <ac:spMkLst>
            <pc:docMk/>
            <pc:sldMk cId="64462132" sldId="457"/>
            <ac:spMk id="2" creationId="{00000000-0000-0000-0000-000000000000}"/>
          </ac:spMkLst>
        </pc:spChg>
        <pc:spChg chg="del">
          <ac:chgData name="Manish Sharma" userId="97d895ad-8d7a-4884-8c18-743afd731b6f" providerId="ADAL" clId="{98D6BF9E-951A-44E3-9068-B5D71577D20F}" dt="2020-10-15T15:05:01.827" v="11049" actId="478"/>
          <ac:spMkLst>
            <pc:docMk/>
            <pc:sldMk cId="64462132" sldId="457"/>
            <ac:spMk id="3" creationId="{BB9784F5-15C3-4830-905E-2AF1877D99A6}"/>
          </ac:spMkLst>
        </pc:spChg>
        <pc:spChg chg="mod">
          <ac:chgData name="Manish Sharma" userId="97d895ad-8d7a-4884-8c18-743afd731b6f" providerId="ADAL" clId="{98D6BF9E-951A-44E3-9068-B5D71577D20F}" dt="2020-10-15T15:04:49.294" v="11048" actId="20577"/>
          <ac:spMkLst>
            <pc:docMk/>
            <pc:sldMk cId="64462132" sldId="457"/>
            <ac:spMk id="7" creationId="{B633BA49-44C2-41E0-8A5F-10881248D9C0}"/>
          </ac:spMkLst>
        </pc:spChg>
        <pc:spChg chg="mod">
          <ac:chgData name="Manish Sharma" userId="97d895ad-8d7a-4884-8c18-743afd731b6f" providerId="ADAL" clId="{98D6BF9E-951A-44E3-9068-B5D71577D20F}" dt="2020-10-16T20:44:06.230" v="18510" actId="6549"/>
          <ac:spMkLst>
            <pc:docMk/>
            <pc:sldMk cId="64462132" sldId="457"/>
            <ac:spMk id="13" creationId="{00000000-0000-0000-0000-000000000000}"/>
          </ac:spMkLst>
        </pc:spChg>
        <pc:spChg chg="del">
          <ac:chgData name="Manish Sharma" userId="97d895ad-8d7a-4884-8c18-743afd731b6f" providerId="ADAL" clId="{98D6BF9E-951A-44E3-9068-B5D71577D20F}" dt="2020-10-16T20:40:02.099" v="18422" actId="478"/>
          <ac:spMkLst>
            <pc:docMk/>
            <pc:sldMk cId="64462132" sldId="457"/>
            <ac:spMk id="21" creationId="{00000000-0000-0000-0000-000000000000}"/>
          </ac:spMkLst>
        </pc:spChg>
        <pc:graphicFrameChg chg="mod modGraphic">
          <ac:chgData name="Manish Sharma" userId="97d895ad-8d7a-4884-8c18-743afd731b6f" providerId="ADAL" clId="{98D6BF9E-951A-44E3-9068-B5D71577D20F}" dt="2020-10-15T05:14:01.056" v="9590"/>
          <ac:graphicFrameMkLst>
            <pc:docMk/>
            <pc:sldMk cId="64462132" sldId="457"/>
            <ac:graphicFrameMk id="20" creationId="{C706CF1C-16BE-40AB-AD10-3D3B1B2FD25F}"/>
          </ac:graphicFrameMkLst>
        </pc:graphicFrameChg>
        <pc:graphicFrameChg chg="modGraphic">
          <ac:chgData name="Manish Sharma" userId="97d895ad-8d7a-4884-8c18-743afd731b6f" providerId="ADAL" clId="{98D6BF9E-951A-44E3-9068-B5D71577D20F}" dt="2020-10-15T05:12:59.587" v="9584" actId="20577"/>
          <ac:graphicFrameMkLst>
            <pc:docMk/>
            <pc:sldMk cId="64462132" sldId="457"/>
            <ac:graphicFrameMk id="22" creationId="{25ADC611-E4BA-4F2F-9BF9-A6228171DDE2}"/>
          </ac:graphicFrameMkLst>
        </pc:graphicFrameChg>
        <pc:graphicFrameChg chg="mod modGraphic">
          <ac:chgData name="Manish Sharma" userId="97d895ad-8d7a-4884-8c18-743afd731b6f" providerId="ADAL" clId="{98D6BF9E-951A-44E3-9068-B5D71577D20F}" dt="2020-10-15T05:25:21.527" v="9646" actId="20577"/>
          <ac:graphicFrameMkLst>
            <pc:docMk/>
            <pc:sldMk cId="64462132" sldId="457"/>
            <ac:graphicFrameMk id="23" creationId="{00000000-0000-0000-0000-000000000000}"/>
          </ac:graphicFrameMkLst>
        </pc:graphicFrameChg>
        <pc:graphicFrameChg chg="mod modGraphic">
          <ac:chgData name="Manish Sharma" userId="97d895ad-8d7a-4884-8c18-743afd731b6f" providerId="ADAL" clId="{98D6BF9E-951A-44E3-9068-B5D71577D20F}" dt="2020-10-15T05:14:13.743" v="9594" actId="404"/>
          <ac:graphicFrameMkLst>
            <pc:docMk/>
            <pc:sldMk cId="64462132" sldId="457"/>
            <ac:graphicFrameMk id="26" creationId="{A088A704-3458-4A85-A10E-CBFB205EDF51}"/>
          </ac:graphicFrameMkLst>
        </pc:graphicFrameChg>
        <pc:graphicFrameChg chg="del">
          <ac:chgData name="Manish Sharma" userId="97d895ad-8d7a-4884-8c18-743afd731b6f" providerId="ADAL" clId="{98D6BF9E-951A-44E3-9068-B5D71577D20F}" dt="2020-10-15T05:09:55.610" v="9520" actId="478"/>
          <ac:graphicFrameMkLst>
            <pc:docMk/>
            <pc:sldMk cId="64462132" sldId="457"/>
            <ac:graphicFrameMk id="27" creationId="{CBFFA360-562E-4DD4-AA89-B1445004AE0C}"/>
          </ac:graphicFrameMkLst>
        </pc:graphicFrameChg>
        <pc:graphicFrameChg chg="add mod">
          <ac:chgData name="Manish Sharma" userId="97d895ad-8d7a-4884-8c18-743afd731b6f" providerId="ADAL" clId="{98D6BF9E-951A-44E3-9068-B5D71577D20F}" dt="2020-10-15T05:10:02.584" v="9522"/>
          <ac:graphicFrameMkLst>
            <pc:docMk/>
            <pc:sldMk cId="64462132" sldId="457"/>
            <ac:graphicFrameMk id="28" creationId="{3137E913-97FC-4CB0-AC32-25E5E3D62089}"/>
          </ac:graphicFrameMkLst>
        </pc:graphicFrameChg>
        <pc:graphicFrameChg chg="add mod">
          <ac:chgData name="Manish Sharma" userId="97d895ad-8d7a-4884-8c18-743afd731b6f" providerId="ADAL" clId="{98D6BF9E-951A-44E3-9068-B5D71577D20F}" dt="2020-10-15T05:10:56.964" v="9537"/>
          <ac:graphicFrameMkLst>
            <pc:docMk/>
            <pc:sldMk cId="64462132" sldId="457"/>
            <ac:graphicFrameMk id="29" creationId="{E80D9155-CE0A-469D-94E9-1BA11A85EF1C}"/>
          </ac:graphicFrameMkLst>
        </pc:graphicFrameChg>
        <pc:picChg chg="del">
          <ac:chgData name="Manish Sharma" userId="97d895ad-8d7a-4884-8c18-743afd731b6f" providerId="ADAL" clId="{98D6BF9E-951A-44E3-9068-B5D71577D20F}" dt="2020-10-16T19:48:29.129" v="18217" actId="478"/>
          <ac:picMkLst>
            <pc:docMk/>
            <pc:sldMk cId="64462132" sldId="457"/>
            <ac:picMk id="17" creationId="{00000000-0000-0000-0000-000000000000}"/>
          </ac:picMkLst>
        </pc:picChg>
      </pc:sldChg>
      <pc:sldChg chg="addSp delSp modSp mod">
        <pc:chgData name="Manish Sharma" userId="97d895ad-8d7a-4884-8c18-743afd731b6f" providerId="ADAL" clId="{98D6BF9E-951A-44E3-9068-B5D71577D20F}" dt="2020-10-16T20:40:17.897" v="18439" actId="20577"/>
        <pc:sldMkLst>
          <pc:docMk/>
          <pc:sldMk cId="1282065873" sldId="458"/>
        </pc:sldMkLst>
        <pc:spChg chg="mod">
          <ac:chgData name="Manish Sharma" userId="97d895ad-8d7a-4884-8c18-743afd731b6f" providerId="ADAL" clId="{98D6BF9E-951A-44E3-9068-B5D71577D20F}" dt="2020-10-15T20:51:02.994" v="13916" actId="20577"/>
          <ac:spMkLst>
            <pc:docMk/>
            <pc:sldMk cId="1282065873" sldId="458"/>
            <ac:spMk id="2" creationId="{00000000-0000-0000-0000-000000000000}"/>
          </ac:spMkLst>
        </pc:spChg>
        <pc:spChg chg="del">
          <ac:chgData name="Manish Sharma" userId="97d895ad-8d7a-4884-8c18-743afd731b6f" providerId="ADAL" clId="{98D6BF9E-951A-44E3-9068-B5D71577D20F}" dt="2020-10-15T20:50:57.503" v="13909" actId="478"/>
          <ac:spMkLst>
            <pc:docMk/>
            <pc:sldMk cId="1282065873" sldId="458"/>
            <ac:spMk id="4" creationId="{5FF15291-89A3-49FF-B7A8-E73B1C7FB491}"/>
          </ac:spMkLst>
        </pc:spChg>
        <pc:spChg chg="mod">
          <ac:chgData name="Manish Sharma" userId="97d895ad-8d7a-4884-8c18-743afd731b6f" providerId="ADAL" clId="{98D6BF9E-951A-44E3-9068-B5D71577D20F}" dt="2020-10-16T20:40:17.897" v="18439" actId="20577"/>
          <ac:spMkLst>
            <pc:docMk/>
            <pc:sldMk cId="1282065873" sldId="458"/>
            <ac:spMk id="19" creationId="{8D9A2195-E46A-4A5C-BD11-87B61401C498}"/>
          </ac:spMkLst>
        </pc:spChg>
        <pc:spChg chg="mod">
          <ac:chgData name="Manish Sharma" userId="97d895ad-8d7a-4884-8c18-743afd731b6f" providerId="ADAL" clId="{98D6BF9E-951A-44E3-9068-B5D71577D20F}" dt="2020-10-15T20:50:50.920" v="13908" actId="14100"/>
          <ac:spMkLst>
            <pc:docMk/>
            <pc:sldMk cId="1282065873" sldId="458"/>
            <ac:spMk id="37" creationId="{325EF9B9-84A6-4E51-9D65-2C32AE911138}"/>
          </ac:spMkLst>
        </pc:spChg>
        <pc:spChg chg="mod">
          <ac:chgData name="Manish Sharma" userId="97d895ad-8d7a-4884-8c18-743afd731b6f" providerId="ADAL" clId="{98D6BF9E-951A-44E3-9068-B5D71577D20F}" dt="2020-10-15T20:50:46.721" v="13907" actId="14100"/>
          <ac:spMkLst>
            <pc:docMk/>
            <pc:sldMk cId="1282065873" sldId="458"/>
            <ac:spMk id="38" creationId="{E5B73010-784B-48E2-B39A-84AD18ABCE1F}"/>
          </ac:spMkLst>
        </pc:spChg>
        <pc:spChg chg="mod">
          <ac:chgData name="Manish Sharma" userId="97d895ad-8d7a-4884-8c18-743afd731b6f" providerId="ADAL" clId="{98D6BF9E-951A-44E3-9068-B5D71577D20F}" dt="2020-10-15T20:51:21.117" v="13921" actId="14100"/>
          <ac:spMkLst>
            <pc:docMk/>
            <pc:sldMk cId="1282065873" sldId="458"/>
            <ac:spMk id="41" creationId="{45964E5A-BE5E-45C2-8E43-74F4B9DD344A}"/>
          </ac:spMkLst>
        </pc:spChg>
        <pc:spChg chg="del">
          <ac:chgData name="Manish Sharma" userId="97d895ad-8d7a-4884-8c18-743afd731b6f" providerId="ADAL" clId="{98D6BF9E-951A-44E3-9068-B5D71577D20F}" dt="2020-10-16T20:34:08.272" v="18401" actId="478"/>
          <ac:spMkLst>
            <pc:docMk/>
            <pc:sldMk cId="1282065873" sldId="458"/>
            <ac:spMk id="43" creationId="{00000000-0000-0000-0000-000000000000}"/>
          </ac:spMkLst>
        </pc:spChg>
        <pc:spChg chg="mod">
          <ac:chgData name="Manish Sharma" userId="97d895ad-8d7a-4884-8c18-743afd731b6f" providerId="ADAL" clId="{98D6BF9E-951A-44E3-9068-B5D71577D20F}" dt="2020-10-15T20:51:21.117" v="13921" actId="14100"/>
          <ac:spMkLst>
            <pc:docMk/>
            <pc:sldMk cId="1282065873" sldId="458"/>
            <ac:spMk id="44" creationId="{51E3BAEC-16CE-4528-B1C9-357E4FA66480}"/>
          </ac:spMkLst>
        </pc:spChg>
        <pc:spChg chg="mod">
          <ac:chgData name="Manish Sharma" userId="97d895ad-8d7a-4884-8c18-743afd731b6f" providerId="ADAL" clId="{98D6BF9E-951A-44E3-9068-B5D71577D20F}" dt="2020-10-15T20:51:21.117" v="13921" actId="14100"/>
          <ac:spMkLst>
            <pc:docMk/>
            <pc:sldMk cId="1282065873" sldId="458"/>
            <ac:spMk id="45" creationId="{EBCBCBD1-E21B-4393-8D88-21097657E3FB}"/>
          </ac:spMkLst>
        </pc:spChg>
        <pc:spChg chg="mod">
          <ac:chgData name="Manish Sharma" userId="97d895ad-8d7a-4884-8c18-743afd731b6f" providerId="ADAL" clId="{98D6BF9E-951A-44E3-9068-B5D71577D20F}" dt="2020-10-15T20:51:21.117" v="13921" actId="14100"/>
          <ac:spMkLst>
            <pc:docMk/>
            <pc:sldMk cId="1282065873" sldId="458"/>
            <ac:spMk id="46" creationId="{706A9863-1AD8-497E-8475-4F9C3C938702}"/>
          </ac:spMkLst>
        </pc:spChg>
        <pc:spChg chg="mod">
          <ac:chgData name="Manish Sharma" userId="97d895ad-8d7a-4884-8c18-743afd731b6f" providerId="ADAL" clId="{98D6BF9E-951A-44E3-9068-B5D71577D20F}" dt="2020-10-15T20:51:21.117" v="13921" actId="14100"/>
          <ac:spMkLst>
            <pc:docMk/>
            <pc:sldMk cId="1282065873" sldId="458"/>
            <ac:spMk id="47" creationId="{6928B57C-8C22-45F2-AE7C-2AFDD3C368DB}"/>
          </ac:spMkLst>
        </pc:spChg>
        <pc:spChg chg="mod">
          <ac:chgData name="Manish Sharma" userId="97d895ad-8d7a-4884-8c18-743afd731b6f" providerId="ADAL" clId="{98D6BF9E-951A-44E3-9068-B5D71577D20F}" dt="2020-10-15T20:52:49.485" v="13964" actId="1037"/>
          <ac:spMkLst>
            <pc:docMk/>
            <pc:sldMk cId="1282065873" sldId="458"/>
            <ac:spMk id="48" creationId="{550B5241-A055-4A97-AFA6-0C804F2553E0}"/>
          </ac:spMkLst>
        </pc:spChg>
        <pc:spChg chg="mod">
          <ac:chgData name="Manish Sharma" userId="97d895ad-8d7a-4884-8c18-743afd731b6f" providerId="ADAL" clId="{98D6BF9E-951A-44E3-9068-B5D71577D20F}" dt="2020-10-15T21:00:21.599" v="14832" actId="20577"/>
          <ac:spMkLst>
            <pc:docMk/>
            <pc:sldMk cId="1282065873" sldId="458"/>
            <ac:spMk id="80" creationId="{6F5A7825-C260-4831-9B48-001AB9DF90D5}"/>
          </ac:spMkLst>
        </pc:spChg>
        <pc:grpChg chg="mod">
          <ac:chgData name="Manish Sharma" userId="97d895ad-8d7a-4884-8c18-743afd731b6f" providerId="ADAL" clId="{98D6BF9E-951A-44E3-9068-B5D71577D20F}" dt="2020-10-15T20:51:21.117" v="13921" actId="14100"/>
          <ac:grpSpMkLst>
            <pc:docMk/>
            <pc:sldMk cId="1282065873" sldId="458"/>
            <ac:grpSpMk id="12" creationId="{2FFA7AA6-EF1B-47F4-83B4-7ADD97B76433}"/>
          </ac:grpSpMkLst>
        </pc:grpChg>
        <pc:grpChg chg="mod">
          <ac:chgData name="Manish Sharma" userId="97d895ad-8d7a-4884-8c18-743afd731b6f" providerId="ADAL" clId="{98D6BF9E-951A-44E3-9068-B5D71577D20F}" dt="2020-10-15T20:51:21.117" v="13921" actId="14100"/>
          <ac:grpSpMkLst>
            <pc:docMk/>
            <pc:sldMk cId="1282065873" sldId="458"/>
            <ac:grpSpMk id="42" creationId="{88DAE97C-633A-4A00-9D3B-FF12DDC9AD78}"/>
          </ac:grpSpMkLst>
        </pc:grpChg>
        <pc:picChg chg="del">
          <ac:chgData name="Manish Sharma" userId="97d895ad-8d7a-4884-8c18-743afd731b6f" providerId="ADAL" clId="{98D6BF9E-951A-44E3-9068-B5D71577D20F}" dt="2020-10-16T19:48:31.966" v="18218" actId="478"/>
          <ac:picMkLst>
            <pc:docMk/>
            <pc:sldMk cId="1282065873" sldId="458"/>
            <ac:picMk id="3" creationId="{00000000-0000-0000-0000-000000000000}"/>
          </ac:picMkLst>
        </pc:picChg>
        <pc:picChg chg="add mod ord">
          <ac:chgData name="Manish Sharma" userId="97d895ad-8d7a-4884-8c18-743afd731b6f" providerId="ADAL" clId="{98D6BF9E-951A-44E3-9068-B5D71577D20F}" dt="2020-10-15T20:49:39.400" v="13904" actId="167"/>
          <ac:picMkLst>
            <pc:docMk/>
            <pc:sldMk cId="1282065873" sldId="458"/>
            <ac:picMk id="6" creationId="{0FE25C4E-ECDB-44A2-89F5-716F3AF1AC25}"/>
          </ac:picMkLst>
        </pc:picChg>
        <pc:picChg chg="del">
          <ac:chgData name="Manish Sharma" userId="97d895ad-8d7a-4884-8c18-743afd731b6f" providerId="ADAL" clId="{98D6BF9E-951A-44E3-9068-B5D71577D20F}" dt="2020-10-15T20:49:24.325" v="13898" actId="478"/>
          <ac:picMkLst>
            <pc:docMk/>
            <pc:sldMk cId="1282065873" sldId="458"/>
            <ac:picMk id="7" creationId="{5E2C39BF-6CC7-4B11-9535-FA8F9662F1CF}"/>
          </ac:picMkLst>
        </pc:picChg>
      </pc:sldChg>
      <pc:sldChg chg="addSp delSp modSp mod">
        <pc:chgData name="Manish Sharma" userId="97d895ad-8d7a-4884-8c18-743afd731b6f" providerId="ADAL" clId="{98D6BF9E-951A-44E3-9068-B5D71577D20F}" dt="2020-10-16T20:40:24.713" v="18440" actId="20577"/>
        <pc:sldMkLst>
          <pc:docMk/>
          <pc:sldMk cId="2955311574" sldId="459"/>
        </pc:sldMkLst>
        <pc:spChg chg="mod">
          <ac:chgData name="Manish Sharma" userId="97d895ad-8d7a-4884-8c18-743afd731b6f" providerId="ADAL" clId="{98D6BF9E-951A-44E3-9068-B5D71577D20F}" dt="2020-10-16T02:19:06.691" v="14844" actId="20577"/>
          <ac:spMkLst>
            <pc:docMk/>
            <pc:sldMk cId="2955311574" sldId="459"/>
            <ac:spMk id="2" creationId="{00000000-0000-0000-0000-000000000000}"/>
          </ac:spMkLst>
        </pc:spChg>
        <pc:spChg chg="del">
          <ac:chgData name="Manish Sharma" userId="97d895ad-8d7a-4884-8c18-743afd731b6f" providerId="ADAL" clId="{98D6BF9E-951A-44E3-9068-B5D71577D20F}" dt="2020-10-16T02:18:57.780" v="14837" actId="478"/>
          <ac:spMkLst>
            <pc:docMk/>
            <pc:sldMk cId="2955311574" sldId="459"/>
            <ac:spMk id="4" creationId="{749D80E3-D7CD-4BDE-B48C-FBA3280FC51F}"/>
          </ac:spMkLst>
        </pc:spChg>
        <pc:spChg chg="add mod">
          <ac:chgData name="Manish Sharma" userId="97d895ad-8d7a-4884-8c18-743afd731b6f" providerId="ADAL" clId="{98D6BF9E-951A-44E3-9068-B5D71577D20F}" dt="2020-10-16T02:20:58.632" v="14866" actId="207"/>
          <ac:spMkLst>
            <pc:docMk/>
            <pc:sldMk cId="2955311574" sldId="459"/>
            <ac:spMk id="7" creationId="{A7D82501-EBA0-44AF-9E6D-64CA4968C735}"/>
          </ac:spMkLst>
        </pc:spChg>
        <pc:spChg chg="add mod">
          <ac:chgData name="Manish Sharma" userId="97d895ad-8d7a-4884-8c18-743afd731b6f" providerId="ADAL" clId="{98D6BF9E-951A-44E3-9068-B5D71577D20F}" dt="2020-10-16T02:21:15.565" v="14870" actId="14100"/>
          <ac:spMkLst>
            <pc:docMk/>
            <pc:sldMk cId="2955311574" sldId="459"/>
            <ac:spMk id="8" creationId="{ACC067A6-FC09-44BB-A2C3-A15D97746C13}"/>
          </ac:spMkLst>
        </pc:spChg>
        <pc:spChg chg="del mod">
          <ac:chgData name="Manish Sharma" userId="97d895ad-8d7a-4884-8c18-743afd731b6f" providerId="ADAL" clId="{98D6BF9E-951A-44E3-9068-B5D71577D20F}" dt="2020-10-16T02:20:26.956" v="14856" actId="478"/>
          <ac:spMkLst>
            <pc:docMk/>
            <pc:sldMk cId="2955311574" sldId="459"/>
            <ac:spMk id="9" creationId="{22047666-D773-4F74-8C4D-6433AFD0A8C5}"/>
          </ac:spMkLst>
        </pc:spChg>
        <pc:spChg chg="mod">
          <ac:chgData name="Manish Sharma" userId="97d895ad-8d7a-4884-8c18-743afd731b6f" providerId="ADAL" clId="{98D6BF9E-951A-44E3-9068-B5D71577D20F}" dt="2020-10-16T02:20:50.256" v="14865" actId="14100"/>
          <ac:spMkLst>
            <pc:docMk/>
            <pc:sldMk cId="2955311574" sldId="459"/>
            <ac:spMk id="13" creationId="{C140A395-9ADD-4ED8-BC65-6A8E692F9C99}"/>
          </ac:spMkLst>
        </pc:spChg>
        <pc:spChg chg="mod">
          <ac:chgData name="Manish Sharma" userId="97d895ad-8d7a-4884-8c18-743afd731b6f" providerId="ADAL" clId="{98D6BF9E-951A-44E3-9068-B5D71577D20F}" dt="2020-10-16T02:31:01.882" v="15700" actId="20577"/>
          <ac:spMkLst>
            <pc:docMk/>
            <pc:sldMk cId="2955311574" sldId="459"/>
            <ac:spMk id="15" creationId="{7F764852-256F-49DF-B500-7AB466E1A418}"/>
          </ac:spMkLst>
        </pc:spChg>
        <pc:spChg chg="mod">
          <ac:chgData name="Manish Sharma" userId="97d895ad-8d7a-4884-8c18-743afd731b6f" providerId="ADAL" clId="{98D6BF9E-951A-44E3-9068-B5D71577D20F}" dt="2020-10-16T20:40:24.713" v="18440" actId="20577"/>
          <ac:spMkLst>
            <pc:docMk/>
            <pc:sldMk cId="2955311574" sldId="459"/>
            <ac:spMk id="19" creationId="{A5637282-18F0-4AB5-8A7A-D839BEAE8C8E}"/>
          </ac:spMkLst>
        </pc:spChg>
        <pc:spChg chg="mod">
          <ac:chgData name="Manish Sharma" userId="97d895ad-8d7a-4884-8c18-743afd731b6f" providerId="ADAL" clId="{98D6BF9E-951A-44E3-9068-B5D71577D20F}" dt="2020-10-16T02:28:40.286" v="15538" actId="208"/>
          <ac:spMkLst>
            <pc:docMk/>
            <pc:sldMk cId="2955311574" sldId="459"/>
            <ac:spMk id="26" creationId="{57104545-F8E9-434B-A0B6-77A034D113B9}"/>
          </ac:spMkLst>
        </pc:spChg>
        <pc:spChg chg="mod">
          <ac:chgData name="Manish Sharma" userId="97d895ad-8d7a-4884-8c18-743afd731b6f" providerId="ADAL" clId="{98D6BF9E-951A-44E3-9068-B5D71577D20F}" dt="2020-10-16T02:28:47.282" v="15539" actId="207"/>
          <ac:spMkLst>
            <pc:docMk/>
            <pc:sldMk cId="2955311574" sldId="459"/>
            <ac:spMk id="28" creationId="{DE1FCFDF-848D-4479-B9CD-70D6D0FD7B86}"/>
          </ac:spMkLst>
        </pc:spChg>
        <pc:spChg chg="mod">
          <ac:chgData name="Manish Sharma" userId="97d895ad-8d7a-4884-8c18-743afd731b6f" providerId="ADAL" clId="{98D6BF9E-951A-44E3-9068-B5D71577D20F}" dt="2020-10-16T02:28:28.777" v="15537" actId="14100"/>
          <ac:spMkLst>
            <pc:docMk/>
            <pc:sldMk cId="2955311574" sldId="459"/>
            <ac:spMk id="30" creationId="{5346693D-031F-47AA-B5A4-A8133A9642B0}"/>
          </ac:spMkLst>
        </pc:spChg>
        <pc:spChg chg="del">
          <ac:chgData name="Manish Sharma" userId="97d895ad-8d7a-4884-8c18-743afd731b6f" providerId="ADAL" clId="{98D6BF9E-951A-44E3-9068-B5D71577D20F}" dt="2020-10-16T20:34:11.723" v="18402" actId="478"/>
          <ac:spMkLst>
            <pc:docMk/>
            <pc:sldMk cId="2955311574" sldId="459"/>
            <ac:spMk id="43" creationId="{00000000-0000-0000-0000-000000000000}"/>
          </ac:spMkLst>
        </pc:spChg>
        <pc:spChg chg="mod">
          <ac:chgData name="Manish Sharma" userId="97d895ad-8d7a-4884-8c18-743afd731b6f" providerId="ADAL" clId="{98D6BF9E-951A-44E3-9068-B5D71577D20F}" dt="2020-10-16T02:21:35.055" v="14920" actId="1038"/>
          <ac:spMkLst>
            <pc:docMk/>
            <pc:sldMk cId="2955311574" sldId="459"/>
            <ac:spMk id="49" creationId="{4593EDF8-B17E-4F23-96F2-7B57265E27C7}"/>
          </ac:spMkLst>
        </pc:spChg>
        <pc:graphicFrameChg chg="modGraphic">
          <ac:chgData name="Manish Sharma" userId="97d895ad-8d7a-4884-8c18-743afd731b6f" providerId="ADAL" clId="{98D6BF9E-951A-44E3-9068-B5D71577D20F}" dt="2020-10-16T02:24:16.851" v="14956" actId="20577"/>
          <ac:graphicFrameMkLst>
            <pc:docMk/>
            <pc:sldMk cId="2955311574" sldId="459"/>
            <ac:graphicFrameMk id="10" creationId="{96D55B45-114A-47EF-B79F-982176EA292D}"/>
          </ac:graphicFrameMkLst>
        </pc:graphicFrameChg>
        <pc:graphicFrameChg chg="mod">
          <ac:chgData name="Manish Sharma" userId="97d895ad-8d7a-4884-8c18-743afd731b6f" providerId="ADAL" clId="{98D6BF9E-951A-44E3-9068-B5D71577D20F}" dt="2020-10-16T02:24:12.858" v="14955" actId="167"/>
          <ac:graphicFrameMkLst>
            <pc:docMk/>
            <pc:sldMk cId="2955311574" sldId="459"/>
            <ac:graphicFrameMk id="56" creationId="{D7C7FD07-6724-4466-92ED-4D41EF703F16}"/>
          </ac:graphicFrameMkLst>
        </pc:graphicFrameChg>
        <pc:picChg chg="del">
          <ac:chgData name="Manish Sharma" userId="97d895ad-8d7a-4884-8c18-743afd731b6f" providerId="ADAL" clId="{98D6BF9E-951A-44E3-9068-B5D71577D20F}" dt="2020-10-16T19:48:34.630" v="18219" actId="478"/>
          <ac:picMkLst>
            <pc:docMk/>
            <pc:sldMk cId="2955311574" sldId="459"/>
            <ac:picMk id="3" creationId="{00000000-0000-0000-0000-000000000000}"/>
          </ac:picMkLst>
        </pc:picChg>
        <pc:picChg chg="add mod ord">
          <ac:chgData name="Manish Sharma" userId="97d895ad-8d7a-4884-8c18-743afd731b6f" providerId="ADAL" clId="{98D6BF9E-951A-44E3-9068-B5D71577D20F}" dt="2020-10-16T02:20:16.147" v="14852" actId="167"/>
          <ac:picMkLst>
            <pc:docMk/>
            <pc:sldMk cId="2955311574" sldId="459"/>
            <ac:picMk id="6" creationId="{CFC1C794-9C67-4F19-B10E-26ED10BC2F64}"/>
          </ac:picMkLst>
        </pc:picChg>
        <pc:picChg chg="del">
          <ac:chgData name="Manish Sharma" userId="97d895ad-8d7a-4884-8c18-743afd731b6f" providerId="ADAL" clId="{98D6BF9E-951A-44E3-9068-B5D71577D20F}" dt="2020-10-16T02:19:12.156" v="14845" actId="478"/>
          <ac:picMkLst>
            <pc:docMk/>
            <pc:sldMk cId="2955311574" sldId="459"/>
            <ac:picMk id="11" creationId="{59816C4E-B122-48CB-A7B2-D04AE1CC3CAB}"/>
          </ac:picMkLst>
        </pc:picChg>
      </pc:sldChg>
      <pc:sldChg chg="delSp modSp mod">
        <pc:chgData name="Manish Sharma" userId="97d895ad-8d7a-4884-8c18-743afd731b6f" providerId="ADAL" clId="{98D6BF9E-951A-44E3-9068-B5D71577D20F}" dt="2020-10-16T20:34:21.475" v="18405" actId="478"/>
        <pc:sldMkLst>
          <pc:docMk/>
          <pc:sldMk cId="1606788452" sldId="463"/>
        </pc:sldMkLst>
        <pc:spChg chg="mod">
          <ac:chgData name="Manish Sharma" userId="97d895ad-8d7a-4884-8c18-743afd731b6f" providerId="ADAL" clId="{98D6BF9E-951A-44E3-9068-B5D71577D20F}" dt="2020-10-15T17:00:06.685" v="12154" actId="20577"/>
          <ac:spMkLst>
            <pc:docMk/>
            <pc:sldMk cId="1606788452" sldId="463"/>
            <ac:spMk id="2" creationId="{00000000-0000-0000-0000-000000000000}"/>
          </ac:spMkLst>
        </pc:spChg>
        <pc:spChg chg="mod">
          <ac:chgData name="Manish Sharma" userId="97d895ad-8d7a-4884-8c18-743afd731b6f" providerId="ADAL" clId="{98D6BF9E-951A-44E3-9068-B5D71577D20F}" dt="2020-10-16T19:59:25.763" v="18278" actId="20577"/>
          <ac:spMkLst>
            <pc:docMk/>
            <pc:sldMk cId="1606788452" sldId="463"/>
            <ac:spMk id="5" creationId="{57DA03D2-BDDD-4B29-A79F-3BCEC511705B}"/>
          </ac:spMkLst>
        </pc:spChg>
        <pc:spChg chg="del">
          <ac:chgData name="Manish Sharma" userId="97d895ad-8d7a-4884-8c18-743afd731b6f" providerId="ADAL" clId="{98D6BF9E-951A-44E3-9068-B5D71577D20F}" dt="2020-10-15T16:58:15.291" v="12062" actId="478"/>
          <ac:spMkLst>
            <pc:docMk/>
            <pc:sldMk cId="1606788452" sldId="463"/>
            <ac:spMk id="6" creationId="{230DAD2C-050C-4F79-BAB0-0DAD513C78D8}"/>
          </ac:spMkLst>
        </pc:spChg>
        <pc:spChg chg="mod">
          <ac:chgData name="Manish Sharma" userId="97d895ad-8d7a-4884-8c18-743afd731b6f" providerId="ADAL" clId="{98D6BF9E-951A-44E3-9068-B5D71577D20F}" dt="2020-10-16T20:17:58.965" v="18337" actId="20577"/>
          <ac:spMkLst>
            <pc:docMk/>
            <pc:sldMk cId="1606788452" sldId="463"/>
            <ac:spMk id="14" creationId="{3ADA01F1-3B4B-4FAA-84E6-17ACC70140F8}"/>
          </ac:spMkLst>
        </pc:spChg>
        <pc:spChg chg="mod">
          <ac:chgData name="Manish Sharma" userId="97d895ad-8d7a-4884-8c18-743afd731b6f" providerId="ADAL" clId="{98D6BF9E-951A-44E3-9068-B5D71577D20F}" dt="2020-10-15T16:59:20.161" v="12139"/>
          <ac:spMkLst>
            <pc:docMk/>
            <pc:sldMk cId="1606788452" sldId="463"/>
            <ac:spMk id="25" creationId="{2A68DE28-217C-4D58-BA92-1AC7776A922E}"/>
          </ac:spMkLst>
        </pc:spChg>
        <pc:spChg chg="mod">
          <ac:chgData name="Manish Sharma" userId="97d895ad-8d7a-4884-8c18-743afd731b6f" providerId="ADAL" clId="{98D6BF9E-951A-44E3-9068-B5D71577D20F}" dt="2020-10-15T16:59:48.871" v="12141"/>
          <ac:spMkLst>
            <pc:docMk/>
            <pc:sldMk cId="1606788452" sldId="463"/>
            <ac:spMk id="27" creationId="{813FD8F9-6E60-45F9-A8B5-18176FF3E434}"/>
          </ac:spMkLst>
        </pc:spChg>
        <pc:spChg chg="mod">
          <ac:chgData name="Manish Sharma" userId="97d895ad-8d7a-4884-8c18-743afd731b6f" providerId="ADAL" clId="{98D6BF9E-951A-44E3-9068-B5D71577D20F}" dt="2020-10-15T16:59:33.199" v="12140"/>
          <ac:spMkLst>
            <pc:docMk/>
            <pc:sldMk cId="1606788452" sldId="463"/>
            <ac:spMk id="29" creationId="{72CB840D-447D-492C-A14A-718942E7B821}"/>
          </ac:spMkLst>
        </pc:spChg>
        <pc:spChg chg="mod">
          <ac:chgData name="Manish Sharma" userId="97d895ad-8d7a-4884-8c18-743afd731b6f" providerId="ADAL" clId="{98D6BF9E-951A-44E3-9068-B5D71577D20F}" dt="2020-10-16T20:17:04.967" v="18330" actId="20577"/>
          <ac:spMkLst>
            <pc:docMk/>
            <pc:sldMk cId="1606788452" sldId="463"/>
            <ac:spMk id="56" creationId="{3280F2A9-5208-4D26-B8F6-7B5775F8A555}"/>
          </ac:spMkLst>
        </pc:spChg>
        <pc:spChg chg="mod">
          <ac:chgData name="Manish Sharma" userId="97d895ad-8d7a-4884-8c18-743afd731b6f" providerId="ADAL" clId="{98D6BF9E-951A-44E3-9068-B5D71577D20F}" dt="2020-10-16T19:49:02.854" v="18228" actId="1076"/>
          <ac:spMkLst>
            <pc:docMk/>
            <pc:sldMk cId="1606788452" sldId="463"/>
            <ac:spMk id="59" creationId="{4BBE2AF7-7872-47ED-A60A-F22539E34570}"/>
          </ac:spMkLst>
        </pc:spChg>
        <pc:spChg chg="del">
          <ac:chgData name="Manish Sharma" userId="97d895ad-8d7a-4884-8c18-743afd731b6f" providerId="ADAL" clId="{98D6BF9E-951A-44E3-9068-B5D71577D20F}" dt="2020-10-16T20:34:21.475" v="18405" actId="478"/>
          <ac:spMkLst>
            <pc:docMk/>
            <pc:sldMk cId="1606788452" sldId="463"/>
            <ac:spMk id="68" creationId="{00000000-0000-0000-0000-000000000000}"/>
          </ac:spMkLst>
        </pc:spChg>
        <pc:graphicFrameChg chg="mod modGraphic">
          <ac:chgData name="Manish Sharma" userId="97d895ad-8d7a-4884-8c18-743afd731b6f" providerId="ADAL" clId="{98D6BF9E-951A-44E3-9068-B5D71577D20F}" dt="2020-10-16T20:10:34.295" v="18292"/>
          <ac:graphicFrameMkLst>
            <pc:docMk/>
            <pc:sldMk cId="1606788452" sldId="463"/>
            <ac:graphicFrameMk id="53" creationId="{E5833FD7-3504-4AE9-9C58-79A4D525D16B}"/>
          </ac:graphicFrameMkLst>
        </pc:graphicFrameChg>
        <pc:graphicFrameChg chg="mod modGraphic">
          <ac:chgData name="Manish Sharma" userId="97d895ad-8d7a-4884-8c18-743afd731b6f" providerId="ADAL" clId="{98D6BF9E-951A-44E3-9068-B5D71577D20F}" dt="2020-10-16T19:49:02.854" v="18228" actId="1076"/>
          <ac:graphicFrameMkLst>
            <pc:docMk/>
            <pc:sldMk cId="1606788452" sldId="463"/>
            <ac:graphicFrameMk id="55" creationId="{A7A9C0A9-652B-44C1-AFD0-CA965CA34DBB}"/>
          </ac:graphicFrameMkLst>
        </pc:graphicFrameChg>
        <pc:picChg chg="del">
          <ac:chgData name="Manish Sharma" userId="97d895ad-8d7a-4884-8c18-743afd731b6f" providerId="ADAL" clId="{98D6BF9E-951A-44E3-9068-B5D71577D20F}" dt="2020-10-16T19:48:52.925" v="18225" actId="478"/>
          <ac:picMkLst>
            <pc:docMk/>
            <pc:sldMk cId="1606788452" sldId="463"/>
            <ac:picMk id="80" creationId="{00000000-0000-0000-0000-000000000000}"/>
          </ac:picMkLst>
        </pc:picChg>
        <pc:cxnChg chg="mod">
          <ac:chgData name="Manish Sharma" userId="97d895ad-8d7a-4884-8c18-743afd731b6f" providerId="ADAL" clId="{98D6BF9E-951A-44E3-9068-B5D71577D20F}" dt="2020-10-15T16:59:20.161" v="12139"/>
          <ac:cxnSpMkLst>
            <pc:docMk/>
            <pc:sldMk cId="1606788452" sldId="463"/>
            <ac:cxnSpMk id="26" creationId="{E0400683-ABD0-44CD-A290-42A6F4B8ADBF}"/>
          </ac:cxnSpMkLst>
        </pc:cxnChg>
        <pc:cxnChg chg="mod">
          <ac:chgData name="Manish Sharma" userId="97d895ad-8d7a-4884-8c18-743afd731b6f" providerId="ADAL" clId="{98D6BF9E-951A-44E3-9068-B5D71577D20F}" dt="2020-10-15T16:59:33.199" v="12140"/>
          <ac:cxnSpMkLst>
            <pc:docMk/>
            <pc:sldMk cId="1606788452" sldId="463"/>
            <ac:cxnSpMk id="30" creationId="{0ED2CC6C-47B4-4325-8655-C3CC64AEE9D2}"/>
          </ac:cxnSpMkLst>
        </pc:cxnChg>
      </pc:sldChg>
      <pc:sldChg chg="addSp delSp modSp mod">
        <pc:chgData name="Manish Sharma" userId="97d895ad-8d7a-4884-8c18-743afd731b6f" providerId="ADAL" clId="{98D6BF9E-951A-44E3-9068-B5D71577D20F}" dt="2020-10-16T20:58:46.167" v="18511"/>
        <pc:sldMkLst>
          <pc:docMk/>
          <pc:sldMk cId="1229755797" sldId="464"/>
        </pc:sldMkLst>
        <pc:spChg chg="mod">
          <ac:chgData name="Manish Sharma" userId="97d895ad-8d7a-4884-8c18-743afd731b6f" providerId="ADAL" clId="{98D6BF9E-951A-44E3-9068-B5D71577D20F}" dt="2020-10-15T15:59:36.736" v="11959" actId="20577"/>
          <ac:spMkLst>
            <pc:docMk/>
            <pc:sldMk cId="1229755797" sldId="464"/>
            <ac:spMk id="2" creationId="{00000000-0000-0000-0000-000000000000}"/>
          </ac:spMkLst>
        </pc:spChg>
        <pc:spChg chg="del">
          <ac:chgData name="Manish Sharma" userId="97d895ad-8d7a-4884-8c18-743afd731b6f" providerId="ADAL" clId="{98D6BF9E-951A-44E3-9068-B5D71577D20F}" dt="2020-10-15T15:59:19.369" v="11942" actId="478"/>
          <ac:spMkLst>
            <pc:docMk/>
            <pc:sldMk cId="1229755797" sldId="464"/>
            <ac:spMk id="3" creationId="{1BF4A718-A4DE-4461-88E3-8F56A9E65954}"/>
          </ac:spMkLst>
        </pc:spChg>
        <pc:spChg chg="del">
          <ac:chgData name="Manish Sharma" userId="97d895ad-8d7a-4884-8c18-743afd731b6f" providerId="ADAL" clId="{98D6BF9E-951A-44E3-9068-B5D71577D20F}" dt="2020-10-16T20:34:23.816" v="18406" actId="478"/>
          <ac:spMkLst>
            <pc:docMk/>
            <pc:sldMk cId="1229755797" sldId="464"/>
            <ac:spMk id="13" creationId="{00000000-0000-0000-0000-000000000000}"/>
          </ac:spMkLst>
        </pc:spChg>
        <pc:spChg chg="mod">
          <ac:chgData name="Manish Sharma" userId="97d895ad-8d7a-4884-8c18-743afd731b6f" providerId="ADAL" clId="{98D6BF9E-951A-44E3-9068-B5D71577D20F}" dt="2020-10-16T15:36:26.737" v="17129" actId="108"/>
          <ac:spMkLst>
            <pc:docMk/>
            <pc:sldMk cId="1229755797" sldId="464"/>
            <ac:spMk id="20" creationId="{00000000-0000-0000-0000-000000000000}"/>
          </ac:spMkLst>
        </pc:spChg>
        <pc:spChg chg="mod">
          <ac:chgData name="Manish Sharma" userId="97d895ad-8d7a-4884-8c18-743afd731b6f" providerId="ADAL" clId="{98D6BF9E-951A-44E3-9068-B5D71577D20F}" dt="2020-10-15T16:32:04.390" v="11999" actId="20577"/>
          <ac:spMkLst>
            <pc:docMk/>
            <pc:sldMk cId="1229755797" sldId="464"/>
            <ac:spMk id="24" creationId="{323E64DC-A6B0-4990-9F4D-703175765359}"/>
          </ac:spMkLst>
        </pc:spChg>
        <pc:spChg chg="mod">
          <ac:chgData name="Manish Sharma" userId="97d895ad-8d7a-4884-8c18-743afd731b6f" providerId="ADAL" clId="{98D6BF9E-951A-44E3-9068-B5D71577D20F}" dt="2020-10-15T16:33:42.669" v="12046" actId="20577"/>
          <ac:spMkLst>
            <pc:docMk/>
            <pc:sldMk cId="1229755797" sldId="464"/>
            <ac:spMk id="30" creationId="{BC68C9EA-24FC-4D79-A0C1-213D45B72034}"/>
          </ac:spMkLst>
        </pc:spChg>
        <pc:spChg chg="mod">
          <ac:chgData name="Manish Sharma" userId="97d895ad-8d7a-4884-8c18-743afd731b6f" providerId="ADAL" clId="{98D6BF9E-951A-44E3-9068-B5D71577D20F}" dt="2020-10-15T16:32:55.664" v="12018" actId="20577"/>
          <ac:spMkLst>
            <pc:docMk/>
            <pc:sldMk cId="1229755797" sldId="464"/>
            <ac:spMk id="32" creationId="{140E77DE-0C82-4A4E-9948-1326325C8681}"/>
          </ac:spMkLst>
        </pc:spChg>
        <pc:spChg chg="mod">
          <ac:chgData name="Manish Sharma" userId="97d895ad-8d7a-4884-8c18-743afd731b6f" providerId="ADAL" clId="{98D6BF9E-951A-44E3-9068-B5D71577D20F}" dt="2020-10-15T16:32:18.890" v="12000"/>
          <ac:spMkLst>
            <pc:docMk/>
            <pc:sldMk cId="1229755797" sldId="464"/>
            <ac:spMk id="33" creationId="{A2BDD5B2-0443-4A9F-9FD1-4D6569ADDA9A}"/>
          </ac:spMkLst>
        </pc:spChg>
        <pc:spChg chg="mod">
          <ac:chgData name="Manish Sharma" userId="97d895ad-8d7a-4884-8c18-743afd731b6f" providerId="ADAL" clId="{98D6BF9E-951A-44E3-9068-B5D71577D20F}" dt="2020-10-15T16:32:45.893" v="12007" actId="20577"/>
          <ac:spMkLst>
            <pc:docMk/>
            <pc:sldMk cId="1229755797" sldId="464"/>
            <ac:spMk id="35" creationId="{AEDE79A6-3676-4164-89B2-FAAEC2ED97D8}"/>
          </ac:spMkLst>
        </pc:spChg>
        <pc:grpChg chg="mod">
          <ac:chgData name="Manish Sharma" userId="97d895ad-8d7a-4884-8c18-743afd731b6f" providerId="ADAL" clId="{98D6BF9E-951A-44E3-9068-B5D71577D20F}" dt="2020-10-15T16:31:59.206" v="11992" actId="1076"/>
          <ac:grpSpMkLst>
            <pc:docMk/>
            <pc:sldMk cId="1229755797" sldId="464"/>
            <ac:grpSpMk id="5" creationId="{AFDF0E78-C151-46DC-87BC-98ACAA43CF8C}"/>
          </ac:grpSpMkLst>
        </pc:grpChg>
        <pc:grpChg chg="del">
          <ac:chgData name="Manish Sharma" userId="97d895ad-8d7a-4884-8c18-743afd731b6f" providerId="ADAL" clId="{98D6BF9E-951A-44E3-9068-B5D71577D20F}" dt="2020-10-15T16:31:55.365" v="11991" actId="478"/>
          <ac:grpSpMkLst>
            <pc:docMk/>
            <pc:sldMk cId="1229755797" sldId="464"/>
            <ac:grpSpMk id="8" creationId="{7710BF7E-930D-4A28-8890-D4BB65DB9950}"/>
          </ac:grpSpMkLst>
        </pc:grpChg>
        <pc:grpChg chg="add mod">
          <ac:chgData name="Manish Sharma" userId="97d895ad-8d7a-4884-8c18-743afd731b6f" providerId="ADAL" clId="{98D6BF9E-951A-44E3-9068-B5D71577D20F}" dt="2020-10-15T16:33:00.966" v="12019" actId="1076"/>
          <ac:grpSpMkLst>
            <pc:docMk/>
            <pc:sldMk cId="1229755797" sldId="464"/>
            <ac:grpSpMk id="29" creationId="{93425CF3-7D0B-41A4-A03A-9BFA3F4DA213}"/>
          </ac:grpSpMkLst>
        </pc:grpChg>
        <pc:grpChg chg="mod">
          <ac:chgData name="Manish Sharma" userId="97d895ad-8d7a-4884-8c18-743afd731b6f" providerId="ADAL" clId="{98D6BF9E-951A-44E3-9068-B5D71577D20F}" dt="2020-10-15T16:32:18.890" v="12000"/>
          <ac:grpSpMkLst>
            <pc:docMk/>
            <pc:sldMk cId="1229755797" sldId="464"/>
            <ac:grpSpMk id="31" creationId="{6AE1E2DA-D81B-4296-8CBC-9E21E4C43C44}"/>
          </ac:grpSpMkLst>
        </pc:grpChg>
        <pc:graphicFrameChg chg="del">
          <ac:chgData name="Manish Sharma" userId="97d895ad-8d7a-4884-8c18-743afd731b6f" providerId="ADAL" clId="{98D6BF9E-951A-44E3-9068-B5D71577D20F}" dt="2020-10-15T16:29:34.630" v="11960" actId="478"/>
          <ac:graphicFrameMkLst>
            <pc:docMk/>
            <pc:sldMk cId="1229755797" sldId="464"/>
            <ac:graphicFrameMk id="4" creationId="{B414D156-0B89-48FB-83B1-0897F301E7FD}"/>
          </ac:graphicFrameMkLst>
        </pc:graphicFrameChg>
        <pc:graphicFrameChg chg="add del mod modGraphic">
          <ac:chgData name="Manish Sharma" userId="97d895ad-8d7a-4884-8c18-743afd731b6f" providerId="ADAL" clId="{98D6BF9E-951A-44E3-9068-B5D71577D20F}" dt="2020-10-15T16:30:09.721" v="11969" actId="478"/>
          <ac:graphicFrameMkLst>
            <pc:docMk/>
            <pc:sldMk cId="1229755797" sldId="464"/>
            <ac:graphicFrameMk id="6" creationId="{4B4314C7-BBC6-4A31-91E8-9EE57FA8CE4C}"/>
          </ac:graphicFrameMkLst>
        </pc:graphicFrameChg>
        <pc:graphicFrameChg chg="add mod modGraphic">
          <ac:chgData name="Manish Sharma" userId="97d895ad-8d7a-4884-8c18-743afd731b6f" providerId="ADAL" clId="{98D6BF9E-951A-44E3-9068-B5D71577D20F}" dt="2020-10-15T16:35:07.914" v="12058" actId="3064"/>
          <ac:graphicFrameMkLst>
            <pc:docMk/>
            <pc:sldMk cId="1229755797" sldId="464"/>
            <ac:graphicFrameMk id="7" creationId="{8A5785E4-BAE6-4F93-B654-6DB38C7C4418}"/>
          </ac:graphicFrameMkLst>
        </pc:graphicFrameChg>
        <pc:graphicFrameChg chg="add mod">
          <ac:chgData name="Manish Sharma" userId="97d895ad-8d7a-4884-8c18-743afd731b6f" providerId="ADAL" clId="{98D6BF9E-951A-44E3-9068-B5D71577D20F}" dt="2020-10-16T20:58:46.167" v="18511"/>
          <ac:graphicFrameMkLst>
            <pc:docMk/>
            <pc:sldMk cId="1229755797" sldId="464"/>
            <ac:graphicFrameMk id="9" creationId="{72B189C4-38AC-4E30-A121-47B18F6BD998}"/>
          </ac:graphicFrameMkLst>
        </pc:graphicFrameChg>
        <pc:graphicFrameChg chg="del">
          <ac:chgData name="Manish Sharma" userId="97d895ad-8d7a-4884-8c18-743afd731b6f" providerId="ADAL" clId="{98D6BF9E-951A-44E3-9068-B5D71577D20F}" dt="2020-10-15T16:29:49.349" v="11964" actId="478"/>
          <ac:graphicFrameMkLst>
            <pc:docMk/>
            <pc:sldMk cId="1229755797" sldId="464"/>
            <ac:graphicFrameMk id="11" creationId="{E63FD812-DB08-4984-A251-15C41BDE5F53}"/>
          </ac:graphicFrameMkLst>
        </pc:graphicFrameChg>
        <pc:picChg chg="del">
          <ac:chgData name="Manish Sharma" userId="97d895ad-8d7a-4884-8c18-743afd731b6f" providerId="ADAL" clId="{98D6BF9E-951A-44E3-9068-B5D71577D20F}" dt="2020-10-16T19:49:07.941" v="18229" actId="478"/>
          <ac:picMkLst>
            <pc:docMk/>
            <pc:sldMk cId="1229755797" sldId="464"/>
            <ac:picMk id="12" creationId="{00000000-0000-0000-0000-000000000000}"/>
          </ac:picMkLst>
        </pc:picChg>
        <pc:cxnChg chg="mod">
          <ac:chgData name="Manish Sharma" userId="97d895ad-8d7a-4884-8c18-743afd731b6f" providerId="ADAL" clId="{98D6BF9E-951A-44E3-9068-B5D71577D20F}" dt="2020-10-15T16:32:18.890" v="12000"/>
          <ac:cxnSpMkLst>
            <pc:docMk/>
            <pc:sldMk cId="1229755797" sldId="464"/>
            <ac:cxnSpMk id="34" creationId="{4B0A281E-3BB3-483B-83DD-A0F88342DC7B}"/>
          </ac:cxnSpMkLst>
        </pc:cxnChg>
      </pc:sldChg>
      <pc:sldChg chg="modSp">
        <pc:chgData name="Manish Sharma" userId="97d895ad-8d7a-4884-8c18-743afd731b6f" providerId="ADAL" clId="{98D6BF9E-951A-44E3-9068-B5D71577D20F}" dt="2020-10-16T20:38:18.183" v="18420" actId="465"/>
        <pc:sldMkLst>
          <pc:docMk/>
          <pc:sldMk cId="1684810098" sldId="481"/>
        </pc:sldMkLst>
        <pc:spChg chg="mod">
          <ac:chgData name="Manish Sharma" userId="97d895ad-8d7a-4884-8c18-743afd731b6f" providerId="ADAL" clId="{98D6BF9E-951A-44E3-9068-B5D71577D20F}" dt="2020-10-16T20:38:18.183" v="18420" actId="465"/>
          <ac:spMkLst>
            <pc:docMk/>
            <pc:sldMk cId="1684810098" sldId="481"/>
            <ac:spMk id="2" creationId="{000F93BD-1633-45C3-B844-70B135096D8F}"/>
          </ac:spMkLst>
        </pc:spChg>
        <pc:spChg chg="mod">
          <ac:chgData name="Manish Sharma" userId="97d895ad-8d7a-4884-8c18-743afd731b6f" providerId="ADAL" clId="{98D6BF9E-951A-44E3-9068-B5D71577D20F}" dt="2020-10-16T20:38:18.183" v="18420" actId="465"/>
          <ac:spMkLst>
            <pc:docMk/>
            <pc:sldMk cId="1684810098" sldId="481"/>
            <ac:spMk id="10" creationId="{00000000-0000-0000-0000-000000000000}"/>
          </ac:spMkLst>
        </pc:spChg>
        <pc:spChg chg="mod">
          <ac:chgData name="Manish Sharma" userId="97d895ad-8d7a-4884-8c18-743afd731b6f" providerId="ADAL" clId="{98D6BF9E-951A-44E3-9068-B5D71577D20F}" dt="2020-10-16T20:38:18.183" v="18420" actId="465"/>
          <ac:spMkLst>
            <pc:docMk/>
            <pc:sldMk cId="1684810098" sldId="481"/>
            <ac:spMk id="14" creationId="{10910E56-12B7-4659-A83E-149B51BC73C3}"/>
          </ac:spMkLst>
        </pc:spChg>
        <pc:spChg chg="mod">
          <ac:chgData name="Manish Sharma" userId="97d895ad-8d7a-4884-8c18-743afd731b6f" providerId="ADAL" clId="{98D6BF9E-951A-44E3-9068-B5D71577D20F}" dt="2020-10-16T20:38:18.183" v="18420" actId="465"/>
          <ac:spMkLst>
            <pc:docMk/>
            <pc:sldMk cId="1684810098" sldId="481"/>
            <ac:spMk id="20" creationId="{00000000-0000-0000-0000-000000000000}"/>
          </ac:spMkLst>
        </pc:spChg>
      </pc:sldChg>
      <pc:sldChg chg="modSp">
        <pc:chgData name="Manish Sharma" userId="97d895ad-8d7a-4884-8c18-743afd731b6f" providerId="ADAL" clId="{98D6BF9E-951A-44E3-9068-B5D71577D20F}" dt="2020-10-16T20:38:07.333" v="18419" actId="465"/>
        <pc:sldMkLst>
          <pc:docMk/>
          <pc:sldMk cId="1800981068" sldId="483"/>
        </pc:sldMkLst>
        <pc:spChg chg="mod">
          <ac:chgData name="Manish Sharma" userId="97d895ad-8d7a-4884-8c18-743afd731b6f" providerId="ADAL" clId="{98D6BF9E-951A-44E3-9068-B5D71577D20F}" dt="2020-10-16T20:38:07.333" v="18419" actId="465"/>
          <ac:spMkLst>
            <pc:docMk/>
            <pc:sldMk cId="1800981068" sldId="483"/>
            <ac:spMk id="2" creationId="{000F93BD-1633-45C3-B844-70B135096D8F}"/>
          </ac:spMkLst>
        </pc:spChg>
        <pc:spChg chg="mod">
          <ac:chgData name="Manish Sharma" userId="97d895ad-8d7a-4884-8c18-743afd731b6f" providerId="ADAL" clId="{98D6BF9E-951A-44E3-9068-B5D71577D20F}" dt="2020-10-16T20:38:07.333" v="18419" actId="465"/>
          <ac:spMkLst>
            <pc:docMk/>
            <pc:sldMk cId="1800981068" sldId="483"/>
            <ac:spMk id="10" creationId="{00000000-0000-0000-0000-000000000000}"/>
          </ac:spMkLst>
        </pc:spChg>
        <pc:spChg chg="mod">
          <ac:chgData name="Manish Sharma" userId="97d895ad-8d7a-4884-8c18-743afd731b6f" providerId="ADAL" clId="{98D6BF9E-951A-44E3-9068-B5D71577D20F}" dt="2020-10-16T20:38:07.333" v="18419" actId="465"/>
          <ac:spMkLst>
            <pc:docMk/>
            <pc:sldMk cId="1800981068" sldId="483"/>
            <ac:spMk id="14" creationId="{10910E56-12B7-4659-A83E-149B51BC73C3}"/>
          </ac:spMkLst>
        </pc:spChg>
        <pc:spChg chg="mod">
          <ac:chgData name="Manish Sharma" userId="97d895ad-8d7a-4884-8c18-743afd731b6f" providerId="ADAL" clId="{98D6BF9E-951A-44E3-9068-B5D71577D20F}" dt="2020-10-16T20:38:07.333" v="18419" actId="465"/>
          <ac:spMkLst>
            <pc:docMk/>
            <pc:sldMk cId="1800981068" sldId="483"/>
            <ac:spMk id="20" creationId="{00000000-0000-0000-0000-000000000000}"/>
          </ac:spMkLst>
        </pc:spChg>
      </pc:sldChg>
      <pc:sldChg chg="del">
        <pc:chgData name="Manish Sharma" userId="97d895ad-8d7a-4884-8c18-743afd731b6f" providerId="ADAL" clId="{98D6BF9E-951A-44E3-9068-B5D71577D20F}" dt="2020-10-16T20:37:48.275" v="18417" actId="47"/>
        <pc:sldMkLst>
          <pc:docMk/>
          <pc:sldMk cId="860295773" sldId="484"/>
        </pc:sldMkLst>
      </pc:sldChg>
      <pc:sldChg chg="addSp delSp modSp add mod">
        <pc:chgData name="Manish Sharma" userId="97d895ad-8d7a-4884-8c18-743afd731b6f" providerId="ADAL" clId="{98D6BF9E-951A-44E3-9068-B5D71577D20F}" dt="2020-10-16T20:33:59.348" v="18399" actId="478"/>
        <pc:sldMkLst>
          <pc:docMk/>
          <pc:sldMk cId="3773836689" sldId="491"/>
        </pc:sldMkLst>
        <pc:spChg chg="mod">
          <ac:chgData name="Manish Sharma" userId="97d895ad-8d7a-4884-8c18-743afd731b6f" providerId="ADAL" clId="{98D6BF9E-951A-44E3-9068-B5D71577D20F}" dt="2020-10-16T20:33:03.095" v="18398" actId="20577"/>
          <ac:spMkLst>
            <pc:docMk/>
            <pc:sldMk cId="3773836689" sldId="491"/>
            <ac:spMk id="2" creationId="{00000000-0000-0000-0000-000000000000}"/>
          </ac:spMkLst>
        </pc:spChg>
        <pc:spChg chg="add mod">
          <ac:chgData name="Manish Sharma" userId="97d895ad-8d7a-4884-8c18-743afd731b6f" providerId="ADAL" clId="{98D6BF9E-951A-44E3-9068-B5D71577D20F}" dt="2020-10-16T15:11:55.837" v="16538" actId="14100"/>
          <ac:spMkLst>
            <pc:docMk/>
            <pc:sldMk cId="3773836689" sldId="491"/>
            <ac:spMk id="3" creationId="{21F48B71-AA1B-4937-93EF-CEE4ADA99B10}"/>
          </ac:spMkLst>
        </pc:spChg>
        <pc:spChg chg="del">
          <ac:chgData name="Manish Sharma" userId="97d895ad-8d7a-4884-8c18-743afd731b6f" providerId="ADAL" clId="{98D6BF9E-951A-44E3-9068-B5D71577D20F}" dt="2020-10-13T17:42:38.361" v="4323" actId="478"/>
          <ac:spMkLst>
            <pc:docMk/>
            <pc:sldMk cId="3773836689" sldId="491"/>
            <ac:spMk id="3" creationId="{A7C04A0B-E9A6-4335-8BDE-977CEF76FAD0}"/>
          </ac:spMkLst>
        </pc:spChg>
        <pc:spChg chg="add mod">
          <ac:chgData name="Manish Sharma" userId="97d895ad-8d7a-4884-8c18-743afd731b6f" providerId="ADAL" clId="{98D6BF9E-951A-44E3-9068-B5D71577D20F}" dt="2020-10-16T15:13:37.825" v="16584" actId="1076"/>
          <ac:spMkLst>
            <pc:docMk/>
            <pc:sldMk cId="3773836689" sldId="491"/>
            <ac:spMk id="4" creationId="{76DA1072-A006-4DF0-8145-65A190A17F1F}"/>
          </ac:spMkLst>
        </pc:spChg>
        <pc:spChg chg="add mod">
          <ac:chgData name="Manish Sharma" userId="97d895ad-8d7a-4884-8c18-743afd731b6f" providerId="ADAL" clId="{98D6BF9E-951A-44E3-9068-B5D71577D20F}" dt="2020-10-13T17:45:35.803" v="4447" actId="14100"/>
          <ac:spMkLst>
            <pc:docMk/>
            <pc:sldMk cId="3773836689" sldId="491"/>
            <ac:spMk id="5" creationId="{5BBBC7CB-737E-45AF-818A-2DB14AE1A6B6}"/>
          </ac:spMkLst>
        </pc:spChg>
        <pc:spChg chg="add mod">
          <ac:chgData name="Manish Sharma" userId="97d895ad-8d7a-4884-8c18-743afd731b6f" providerId="ADAL" clId="{98D6BF9E-951A-44E3-9068-B5D71577D20F}" dt="2020-10-13T17:45:24.948" v="4445" actId="1076"/>
          <ac:spMkLst>
            <pc:docMk/>
            <pc:sldMk cId="3773836689" sldId="491"/>
            <ac:spMk id="6" creationId="{C75D9CED-3E84-402F-BC2C-A4F0DFD0FD82}"/>
          </ac:spMkLst>
        </pc:spChg>
        <pc:spChg chg="add mod">
          <ac:chgData name="Manish Sharma" userId="97d895ad-8d7a-4884-8c18-743afd731b6f" providerId="ADAL" clId="{98D6BF9E-951A-44E3-9068-B5D71577D20F}" dt="2020-10-13T18:09:59.180" v="5052" actId="14100"/>
          <ac:spMkLst>
            <pc:docMk/>
            <pc:sldMk cId="3773836689" sldId="491"/>
            <ac:spMk id="12" creationId="{802A8090-C2C9-49AB-8CB6-1A82382EBB0C}"/>
          </ac:spMkLst>
        </pc:spChg>
        <pc:spChg chg="add mod">
          <ac:chgData name="Manish Sharma" userId="97d895ad-8d7a-4884-8c18-743afd731b6f" providerId="ADAL" clId="{98D6BF9E-951A-44E3-9068-B5D71577D20F}" dt="2020-10-13T18:10:18.126" v="5069" actId="1076"/>
          <ac:spMkLst>
            <pc:docMk/>
            <pc:sldMk cId="3773836689" sldId="491"/>
            <ac:spMk id="13" creationId="{17B92C50-9655-452C-B317-54BDD46EBEB5}"/>
          </ac:spMkLst>
        </pc:spChg>
        <pc:spChg chg="add mod">
          <ac:chgData name="Manish Sharma" userId="97d895ad-8d7a-4884-8c18-743afd731b6f" providerId="ADAL" clId="{98D6BF9E-951A-44E3-9068-B5D71577D20F}" dt="2020-10-13T18:10:34.315" v="5075" actId="14100"/>
          <ac:spMkLst>
            <pc:docMk/>
            <pc:sldMk cId="3773836689" sldId="491"/>
            <ac:spMk id="14" creationId="{A693036D-2D6E-43F1-A8F6-FD271CA349AD}"/>
          </ac:spMkLst>
        </pc:spChg>
        <pc:spChg chg="add mod">
          <ac:chgData name="Manish Sharma" userId="97d895ad-8d7a-4884-8c18-743afd731b6f" providerId="ADAL" clId="{98D6BF9E-951A-44E3-9068-B5D71577D20F}" dt="2020-10-13T18:10:43.814" v="5085" actId="20577"/>
          <ac:spMkLst>
            <pc:docMk/>
            <pc:sldMk cId="3773836689" sldId="491"/>
            <ac:spMk id="16" creationId="{567AE72D-5063-4DA5-9949-42A7FED49977}"/>
          </ac:spMkLst>
        </pc:spChg>
        <pc:spChg chg="mod">
          <ac:chgData name="Manish Sharma" userId="97d895ad-8d7a-4884-8c18-743afd731b6f" providerId="ADAL" clId="{98D6BF9E-951A-44E3-9068-B5D71577D20F}" dt="2020-10-14T16:14:59.104" v="5434" actId="20577"/>
          <ac:spMkLst>
            <pc:docMk/>
            <pc:sldMk cId="3773836689" sldId="491"/>
            <ac:spMk id="39" creationId="{9B3B3C2B-2D6A-454B-9637-F6BD98B02D8E}"/>
          </ac:spMkLst>
        </pc:spChg>
        <pc:spChg chg="mod">
          <ac:chgData name="Manish Sharma" userId="97d895ad-8d7a-4884-8c18-743afd731b6f" providerId="ADAL" clId="{98D6BF9E-951A-44E3-9068-B5D71577D20F}" dt="2020-10-15T00:20:35.790" v="5437" actId="1076"/>
          <ac:spMkLst>
            <pc:docMk/>
            <pc:sldMk cId="3773836689" sldId="491"/>
            <ac:spMk id="40" creationId="{062DBB7B-8D0C-4648-A550-81B348C37DC4}"/>
          </ac:spMkLst>
        </pc:spChg>
        <pc:spChg chg="del">
          <ac:chgData name="Manish Sharma" userId="97d895ad-8d7a-4884-8c18-743afd731b6f" providerId="ADAL" clId="{98D6BF9E-951A-44E3-9068-B5D71577D20F}" dt="2020-10-16T20:33:59.348" v="18399" actId="478"/>
          <ac:spMkLst>
            <pc:docMk/>
            <pc:sldMk cId="3773836689" sldId="491"/>
            <ac:spMk id="43" creationId="{00000000-0000-0000-0000-000000000000}"/>
          </ac:spMkLst>
        </pc:spChg>
        <pc:picChg chg="add del mod ord">
          <ac:chgData name="Manish Sharma" userId="97d895ad-8d7a-4884-8c18-743afd731b6f" providerId="ADAL" clId="{98D6BF9E-951A-44E3-9068-B5D71577D20F}" dt="2020-10-13T17:52:00.242" v="4448" actId="478"/>
          <ac:picMkLst>
            <pc:docMk/>
            <pc:sldMk cId="3773836689" sldId="491"/>
            <ac:picMk id="4" creationId="{50B422BA-A696-48FB-8F3D-D5D66A4A1DB0}"/>
          </ac:picMkLst>
        </pc:picChg>
        <pc:picChg chg="add mod ord">
          <ac:chgData name="Manish Sharma" userId="97d895ad-8d7a-4884-8c18-743afd731b6f" providerId="ADAL" clId="{98D6BF9E-951A-44E3-9068-B5D71577D20F}" dt="2020-10-16T15:11:49.019" v="16536" actId="1076"/>
          <ac:picMkLst>
            <pc:docMk/>
            <pc:sldMk cId="3773836689" sldId="491"/>
            <ac:picMk id="10" creationId="{45486793-1FF5-4BD1-8725-879C6862C09B}"/>
          </ac:picMkLst>
        </pc:picChg>
      </pc:sldChg>
      <pc:sldChg chg="addSp delSp modSp mod">
        <pc:chgData name="Manish Sharma" userId="97d895ad-8d7a-4884-8c18-743afd731b6f" providerId="ADAL" clId="{98D6BF9E-951A-44E3-9068-B5D71577D20F}" dt="2020-10-16T20:32:18.015" v="18359" actId="478"/>
        <pc:sldMkLst>
          <pc:docMk/>
          <pc:sldMk cId="467378802" sldId="492"/>
        </pc:sldMkLst>
        <pc:spChg chg="mod">
          <ac:chgData name="Manish Sharma" userId="97d895ad-8d7a-4884-8c18-743afd731b6f" providerId="ADAL" clId="{98D6BF9E-951A-44E3-9068-B5D71577D20F}" dt="2020-10-09T00:42:07.631" v="143" actId="14100"/>
          <ac:spMkLst>
            <pc:docMk/>
            <pc:sldMk cId="467378802" sldId="492"/>
            <ac:spMk id="2" creationId="{00000000-0000-0000-0000-000000000000}"/>
          </ac:spMkLst>
        </pc:spChg>
        <pc:spChg chg="del">
          <ac:chgData name="Manish Sharma" userId="97d895ad-8d7a-4884-8c18-743afd731b6f" providerId="ADAL" clId="{98D6BF9E-951A-44E3-9068-B5D71577D20F}" dt="2020-10-09T00:58:11.656" v="215" actId="478"/>
          <ac:spMkLst>
            <pc:docMk/>
            <pc:sldMk cId="467378802" sldId="492"/>
            <ac:spMk id="3" creationId="{991DD1DE-A818-4D2A-9374-07E78BE35A97}"/>
          </ac:spMkLst>
        </pc:spChg>
        <pc:spChg chg="mod">
          <ac:chgData name="Manish Sharma" userId="97d895ad-8d7a-4884-8c18-743afd731b6f" providerId="ADAL" clId="{98D6BF9E-951A-44E3-9068-B5D71577D20F}" dt="2020-10-16T20:19:25.103" v="18340" actId="313"/>
          <ac:spMkLst>
            <pc:docMk/>
            <pc:sldMk cId="467378802" sldId="492"/>
            <ac:spMk id="7" creationId="{B633BA49-44C2-41E0-8A5F-10881248D9C0}"/>
          </ac:spMkLst>
        </pc:spChg>
        <pc:spChg chg="mod">
          <ac:chgData name="Manish Sharma" userId="97d895ad-8d7a-4884-8c18-743afd731b6f" providerId="ADAL" clId="{98D6BF9E-951A-44E3-9068-B5D71577D20F}" dt="2020-10-09T00:58:29.525" v="231" actId="20577"/>
          <ac:spMkLst>
            <pc:docMk/>
            <pc:sldMk cId="467378802" sldId="492"/>
            <ac:spMk id="13" creationId="{00000000-0000-0000-0000-000000000000}"/>
          </ac:spMkLst>
        </pc:spChg>
        <pc:spChg chg="del">
          <ac:chgData name="Manish Sharma" userId="97d895ad-8d7a-4884-8c18-743afd731b6f" providerId="ADAL" clId="{98D6BF9E-951A-44E3-9068-B5D71577D20F}" dt="2020-10-16T20:32:18.015" v="18359" actId="478"/>
          <ac:spMkLst>
            <pc:docMk/>
            <pc:sldMk cId="467378802" sldId="492"/>
            <ac:spMk id="21" creationId="{00000000-0000-0000-0000-000000000000}"/>
          </ac:spMkLst>
        </pc:spChg>
        <pc:graphicFrameChg chg="mod modGraphic">
          <ac:chgData name="Manish Sharma" userId="97d895ad-8d7a-4884-8c18-743afd731b6f" providerId="ADAL" clId="{98D6BF9E-951A-44E3-9068-B5D71577D20F}" dt="2020-10-09T16:27:48.696" v="2142"/>
          <ac:graphicFrameMkLst>
            <pc:docMk/>
            <pc:sldMk cId="467378802" sldId="492"/>
            <ac:graphicFrameMk id="20" creationId="{C706CF1C-16BE-40AB-AD10-3D3B1B2FD25F}"/>
          </ac:graphicFrameMkLst>
        </pc:graphicFrameChg>
        <pc:graphicFrameChg chg="mod modGraphic">
          <ac:chgData name="Manish Sharma" userId="97d895ad-8d7a-4884-8c18-743afd731b6f" providerId="ADAL" clId="{98D6BF9E-951A-44E3-9068-B5D71577D20F}" dt="2020-10-09T16:27:25.735" v="2140" actId="20577"/>
          <ac:graphicFrameMkLst>
            <pc:docMk/>
            <pc:sldMk cId="467378802" sldId="492"/>
            <ac:graphicFrameMk id="22" creationId="{25ADC611-E4BA-4F2F-9BF9-A6228171DDE2}"/>
          </ac:graphicFrameMkLst>
        </pc:graphicFrameChg>
        <pc:graphicFrameChg chg="mod modGraphic">
          <ac:chgData name="Manish Sharma" userId="97d895ad-8d7a-4884-8c18-743afd731b6f" providerId="ADAL" clId="{98D6BF9E-951A-44E3-9068-B5D71577D20F}" dt="2020-10-09T16:55:15.172" v="2280" actId="20577"/>
          <ac:graphicFrameMkLst>
            <pc:docMk/>
            <pc:sldMk cId="467378802" sldId="492"/>
            <ac:graphicFrameMk id="23" creationId="{00000000-0000-0000-0000-000000000000}"/>
          </ac:graphicFrameMkLst>
        </pc:graphicFrameChg>
        <pc:graphicFrameChg chg="mod modGraphic">
          <ac:chgData name="Manish Sharma" userId="97d895ad-8d7a-4884-8c18-743afd731b6f" providerId="ADAL" clId="{98D6BF9E-951A-44E3-9068-B5D71577D20F}" dt="2020-10-16T20:19:27.942" v="18341" actId="2"/>
          <ac:graphicFrameMkLst>
            <pc:docMk/>
            <pc:sldMk cId="467378802" sldId="492"/>
            <ac:graphicFrameMk id="26" creationId="{A088A704-3458-4A85-A10E-CBFB205EDF51}"/>
          </ac:graphicFrameMkLst>
        </pc:graphicFrameChg>
        <pc:graphicFrameChg chg="add mod">
          <ac:chgData name="Manish Sharma" userId="97d895ad-8d7a-4884-8c18-743afd731b6f" providerId="ADAL" clId="{98D6BF9E-951A-44E3-9068-B5D71577D20F}" dt="2020-10-09T00:55:41.940" v="185"/>
          <ac:graphicFrameMkLst>
            <pc:docMk/>
            <pc:sldMk cId="467378802" sldId="492"/>
            <ac:graphicFrameMk id="27" creationId="{5313E0FC-0FE3-4C37-BD36-01CB178C6BC0}"/>
          </ac:graphicFrameMkLst>
        </pc:graphicFrameChg>
        <pc:graphicFrameChg chg="add mod">
          <ac:chgData name="Manish Sharma" userId="97d895ad-8d7a-4884-8c18-743afd731b6f" providerId="ADAL" clId="{98D6BF9E-951A-44E3-9068-B5D71577D20F}" dt="2020-10-09T00:56:21.902" v="198"/>
          <ac:graphicFrameMkLst>
            <pc:docMk/>
            <pc:sldMk cId="467378802" sldId="492"/>
            <ac:graphicFrameMk id="28" creationId="{8749B4E4-8832-4DEC-8E66-3275BE765D75}"/>
          </ac:graphicFrameMkLst>
        </pc:graphicFrameChg>
        <pc:graphicFrameChg chg="del">
          <ac:chgData name="Manish Sharma" userId="97d895ad-8d7a-4884-8c18-743afd731b6f" providerId="ADAL" clId="{98D6BF9E-951A-44E3-9068-B5D71577D20F}" dt="2020-10-09T00:55:39.962" v="183" actId="478"/>
          <ac:graphicFrameMkLst>
            <pc:docMk/>
            <pc:sldMk cId="467378802" sldId="492"/>
            <ac:graphicFrameMk id="29" creationId="{81CDBA2E-8677-4561-BDAE-10D96C2833F4}"/>
          </ac:graphicFrameMkLst>
        </pc:graphicFrameChg>
        <pc:picChg chg="del">
          <ac:chgData name="Manish Sharma" userId="97d895ad-8d7a-4884-8c18-743afd731b6f" providerId="ADAL" clId="{98D6BF9E-951A-44E3-9068-B5D71577D20F}" dt="2020-10-16T19:45:45.907" v="18199" actId="478"/>
          <ac:picMkLst>
            <pc:docMk/>
            <pc:sldMk cId="467378802" sldId="492"/>
            <ac:picMk id="17" creationId="{00000000-0000-0000-0000-000000000000}"/>
          </ac:picMkLst>
        </pc:picChg>
      </pc:sldChg>
      <pc:sldChg chg="del">
        <pc:chgData name="Manish Sharma" userId="97d895ad-8d7a-4884-8c18-743afd731b6f" providerId="ADAL" clId="{98D6BF9E-951A-44E3-9068-B5D71577D20F}" dt="2020-10-16T02:43:23.931" v="15811" actId="47"/>
        <pc:sldMkLst>
          <pc:docMk/>
          <pc:sldMk cId="2317255079" sldId="493"/>
        </pc:sldMkLst>
      </pc:sldChg>
      <pc:sldChg chg="delSp modSp mod">
        <pc:chgData name="Manish Sharma" userId="97d895ad-8d7a-4884-8c18-743afd731b6f" providerId="ADAL" clId="{98D6BF9E-951A-44E3-9068-B5D71577D20F}" dt="2020-10-16T20:32:38.375" v="18363" actId="478"/>
        <pc:sldMkLst>
          <pc:docMk/>
          <pc:sldMk cId="1603357931" sldId="494"/>
        </pc:sldMkLst>
        <pc:spChg chg="mod">
          <ac:chgData name="Manish Sharma" userId="97d895ad-8d7a-4884-8c18-743afd731b6f" providerId="ADAL" clId="{98D6BF9E-951A-44E3-9068-B5D71577D20F}" dt="2020-10-15T20:38:50.362" v="13661" actId="313"/>
          <ac:spMkLst>
            <pc:docMk/>
            <pc:sldMk cId="1603357931" sldId="494"/>
            <ac:spMk id="2" creationId="{00000000-0000-0000-0000-000000000000}"/>
          </ac:spMkLst>
        </pc:spChg>
        <pc:spChg chg="del mod">
          <ac:chgData name="Manish Sharma" userId="97d895ad-8d7a-4884-8c18-743afd731b6f" providerId="ADAL" clId="{98D6BF9E-951A-44E3-9068-B5D71577D20F}" dt="2020-10-15T20:46:40.963" v="13897" actId="478"/>
          <ac:spMkLst>
            <pc:docMk/>
            <pc:sldMk cId="1603357931" sldId="494"/>
            <ac:spMk id="3" creationId="{970DEB5E-EE74-48B2-A6D0-F44B1446A40A}"/>
          </ac:spMkLst>
        </pc:spChg>
        <pc:spChg chg="del">
          <ac:chgData name="Manish Sharma" userId="97d895ad-8d7a-4884-8c18-743afd731b6f" providerId="ADAL" clId="{98D6BF9E-951A-44E3-9068-B5D71577D20F}" dt="2020-10-15T20:38:42.547" v="13647" actId="478"/>
          <ac:spMkLst>
            <pc:docMk/>
            <pc:sldMk cId="1603357931" sldId="494"/>
            <ac:spMk id="5" creationId="{5C066805-A8FA-44BE-ADA9-27F45A064A52}"/>
          </ac:spMkLst>
        </pc:spChg>
        <pc:spChg chg="mod">
          <ac:chgData name="Manish Sharma" userId="97d895ad-8d7a-4884-8c18-743afd731b6f" providerId="ADAL" clId="{98D6BF9E-951A-44E3-9068-B5D71577D20F}" dt="2020-10-15T20:44:38.842" v="13740" actId="20577"/>
          <ac:spMkLst>
            <pc:docMk/>
            <pc:sldMk cId="1603357931" sldId="494"/>
            <ac:spMk id="7" creationId="{00000000-0000-0000-0000-000000000000}"/>
          </ac:spMkLst>
        </pc:spChg>
        <pc:spChg chg="mod">
          <ac:chgData name="Manish Sharma" userId="97d895ad-8d7a-4884-8c18-743afd731b6f" providerId="ADAL" clId="{98D6BF9E-951A-44E3-9068-B5D71577D20F}" dt="2020-10-15T20:42:33.564" v="13702" actId="207"/>
          <ac:spMkLst>
            <pc:docMk/>
            <pc:sldMk cId="1603357931" sldId="494"/>
            <ac:spMk id="31" creationId="{00000000-0000-0000-0000-000000000000}"/>
          </ac:spMkLst>
        </pc:spChg>
        <pc:spChg chg="mod">
          <ac:chgData name="Manish Sharma" userId="97d895ad-8d7a-4884-8c18-743afd731b6f" providerId="ADAL" clId="{98D6BF9E-951A-44E3-9068-B5D71577D20F}" dt="2020-10-15T20:42:16.995" v="13698" actId="207"/>
          <ac:spMkLst>
            <pc:docMk/>
            <pc:sldMk cId="1603357931" sldId="494"/>
            <ac:spMk id="32" creationId="{00000000-0000-0000-0000-000000000000}"/>
          </ac:spMkLst>
        </pc:spChg>
        <pc:spChg chg="mod">
          <ac:chgData name="Manish Sharma" userId="97d895ad-8d7a-4884-8c18-743afd731b6f" providerId="ADAL" clId="{98D6BF9E-951A-44E3-9068-B5D71577D20F}" dt="2020-10-15T20:41:46.849" v="13692" actId="20577"/>
          <ac:spMkLst>
            <pc:docMk/>
            <pc:sldMk cId="1603357931" sldId="494"/>
            <ac:spMk id="63" creationId="{00000000-0000-0000-0000-000000000000}"/>
          </ac:spMkLst>
        </pc:spChg>
        <pc:spChg chg="mod">
          <ac:chgData name="Manish Sharma" userId="97d895ad-8d7a-4884-8c18-743afd731b6f" providerId="ADAL" clId="{98D6BF9E-951A-44E3-9068-B5D71577D20F}" dt="2020-10-15T20:43:07.451" v="13708"/>
          <ac:spMkLst>
            <pc:docMk/>
            <pc:sldMk cId="1603357931" sldId="494"/>
            <ac:spMk id="64" creationId="{00000000-0000-0000-0000-000000000000}"/>
          </ac:spMkLst>
        </pc:spChg>
        <pc:spChg chg="mod">
          <ac:chgData name="Manish Sharma" userId="97d895ad-8d7a-4884-8c18-743afd731b6f" providerId="ADAL" clId="{98D6BF9E-951A-44E3-9068-B5D71577D20F}" dt="2020-10-15T20:42:46.759" v="13704" actId="208"/>
          <ac:spMkLst>
            <pc:docMk/>
            <pc:sldMk cId="1603357931" sldId="494"/>
            <ac:spMk id="70" creationId="{7D9F8BBF-6CD5-4D5F-841F-C6B5EDBA5472}"/>
          </ac:spMkLst>
        </pc:spChg>
        <pc:spChg chg="mod">
          <ac:chgData name="Manish Sharma" userId="97d895ad-8d7a-4884-8c18-743afd731b6f" providerId="ADAL" clId="{98D6BF9E-951A-44E3-9068-B5D71577D20F}" dt="2020-10-15T20:42:46.759" v="13704" actId="208"/>
          <ac:spMkLst>
            <pc:docMk/>
            <pc:sldMk cId="1603357931" sldId="494"/>
            <ac:spMk id="71" creationId="{E9B42C81-47B0-48AC-8367-11469DC1810C}"/>
          </ac:spMkLst>
        </pc:spChg>
        <pc:spChg chg="mod">
          <ac:chgData name="Manish Sharma" userId="97d895ad-8d7a-4884-8c18-743afd731b6f" providerId="ADAL" clId="{98D6BF9E-951A-44E3-9068-B5D71577D20F}" dt="2020-10-15T20:42:46.759" v="13704" actId="208"/>
          <ac:spMkLst>
            <pc:docMk/>
            <pc:sldMk cId="1603357931" sldId="494"/>
            <ac:spMk id="72" creationId="{90FAB346-E85E-42D1-B58C-7BDBC0EE04B1}"/>
          </ac:spMkLst>
        </pc:spChg>
        <pc:spChg chg="mod">
          <ac:chgData name="Manish Sharma" userId="97d895ad-8d7a-4884-8c18-743afd731b6f" providerId="ADAL" clId="{98D6BF9E-951A-44E3-9068-B5D71577D20F}" dt="2020-10-15T20:42:46.759" v="13704" actId="208"/>
          <ac:spMkLst>
            <pc:docMk/>
            <pc:sldMk cId="1603357931" sldId="494"/>
            <ac:spMk id="73" creationId="{78A07772-5C46-4B8B-A183-4BBDAAAEB7C8}"/>
          </ac:spMkLst>
        </pc:spChg>
        <pc:spChg chg="mod">
          <ac:chgData name="Manish Sharma" userId="97d895ad-8d7a-4884-8c18-743afd731b6f" providerId="ADAL" clId="{98D6BF9E-951A-44E3-9068-B5D71577D20F}" dt="2020-10-15T14:10:32.938" v="9744" actId="20577"/>
          <ac:spMkLst>
            <pc:docMk/>
            <pc:sldMk cId="1603357931" sldId="494"/>
            <ac:spMk id="76" creationId="{44CA77D8-9CF9-4BA8-9B8A-8E2AAFCEFFE0}"/>
          </ac:spMkLst>
        </pc:spChg>
        <pc:spChg chg="del">
          <ac:chgData name="Manish Sharma" userId="97d895ad-8d7a-4884-8c18-743afd731b6f" providerId="ADAL" clId="{98D6BF9E-951A-44E3-9068-B5D71577D20F}" dt="2020-10-16T20:32:38.375" v="18363" actId="478"/>
          <ac:spMkLst>
            <pc:docMk/>
            <pc:sldMk cId="1603357931" sldId="494"/>
            <ac:spMk id="83" creationId="{00000000-0000-0000-0000-000000000000}"/>
          </ac:spMkLst>
        </pc:spChg>
        <pc:spChg chg="mod">
          <ac:chgData name="Manish Sharma" userId="97d895ad-8d7a-4884-8c18-743afd731b6f" providerId="ADAL" clId="{98D6BF9E-951A-44E3-9068-B5D71577D20F}" dt="2020-10-15T20:44:58.468" v="13751" actId="1035"/>
          <ac:spMkLst>
            <pc:docMk/>
            <pc:sldMk cId="1603357931" sldId="494"/>
            <ac:spMk id="92" creationId="{9EC83152-F7D4-432A-802C-2174B52C3151}"/>
          </ac:spMkLst>
        </pc:spChg>
        <pc:spChg chg="mod">
          <ac:chgData name="Manish Sharma" userId="97d895ad-8d7a-4884-8c18-743afd731b6f" providerId="ADAL" clId="{98D6BF9E-951A-44E3-9068-B5D71577D20F}" dt="2020-10-15T20:45:10.308" v="13789" actId="1036"/>
          <ac:spMkLst>
            <pc:docMk/>
            <pc:sldMk cId="1603357931" sldId="494"/>
            <ac:spMk id="93" creationId="{4EB9CAA8-08FD-4656-855E-C34289D88373}"/>
          </ac:spMkLst>
        </pc:spChg>
        <pc:spChg chg="mod">
          <ac:chgData name="Manish Sharma" userId="97d895ad-8d7a-4884-8c18-743afd731b6f" providerId="ADAL" clId="{98D6BF9E-951A-44E3-9068-B5D71577D20F}" dt="2020-10-15T20:45:21.443" v="13797" actId="1036"/>
          <ac:spMkLst>
            <pc:docMk/>
            <pc:sldMk cId="1603357931" sldId="494"/>
            <ac:spMk id="94" creationId="{E9FDA4CA-E94F-4753-A147-434089B64879}"/>
          </ac:spMkLst>
        </pc:spChg>
        <pc:spChg chg="mod">
          <ac:chgData name="Manish Sharma" userId="97d895ad-8d7a-4884-8c18-743afd731b6f" providerId="ADAL" clId="{98D6BF9E-951A-44E3-9068-B5D71577D20F}" dt="2020-10-15T20:45:30.987" v="13809" actId="1036"/>
          <ac:spMkLst>
            <pc:docMk/>
            <pc:sldMk cId="1603357931" sldId="494"/>
            <ac:spMk id="95" creationId="{C933EC32-4AD6-4B4C-AD36-34E9E38E085E}"/>
          </ac:spMkLst>
        </pc:spChg>
        <pc:spChg chg="mod">
          <ac:chgData name="Manish Sharma" userId="97d895ad-8d7a-4884-8c18-743afd731b6f" providerId="ADAL" clId="{98D6BF9E-951A-44E3-9068-B5D71577D20F}" dt="2020-10-15T20:45:42.783" v="13834" actId="1035"/>
          <ac:spMkLst>
            <pc:docMk/>
            <pc:sldMk cId="1603357931" sldId="494"/>
            <ac:spMk id="96" creationId="{B3F42793-19D3-4083-9068-DD5942C975DF}"/>
          </ac:spMkLst>
        </pc:spChg>
        <pc:spChg chg="mod">
          <ac:chgData name="Manish Sharma" userId="97d895ad-8d7a-4884-8c18-743afd731b6f" providerId="ADAL" clId="{98D6BF9E-951A-44E3-9068-B5D71577D20F}" dt="2020-10-15T20:45:54.172" v="13846" actId="1035"/>
          <ac:spMkLst>
            <pc:docMk/>
            <pc:sldMk cId="1603357931" sldId="494"/>
            <ac:spMk id="97" creationId="{E6A69622-26C7-49FC-9060-CC4C986E151E}"/>
          </ac:spMkLst>
        </pc:spChg>
        <pc:spChg chg="mod">
          <ac:chgData name="Manish Sharma" userId="97d895ad-8d7a-4884-8c18-743afd731b6f" providerId="ADAL" clId="{98D6BF9E-951A-44E3-9068-B5D71577D20F}" dt="2020-10-15T20:44:30.568" v="13737" actId="20577"/>
          <ac:spMkLst>
            <pc:docMk/>
            <pc:sldMk cId="1603357931" sldId="494"/>
            <ac:spMk id="98" creationId="{797A19AC-51AA-4E53-97C6-D75A0509A945}"/>
          </ac:spMkLst>
        </pc:spChg>
        <pc:spChg chg="mod">
          <ac:chgData name="Manish Sharma" userId="97d895ad-8d7a-4884-8c18-743afd731b6f" providerId="ADAL" clId="{98D6BF9E-951A-44E3-9068-B5D71577D20F}" dt="2020-10-15T20:41:40.601" v="13689" actId="20577"/>
          <ac:spMkLst>
            <pc:docMk/>
            <pc:sldMk cId="1603357931" sldId="494"/>
            <ac:spMk id="100" creationId="{048E3908-7294-4547-8E52-B606DA7B6777}"/>
          </ac:spMkLst>
        </pc:spChg>
        <pc:spChg chg="mod">
          <ac:chgData name="Manish Sharma" userId="97d895ad-8d7a-4884-8c18-743afd731b6f" providerId="ADAL" clId="{98D6BF9E-951A-44E3-9068-B5D71577D20F}" dt="2020-10-15T20:44:04.688" v="13727" actId="20577"/>
          <ac:spMkLst>
            <pc:docMk/>
            <pc:sldMk cId="1603357931" sldId="494"/>
            <ac:spMk id="105" creationId="{06F3B4E8-CE2B-4541-964C-81EED7B4448F}"/>
          </ac:spMkLst>
        </pc:spChg>
        <pc:spChg chg="mod">
          <ac:chgData name="Manish Sharma" userId="97d895ad-8d7a-4884-8c18-743afd731b6f" providerId="ADAL" clId="{98D6BF9E-951A-44E3-9068-B5D71577D20F}" dt="2020-10-15T20:44:12.022" v="13730" actId="20577"/>
          <ac:spMkLst>
            <pc:docMk/>
            <pc:sldMk cId="1603357931" sldId="494"/>
            <ac:spMk id="111" creationId="{4AF91EFF-0E28-4EE9-8501-6DBF8C1703E0}"/>
          </ac:spMkLst>
        </pc:spChg>
        <pc:spChg chg="mod">
          <ac:chgData name="Manish Sharma" userId="97d895ad-8d7a-4884-8c18-743afd731b6f" providerId="ADAL" clId="{98D6BF9E-951A-44E3-9068-B5D71577D20F}" dt="2020-10-15T20:43:23.834" v="13711"/>
          <ac:spMkLst>
            <pc:docMk/>
            <pc:sldMk cId="1603357931" sldId="494"/>
            <ac:spMk id="112" creationId="{4358EC31-D932-41E0-876E-86A3AAD5F5EE}"/>
          </ac:spMkLst>
        </pc:spChg>
        <pc:spChg chg="mod">
          <ac:chgData name="Manish Sharma" userId="97d895ad-8d7a-4884-8c18-743afd731b6f" providerId="ADAL" clId="{98D6BF9E-951A-44E3-9068-B5D71577D20F}" dt="2020-10-15T20:44:21.457" v="13733" actId="20577"/>
          <ac:spMkLst>
            <pc:docMk/>
            <pc:sldMk cId="1603357931" sldId="494"/>
            <ac:spMk id="117" creationId="{2635E75B-B6B5-4934-AF9A-21DA4AD7EF40}"/>
          </ac:spMkLst>
        </pc:spChg>
        <pc:spChg chg="mod">
          <ac:chgData name="Manish Sharma" userId="97d895ad-8d7a-4884-8c18-743afd731b6f" providerId="ADAL" clId="{98D6BF9E-951A-44E3-9068-B5D71577D20F}" dt="2020-10-15T20:41:34.902" v="13686" actId="20577"/>
          <ac:spMkLst>
            <pc:docMk/>
            <pc:sldMk cId="1603357931" sldId="494"/>
            <ac:spMk id="119" creationId="{9D4E1B1B-7796-4B76-92BA-AA23BC253587}"/>
          </ac:spMkLst>
        </pc:spChg>
        <pc:spChg chg="mod">
          <ac:chgData name="Manish Sharma" userId="97d895ad-8d7a-4884-8c18-743afd731b6f" providerId="ADAL" clId="{98D6BF9E-951A-44E3-9068-B5D71577D20F}" dt="2020-10-15T20:41:28.039" v="13683" actId="20577"/>
          <ac:spMkLst>
            <pc:docMk/>
            <pc:sldMk cId="1603357931" sldId="494"/>
            <ac:spMk id="124" creationId="{BD607604-1889-45A2-8660-D06ED8EAD667}"/>
          </ac:spMkLst>
        </pc:spChg>
        <pc:spChg chg="mod">
          <ac:chgData name="Manish Sharma" userId="97d895ad-8d7a-4884-8c18-743afd731b6f" providerId="ADAL" clId="{98D6BF9E-951A-44E3-9068-B5D71577D20F}" dt="2020-10-15T20:40:57.391" v="13675" actId="20577"/>
          <ac:spMkLst>
            <pc:docMk/>
            <pc:sldMk cId="1603357931" sldId="494"/>
            <ac:spMk id="125" creationId="{C0E3D7CA-4DC9-42A4-9130-344444DF2E8C}"/>
          </ac:spMkLst>
        </pc:spChg>
        <pc:spChg chg="mod">
          <ac:chgData name="Manish Sharma" userId="97d895ad-8d7a-4884-8c18-743afd731b6f" providerId="ADAL" clId="{98D6BF9E-951A-44E3-9068-B5D71577D20F}" dt="2020-10-15T20:44:47.624" v="13743" actId="20577"/>
          <ac:spMkLst>
            <pc:docMk/>
            <pc:sldMk cId="1603357931" sldId="494"/>
            <ac:spMk id="126" creationId="{0A182F45-470D-4A59-B728-E8FCF6876681}"/>
          </ac:spMkLst>
        </pc:spChg>
        <pc:spChg chg="mod">
          <ac:chgData name="Manish Sharma" userId="97d895ad-8d7a-4884-8c18-743afd731b6f" providerId="ADAL" clId="{98D6BF9E-951A-44E3-9068-B5D71577D20F}" dt="2020-10-15T20:43:38.354" v="13720" actId="6549"/>
          <ac:spMkLst>
            <pc:docMk/>
            <pc:sldMk cId="1603357931" sldId="494"/>
            <ac:spMk id="127" creationId="{C766DC40-BBCA-486A-86A9-6733D8456DCF}"/>
          </ac:spMkLst>
        </pc:spChg>
        <pc:spChg chg="mod">
          <ac:chgData name="Manish Sharma" userId="97d895ad-8d7a-4884-8c18-743afd731b6f" providerId="ADAL" clId="{98D6BF9E-951A-44E3-9068-B5D71577D20F}" dt="2020-10-15T20:41:54.058" v="13695" actId="20577"/>
          <ac:spMkLst>
            <pc:docMk/>
            <pc:sldMk cId="1603357931" sldId="494"/>
            <ac:spMk id="131" creationId="{9CEF88A0-D6AD-43DE-B77A-FDF4DBCDC5BA}"/>
          </ac:spMkLst>
        </pc:spChg>
        <pc:spChg chg="mod">
          <ac:chgData name="Manish Sharma" userId="97d895ad-8d7a-4884-8c18-743afd731b6f" providerId="ADAL" clId="{98D6BF9E-951A-44E3-9068-B5D71577D20F}" dt="2020-10-15T20:43:10.466" v="13709"/>
          <ac:spMkLst>
            <pc:docMk/>
            <pc:sldMk cId="1603357931" sldId="494"/>
            <ac:spMk id="132" creationId="{07D8E15C-1CFC-4C6E-9A6D-647D2BFDB667}"/>
          </ac:spMkLst>
        </pc:spChg>
        <pc:spChg chg="mod">
          <ac:chgData name="Manish Sharma" userId="97d895ad-8d7a-4884-8c18-743afd731b6f" providerId="ADAL" clId="{98D6BF9E-951A-44E3-9068-B5D71577D20F}" dt="2020-10-15T20:42:53.492" v="13706" actId="208"/>
          <ac:spMkLst>
            <pc:docMk/>
            <pc:sldMk cId="1603357931" sldId="494"/>
            <ac:spMk id="137" creationId="{6CEFD653-343D-4EFD-92CF-AE3220B70017}"/>
          </ac:spMkLst>
        </pc:spChg>
        <pc:spChg chg="mod">
          <ac:chgData name="Manish Sharma" userId="97d895ad-8d7a-4884-8c18-743afd731b6f" providerId="ADAL" clId="{98D6BF9E-951A-44E3-9068-B5D71577D20F}" dt="2020-10-15T20:42:53.492" v="13706" actId="208"/>
          <ac:spMkLst>
            <pc:docMk/>
            <pc:sldMk cId="1603357931" sldId="494"/>
            <ac:spMk id="138" creationId="{7E04118D-1538-4B9D-A040-C79C7E870F56}"/>
          </ac:spMkLst>
        </pc:spChg>
        <pc:spChg chg="mod">
          <ac:chgData name="Manish Sharma" userId="97d895ad-8d7a-4884-8c18-743afd731b6f" providerId="ADAL" clId="{98D6BF9E-951A-44E3-9068-B5D71577D20F}" dt="2020-10-15T20:42:53.492" v="13706" actId="208"/>
          <ac:spMkLst>
            <pc:docMk/>
            <pc:sldMk cId="1603357931" sldId="494"/>
            <ac:spMk id="139" creationId="{F02A0F5D-F2B7-4235-B932-8130BA0AF169}"/>
          </ac:spMkLst>
        </pc:spChg>
        <pc:spChg chg="mod">
          <ac:chgData name="Manish Sharma" userId="97d895ad-8d7a-4884-8c18-743afd731b6f" providerId="ADAL" clId="{98D6BF9E-951A-44E3-9068-B5D71577D20F}" dt="2020-10-15T20:42:53.492" v="13706" actId="208"/>
          <ac:spMkLst>
            <pc:docMk/>
            <pc:sldMk cId="1603357931" sldId="494"/>
            <ac:spMk id="140" creationId="{D8F35EAE-0760-417A-BEF2-4F8F784A6962}"/>
          </ac:spMkLst>
        </pc:spChg>
        <pc:grpChg chg="mod">
          <ac:chgData name="Manish Sharma" userId="97d895ad-8d7a-4884-8c18-743afd731b6f" providerId="ADAL" clId="{98D6BF9E-951A-44E3-9068-B5D71577D20F}" dt="2020-10-15T20:42:50.688" v="13705" actId="208"/>
          <ac:grpSpMkLst>
            <pc:docMk/>
            <pc:sldMk cId="1603357931" sldId="494"/>
            <ac:grpSpMk id="4" creationId="{4C378A7C-EADD-4B88-953F-F2564BDF23DF}"/>
          </ac:grpSpMkLst>
        </pc:grpChg>
        <pc:graphicFrameChg chg="mod">
          <ac:chgData name="Manish Sharma" userId="97d895ad-8d7a-4884-8c18-743afd731b6f" providerId="ADAL" clId="{98D6BF9E-951A-44E3-9068-B5D71577D20F}" dt="2020-10-15T20:39:37.240" v="13662"/>
          <ac:graphicFrameMkLst>
            <pc:docMk/>
            <pc:sldMk cId="1603357931" sldId="494"/>
            <ac:graphicFrameMk id="79" creationId="{6A363F86-1778-4564-BD43-5E278ECA6ED2}"/>
          </ac:graphicFrameMkLst>
        </pc:graphicFrameChg>
        <pc:graphicFrameChg chg="mod">
          <ac:chgData name="Manish Sharma" userId="97d895ad-8d7a-4884-8c18-743afd731b6f" providerId="ADAL" clId="{98D6BF9E-951A-44E3-9068-B5D71577D20F}" dt="2020-10-15T20:39:47.865" v="13663"/>
          <ac:graphicFrameMkLst>
            <pc:docMk/>
            <pc:sldMk cId="1603357931" sldId="494"/>
            <ac:graphicFrameMk id="87" creationId="{F4B0AEF1-759E-46F9-A4E5-3DB68C5A8F74}"/>
          </ac:graphicFrameMkLst>
        </pc:graphicFrameChg>
        <pc:graphicFrameChg chg="mod">
          <ac:chgData name="Manish Sharma" userId="97d895ad-8d7a-4884-8c18-743afd731b6f" providerId="ADAL" clId="{98D6BF9E-951A-44E3-9068-B5D71577D20F}" dt="2020-10-15T20:39:57.405" v="13664"/>
          <ac:graphicFrameMkLst>
            <pc:docMk/>
            <pc:sldMk cId="1603357931" sldId="494"/>
            <ac:graphicFrameMk id="88" creationId="{D76C5FD8-58DE-40E5-B9C1-AF1541B109AF}"/>
          </ac:graphicFrameMkLst>
        </pc:graphicFrameChg>
        <pc:graphicFrameChg chg="mod">
          <ac:chgData name="Manish Sharma" userId="97d895ad-8d7a-4884-8c18-743afd731b6f" providerId="ADAL" clId="{98D6BF9E-951A-44E3-9068-B5D71577D20F}" dt="2020-10-15T20:40:08.445" v="13665"/>
          <ac:graphicFrameMkLst>
            <pc:docMk/>
            <pc:sldMk cId="1603357931" sldId="494"/>
            <ac:graphicFrameMk id="89" creationId="{2B610F03-452B-46BD-904F-126408A33993}"/>
          </ac:graphicFrameMkLst>
        </pc:graphicFrameChg>
        <pc:graphicFrameChg chg="mod">
          <ac:chgData name="Manish Sharma" userId="97d895ad-8d7a-4884-8c18-743afd731b6f" providerId="ADAL" clId="{98D6BF9E-951A-44E3-9068-B5D71577D20F}" dt="2020-10-15T20:40:22.606" v="13666"/>
          <ac:graphicFrameMkLst>
            <pc:docMk/>
            <pc:sldMk cId="1603357931" sldId="494"/>
            <ac:graphicFrameMk id="90" creationId="{1F692A77-864C-4D31-8F89-CC014D704488}"/>
          </ac:graphicFrameMkLst>
        </pc:graphicFrameChg>
        <pc:graphicFrameChg chg="mod">
          <ac:chgData name="Manish Sharma" userId="97d895ad-8d7a-4884-8c18-743afd731b6f" providerId="ADAL" clId="{98D6BF9E-951A-44E3-9068-B5D71577D20F}" dt="2020-10-15T20:40:32.060" v="13667"/>
          <ac:graphicFrameMkLst>
            <pc:docMk/>
            <pc:sldMk cId="1603357931" sldId="494"/>
            <ac:graphicFrameMk id="91" creationId="{229BCE03-EF5A-4C55-B888-9E1438234AB8}"/>
          </ac:graphicFrameMkLst>
        </pc:graphicFrameChg>
        <pc:picChg chg="del">
          <ac:chgData name="Manish Sharma" userId="97d895ad-8d7a-4884-8c18-743afd731b6f" providerId="ADAL" clId="{98D6BF9E-951A-44E3-9068-B5D71577D20F}" dt="2020-10-16T19:48:09.645" v="18213" actId="478"/>
          <ac:picMkLst>
            <pc:docMk/>
            <pc:sldMk cId="1603357931" sldId="494"/>
            <ac:picMk id="75" creationId="{00000000-0000-0000-0000-000000000000}"/>
          </ac:picMkLst>
        </pc:picChg>
      </pc:sldChg>
      <pc:sldChg chg="addSp delSp modSp mod">
        <pc:chgData name="Manish Sharma" userId="97d895ad-8d7a-4884-8c18-743afd731b6f" providerId="ADAL" clId="{98D6BF9E-951A-44E3-9068-B5D71577D20F}" dt="2020-10-16T20:16:39.659" v="18312" actId="20577"/>
        <pc:sldMkLst>
          <pc:docMk/>
          <pc:sldMk cId="2228024324" sldId="495"/>
        </pc:sldMkLst>
        <pc:spChg chg="del">
          <ac:chgData name="Manish Sharma" userId="97d895ad-8d7a-4884-8c18-743afd731b6f" providerId="ADAL" clId="{98D6BF9E-951A-44E3-9068-B5D71577D20F}" dt="2020-10-15T17:27:02.127" v="12538" actId="478"/>
          <ac:spMkLst>
            <pc:docMk/>
            <pc:sldMk cId="2228024324" sldId="495"/>
            <ac:spMk id="3" creationId="{7E6DEAE8-A2C2-4F3D-968C-12FCAB8D7327}"/>
          </ac:spMkLst>
        </pc:spChg>
        <pc:spChg chg="mod">
          <ac:chgData name="Manish Sharma" userId="97d895ad-8d7a-4884-8c18-743afd731b6f" providerId="ADAL" clId="{98D6BF9E-951A-44E3-9068-B5D71577D20F}" dt="2020-10-16T02:13:32.004" v="14833"/>
          <ac:spMkLst>
            <pc:docMk/>
            <pc:sldMk cId="2228024324" sldId="495"/>
            <ac:spMk id="6" creationId="{2737B36F-D554-4BAD-93B2-42FE857D20B9}"/>
          </ac:spMkLst>
        </pc:spChg>
        <pc:spChg chg="mod">
          <ac:chgData name="Manish Sharma" userId="97d895ad-8d7a-4884-8c18-743afd731b6f" providerId="ADAL" clId="{98D6BF9E-951A-44E3-9068-B5D71577D20F}" dt="2020-10-15T17:45:10.696" v="13054" actId="20577"/>
          <ac:spMkLst>
            <pc:docMk/>
            <pc:sldMk cId="2228024324" sldId="495"/>
            <ac:spMk id="9" creationId="{6E9E836F-7153-483F-9207-7D653ED2E76B}"/>
          </ac:spMkLst>
        </pc:spChg>
        <pc:spChg chg="mod">
          <ac:chgData name="Manish Sharma" userId="97d895ad-8d7a-4884-8c18-743afd731b6f" providerId="ADAL" clId="{98D6BF9E-951A-44E3-9068-B5D71577D20F}" dt="2020-10-16T15:33:39.966" v="17116" actId="208"/>
          <ac:spMkLst>
            <pc:docMk/>
            <pc:sldMk cId="2228024324" sldId="495"/>
            <ac:spMk id="18" creationId="{E4231B3C-139E-4018-B836-A55CA2363CCA}"/>
          </ac:spMkLst>
        </pc:spChg>
        <pc:spChg chg="mod">
          <ac:chgData name="Manish Sharma" userId="97d895ad-8d7a-4884-8c18-743afd731b6f" providerId="ADAL" clId="{98D6BF9E-951A-44E3-9068-B5D71577D20F}" dt="2020-10-15T17:28:08.627" v="12559"/>
          <ac:spMkLst>
            <pc:docMk/>
            <pc:sldMk cId="2228024324" sldId="495"/>
            <ac:spMk id="19" creationId="{209D70B8-D466-4733-98EF-325BB52FEA77}"/>
          </ac:spMkLst>
        </pc:spChg>
        <pc:spChg chg="mod">
          <ac:chgData name="Manish Sharma" userId="97d895ad-8d7a-4884-8c18-743afd731b6f" providerId="ADAL" clId="{98D6BF9E-951A-44E3-9068-B5D71577D20F}" dt="2020-10-16T20:16:39.659" v="18312" actId="20577"/>
          <ac:spMkLst>
            <pc:docMk/>
            <pc:sldMk cId="2228024324" sldId="495"/>
            <ac:spMk id="22" creationId="{A65DD698-1896-46E9-8780-A83FE47EE16B}"/>
          </ac:spMkLst>
        </pc:spChg>
        <pc:spChg chg="mod">
          <ac:chgData name="Manish Sharma" userId="97d895ad-8d7a-4884-8c18-743afd731b6f" providerId="ADAL" clId="{98D6BF9E-951A-44E3-9068-B5D71577D20F}" dt="2020-10-15T17:28:58.318" v="12577" actId="20577"/>
          <ac:spMkLst>
            <pc:docMk/>
            <pc:sldMk cId="2228024324" sldId="495"/>
            <ac:spMk id="23" creationId="{8913700B-7027-456F-B439-ACE635B70518}"/>
          </ac:spMkLst>
        </pc:spChg>
        <pc:spChg chg="mod">
          <ac:chgData name="Manish Sharma" userId="97d895ad-8d7a-4884-8c18-743afd731b6f" providerId="ADAL" clId="{98D6BF9E-951A-44E3-9068-B5D71577D20F}" dt="2020-10-16T15:20:56.032" v="16616" actId="1076"/>
          <ac:spMkLst>
            <pc:docMk/>
            <pc:sldMk cId="2228024324" sldId="495"/>
            <ac:spMk id="31" creationId="{3EA2289E-76AB-4C45-8310-09A7DC5E2CA4}"/>
          </ac:spMkLst>
        </pc:spChg>
        <pc:spChg chg="mod">
          <ac:chgData name="Manish Sharma" userId="97d895ad-8d7a-4884-8c18-743afd731b6f" providerId="ADAL" clId="{98D6BF9E-951A-44E3-9068-B5D71577D20F}" dt="2020-10-16T15:20:56.032" v="16616" actId="1076"/>
          <ac:spMkLst>
            <pc:docMk/>
            <pc:sldMk cId="2228024324" sldId="495"/>
            <ac:spMk id="32" creationId="{CE17ED59-8945-44F5-B85D-737BD643BAF5}"/>
          </ac:spMkLst>
        </pc:spChg>
        <pc:grpChg chg="add mod">
          <ac:chgData name="Manish Sharma" userId="97d895ad-8d7a-4884-8c18-743afd731b6f" providerId="ADAL" clId="{98D6BF9E-951A-44E3-9068-B5D71577D20F}" dt="2020-10-16T15:33:08.649" v="17110" actId="1076"/>
          <ac:grpSpMkLst>
            <pc:docMk/>
            <pc:sldMk cId="2228024324" sldId="495"/>
            <ac:grpSpMk id="16" creationId="{3C74F644-E3B6-44E9-A57B-8C429B78A99D}"/>
          </ac:grpSpMkLst>
        </pc:grpChg>
        <pc:grpChg chg="mod">
          <ac:chgData name="Manish Sharma" userId="97d895ad-8d7a-4884-8c18-743afd731b6f" providerId="ADAL" clId="{98D6BF9E-951A-44E3-9068-B5D71577D20F}" dt="2020-10-16T15:32:54.367" v="17098"/>
          <ac:grpSpMkLst>
            <pc:docMk/>
            <pc:sldMk cId="2228024324" sldId="495"/>
            <ac:grpSpMk id="17" creationId="{DB1789AE-C0E0-49AC-93AD-CBB213852FA0}"/>
          </ac:grpSpMkLst>
        </pc:grpChg>
        <pc:grpChg chg="add del mod">
          <ac:chgData name="Manish Sharma" userId="97d895ad-8d7a-4884-8c18-743afd731b6f" providerId="ADAL" clId="{98D6BF9E-951A-44E3-9068-B5D71577D20F}" dt="2020-10-15T17:28:58.997" v="12579"/>
          <ac:grpSpMkLst>
            <pc:docMk/>
            <pc:sldMk cId="2228024324" sldId="495"/>
            <ac:grpSpMk id="17" creationId="{FBCAF59B-98F9-43B5-8855-95863CD9D72D}"/>
          </ac:grpSpMkLst>
        </pc:grpChg>
        <pc:grpChg chg="mod">
          <ac:chgData name="Manish Sharma" userId="97d895ad-8d7a-4884-8c18-743afd731b6f" providerId="ADAL" clId="{98D6BF9E-951A-44E3-9068-B5D71577D20F}" dt="2020-10-15T17:28:08.627" v="12559"/>
          <ac:grpSpMkLst>
            <pc:docMk/>
            <pc:sldMk cId="2228024324" sldId="495"/>
            <ac:grpSpMk id="18" creationId="{4B2F28A8-D5D8-490C-B170-22204E65FBBD}"/>
          </ac:grpSpMkLst>
        </pc:grpChg>
        <pc:grpChg chg="mod">
          <ac:chgData name="Manish Sharma" userId="97d895ad-8d7a-4884-8c18-743afd731b6f" providerId="ADAL" clId="{98D6BF9E-951A-44E3-9068-B5D71577D20F}" dt="2020-10-16T15:21:09.117" v="16618" actId="1076"/>
          <ac:grpSpMkLst>
            <pc:docMk/>
            <pc:sldMk cId="2228024324" sldId="495"/>
            <ac:grpSpMk id="20" creationId="{39C6F481-A59E-4144-84E5-DAB62DB8211B}"/>
          </ac:grpSpMkLst>
        </pc:grpChg>
        <pc:grpChg chg="mod">
          <ac:chgData name="Manish Sharma" userId="97d895ad-8d7a-4884-8c18-743afd731b6f" providerId="ADAL" clId="{98D6BF9E-951A-44E3-9068-B5D71577D20F}" dt="2020-10-16T15:21:01.498" v="16617" actId="1076"/>
          <ac:grpSpMkLst>
            <pc:docMk/>
            <pc:sldMk cId="2228024324" sldId="495"/>
            <ac:grpSpMk id="21" creationId="{9283C501-A504-4F36-AF14-A5F59691036F}"/>
          </ac:grpSpMkLst>
        </pc:grpChg>
        <pc:graphicFrameChg chg="mod modGraphic">
          <ac:chgData name="Manish Sharma" userId="97d895ad-8d7a-4884-8c18-743afd731b6f" providerId="ADAL" clId="{98D6BF9E-951A-44E3-9068-B5D71577D20F}" dt="2020-10-16T20:13:20.158" v="18301" actId="20577"/>
          <ac:graphicFrameMkLst>
            <pc:docMk/>
            <pc:sldMk cId="2228024324" sldId="495"/>
            <ac:graphicFrameMk id="28" creationId="{994870E9-25EF-4A43-B1A1-38CC6A36FD4D}"/>
          </ac:graphicFrameMkLst>
        </pc:graphicFrameChg>
        <pc:cxnChg chg="mod">
          <ac:chgData name="Manish Sharma" userId="97d895ad-8d7a-4884-8c18-743afd731b6f" providerId="ADAL" clId="{98D6BF9E-951A-44E3-9068-B5D71577D20F}" dt="2020-10-16T15:33:39.966" v="17116" actId="208"/>
          <ac:cxnSpMkLst>
            <pc:docMk/>
            <pc:sldMk cId="2228024324" sldId="495"/>
            <ac:cxnSpMk id="19" creationId="{56CD5556-7DE9-470B-9A31-5E680334AF24}"/>
          </ac:cxnSpMkLst>
        </pc:cxnChg>
        <pc:cxnChg chg="mod">
          <ac:chgData name="Manish Sharma" userId="97d895ad-8d7a-4884-8c18-743afd731b6f" providerId="ADAL" clId="{98D6BF9E-951A-44E3-9068-B5D71577D20F}" dt="2020-10-15T17:28:08.627" v="12559"/>
          <ac:cxnSpMkLst>
            <pc:docMk/>
            <pc:sldMk cId="2228024324" sldId="495"/>
            <ac:cxnSpMk id="22" creationId="{ED5C5577-EF9A-4687-A103-BD0229FEDC7A}"/>
          </ac:cxnSpMkLst>
        </pc:cxnChg>
      </pc:sldChg>
      <pc:sldChg chg="modSp">
        <pc:chgData name="Manish Sharma" userId="97d895ad-8d7a-4884-8c18-743afd731b6f" providerId="ADAL" clId="{98D6BF9E-951A-44E3-9068-B5D71577D20F}" dt="2020-10-15T00:25:50.421" v="5722"/>
        <pc:sldMkLst>
          <pc:docMk/>
          <pc:sldMk cId="2158428790" sldId="496"/>
        </pc:sldMkLst>
        <pc:graphicFrameChg chg="mod">
          <ac:chgData name="Manish Sharma" userId="97d895ad-8d7a-4884-8c18-743afd731b6f" providerId="ADAL" clId="{98D6BF9E-951A-44E3-9068-B5D71577D20F}" dt="2020-10-15T00:25:50.421" v="5722"/>
          <ac:graphicFrameMkLst>
            <pc:docMk/>
            <pc:sldMk cId="2158428790" sldId="496"/>
            <ac:graphicFrameMk id="5" creationId="{40AC94DC-C910-4E38-A198-8AB9B799595F}"/>
          </ac:graphicFrameMkLst>
        </pc:graphicFrameChg>
      </pc:sldChg>
      <pc:sldChg chg="delSp modSp mod">
        <pc:chgData name="Manish Sharma" userId="97d895ad-8d7a-4884-8c18-743afd731b6f" providerId="ADAL" clId="{98D6BF9E-951A-44E3-9068-B5D71577D20F}" dt="2020-10-16T20:59:04.558" v="18512"/>
        <pc:sldMkLst>
          <pc:docMk/>
          <pc:sldMk cId="1384903469" sldId="499"/>
        </pc:sldMkLst>
        <pc:spChg chg="mod">
          <ac:chgData name="Manish Sharma" userId="97d895ad-8d7a-4884-8c18-743afd731b6f" providerId="ADAL" clId="{98D6BF9E-951A-44E3-9068-B5D71577D20F}" dt="2020-10-15T17:21:06.530" v="12405" actId="1076"/>
          <ac:spMkLst>
            <pc:docMk/>
            <pc:sldMk cId="1384903469" sldId="499"/>
            <ac:spMk id="32" creationId="{66C97658-9FBC-4EE3-9FD8-A943269193F6}"/>
          </ac:spMkLst>
        </pc:spChg>
        <pc:spChg chg="del">
          <ac:chgData name="Manish Sharma" userId="97d895ad-8d7a-4884-8c18-743afd731b6f" providerId="ADAL" clId="{98D6BF9E-951A-44E3-9068-B5D71577D20F}" dt="2020-10-16T20:34:14.904" v="18403" actId="478"/>
          <ac:spMkLst>
            <pc:docMk/>
            <pc:sldMk cId="1384903469" sldId="499"/>
            <ac:spMk id="43" creationId="{00000000-0000-0000-0000-000000000000}"/>
          </ac:spMkLst>
        </pc:spChg>
        <pc:graphicFrameChg chg="mod">
          <ac:chgData name="Manish Sharma" userId="97d895ad-8d7a-4884-8c18-743afd731b6f" providerId="ADAL" clId="{98D6BF9E-951A-44E3-9068-B5D71577D20F}" dt="2020-10-15T17:29:36.340" v="12629"/>
          <ac:graphicFrameMkLst>
            <pc:docMk/>
            <pc:sldMk cId="1384903469" sldId="499"/>
            <ac:graphicFrameMk id="5" creationId="{1A80D9DC-9585-4A3F-9F6A-07B421F9B17F}"/>
          </ac:graphicFrameMkLst>
        </pc:graphicFrameChg>
        <pc:graphicFrameChg chg="mod">
          <ac:chgData name="Manish Sharma" userId="97d895ad-8d7a-4884-8c18-743afd731b6f" providerId="ADAL" clId="{98D6BF9E-951A-44E3-9068-B5D71577D20F}" dt="2020-10-16T20:59:04.558" v="18512"/>
          <ac:graphicFrameMkLst>
            <pc:docMk/>
            <pc:sldMk cId="1384903469" sldId="499"/>
            <ac:graphicFrameMk id="5" creationId="{DC1D1C68-F463-4C26-BD40-F40E346A09E1}"/>
          </ac:graphicFrameMkLst>
        </pc:graphicFrameChg>
        <pc:graphicFrameChg chg="mod modGraphic">
          <ac:chgData name="Manish Sharma" userId="97d895ad-8d7a-4884-8c18-743afd731b6f" providerId="ADAL" clId="{98D6BF9E-951A-44E3-9068-B5D71577D20F}" dt="2020-10-15T17:25:45.899" v="12537" actId="20577"/>
          <ac:graphicFrameMkLst>
            <pc:docMk/>
            <pc:sldMk cId="1384903469" sldId="499"/>
            <ac:graphicFrameMk id="14" creationId="{FEB5ADB4-20B2-4373-B991-B2EEBA794E1A}"/>
          </ac:graphicFrameMkLst>
        </pc:graphicFrameChg>
        <pc:picChg chg="del">
          <ac:chgData name="Manish Sharma" userId="97d895ad-8d7a-4884-8c18-743afd731b6f" providerId="ADAL" clId="{98D6BF9E-951A-44E3-9068-B5D71577D20F}" dt="2020-10-16T19:48:37.750" v="18220" actId="478"/>
          <ac:picMkLst>
            <pc:docMk/>
            <pc:sldMk cId="1384903469" sldId="499"/>
            <ac:picMk id="3" creationId="{00000000-0000-0000-0000-000000000000}"/>
          </ac:picMkLst>
        </pc:picChg>
      </pc:sldChg>
      <pc:sldChg chg="addSp delSp new del mod">
        <pc:chgData name="Manish Sharma" userId="97d895ad-8d7a-4884-8c18-743afd731b6f" providerId="ADAL" clId="{98D6BF9E-951A-44E3-9068-B5D71577D20F}" dt="2020-10-14T16:15:12.743" v="5435" actId="47"/>
        <pc:sldMkLst>
          <pc:docMk/>
          <pc:sldMk cId="559236858" sldId="500"/>
        </pc:sldMkLst>
        <pc:picChg chg="add del">
          <ac:chgData name="Manish Sharma" userId="97d895ad-8d7a-4884-8c18-743afd731b6f" providerId="ADAL" clId="{98D6BF9E-951A-44E3-9068-B5D71577D20F}" dt="2020-10-13T17:42:29.866" v="4318" actId="21"/>
          <ac:picMkLst>
            <pc:docMk/>
            <pc:sldMk cId="559236858" sldId="500"/>
            <ac:picMk id="4" creationId="{13447362-2BDB-4023-BA01-C0B626149D0E}"/>
          </ac:picMkLst>
        </pc:picChg>
      </pc:sldChg>
      <pc:sldChg chg="addSp modSp mod">
        <pc:chgData name="Manish Sharma" userId="97d895ad-8d7a-4884-8c18-743afd731b6f" providerId="ADAL" clId="{98D6BF9E-951A-44E3-9068-B5D71577D20F}" dt="2020-10-15T03:35:35.877" v="8966" actId="27918"/>
        <pc:sldMkLst>
          <pc:docMk/>
          <pc:sldMk cId="3582841930" sldId="501"/>
        </pc:sldMkLst>
        <pc:graphicFrameChg chg="add mod">
          <ac:chgData name="Manish Sharma" userId="97d895ad-8d7a-4884-8c18-743afd731b6f" providerId="ADAL" clId="{98D6BF9E-951A-44E3-9068-B5D71577D20F}" dt="2020-10-15T01:50:17.995" v="7153"/>
          <ac:graphicFrameMkLst>
            <pc:docMk/>
            <pc:sldMk cId="3582841930" sldId="501"/>
            <ac:graphicFrameMk id="7" creationId="{2943C2A6-89A3-4C41-98C3-C8C9EBFFF118}"/>
          </ac:graphicFrameMkLst>
        </pc:graphicFrameChg>
      </pc:sldChg>
      <pc:sldChg chg="addSp delSp modSp add mod">
        <pc:chgData name="Manish Sharma" userId="97d895ad-8d7a-4884-8c18-743afd731b6f" providerId="ADAL" clId="{98D6BF9E-951A-44E3-9068-B5D71577D20F}" dt="2020-10-16T20:34:18.520" v="18404" actId="478"/>
        <pc:sldMkLst>
          <pc:docMk/>
          <pc:sldMk cId="1146825991" sldId="503"/>
        </pc:sldMkLst>
        <pc:spChg chg="mod">
          <ac:chgData name="Manish Sharma" userId="97d895ad-8d7a-4884-8c18-743afd731b6f" providerId="ADAL" clId="{98D6BF9E-951A-44E3-9068-B5D71577D20F}" dt="2020-10-15T03:59:50.602" v="9471" actId="6549"/>
          <ac:spMkLst>
            <pc:docMk/>
            <pc:sldMk cId="1146825991" sldId="503"/>
            <ac:spMk id="2" creationId="{00000000-0000-0000-0000-000000000000}"/>
          </ac:spMkLst>
        </pc:spChg>
        <pc:spChg chg="del mod">
          <ac:chgData name="Manish Sharma" userId="97d895ad-8d7a-4884-8c18-743afd731b6f" providerId="ADAL" clId="{98D6BF9E-951A-44E3-9068-B5D71577D20F}" dt="2020-10-15T02:27:21.609" v="8257" actId="478"/>
          <ac:spMkLst>
            <pc:docMk/>
            <pc:sldMk cId="1146825991" sldId="503"/>
            <ac:spMk id="4" creationId="{749D80E3-D7CD-4BDE-B48C-FBA3280FC51F}"/>
          </ac:spMkLst>
        </pc:spChg>
        <pc:spChg chg="add del mod">
          <ac:chgData name="Manish Sharma" userId="97d895ad-8d7a-4884-8c18-743afd731b6f" providerId="ADAL" clId="{98D6BF9E-951A-44E3-9068-B5D71577D20F}" dt="2020-10-15T03:17:02.740" v="8731" actId="478"/>
          <ac:spMkLst>
            <pc:docMk/>
            <pc:sldMk cId="1146825991" sldId="503"/>
            <ac:spMk id="7" creationId="{AA3ACFFB-286A-40F2-9ECA-86C9F400E460}"/>
          </ac:spMkLst>
        </pc:spChg>
        <pc:spChg chg="del">
          <ac:chgData name="Manish Sharma" userId="97d895ad-8d7a-4884-8c18-743afd731b6f" providerId="ADAL" clId="{98D6BF9E-951A-44E3-9068-B5D71577D20F}" dt="2020-10-15T01:50:56.214" v="7210" actId="478"/>
          <ac:spMkLst>
            <pc:docMk/>
            <pc:sldMk cId="1146825991" sldId="503"/>
            <ac:spMk id="9" creationId="{22047666-D773-4F74-8C4D-6433AFD0A8C5}"/>
          </ac:spMkLst>
        </pc:spChg>
        <pc:spChg chg="del mod">
          <ac:chgData name="Manish Sharma" userId="97d895ad-8d7a-4884-8c18-743afd731b6f" providerId="ADAL" clId="{98D6BF9E-951A-44E3-9068-B5D71577D20F}" dt="2020-10-15T01:54:59.694" v="7264" actId="478"/>
          <ac:spMkLst>
            <pc:docMk/>
            <pc:sldMk cId="1146825991" sldId="503"/>
            <ac:spMk id="12" creationId="{A9830DB8-AB03-4B4F-B2E4-D9B933A8FA52}"/>
          </ac:spMkLst>
        </pc:spChg>
        <pc:spChg chg="del">
          <ac:chgData name="Manish Sharma" userId="97d895ad-8d7a-4884-8c18-743afd731b6f" providerId="ADAL" clId="{98D6BF9E-951A-44E3-9068-B5D71577D20F}" dt="2020-10-15T01:50:56.214" v="7210" actId="478"/>
          <ac:spMkLst>
            <pc:docMk/>
            <pc:sldMk cId="1146825991" sldId="503"/>
            <ac:spMk id="13" creationId="{C140A395-9ADD-4ED8-BC65-6A8E692F9C99}"/>
          </ac:spMkLst>
        </pc:spChg>
        <pc:spChg chg="mod">
          <ac:chgData name="Manish Sharma" userId="97d895ad-8d7a-4884-8c18-743afd731b6f" providerId="ADAL" clId="{98D6BF9E-951A-44E3-9068-B5D71577D20F}" dt="2020-10-15T17:17:43.391" v="12360" actId="404"/>
          <ac:spMkLst>
            <pc:docMk/>
            <pc:sldMk cId="1146825991" sldId="503"/>
            <ac:spMk id="15" creationId="{7F764852-256F-49DF-B500-7AB466E1A418}"/>
          </ac:spMkLst>
        </pc:spChg>
        <pc:spChg chg="del mod">
          <ac:chgData name="Manish Sharma" userId="97d895ad-8d7a-4884-8c18-743afd731b6f" providerId="ADAL" clId="{98D6BF9E-951A-44E3-9068-B5D71577D20F}" dt="2020-10-15T01:56:00.895" v="7349" actId="478"/>
          <ac:spMkLst>
            <pc:docMk/>
            <pc:sldMk cId="1146825991" sldId="503"/>
            <ac:spMk id="19" creationId="{A5637282-18F0-4AB5-8A7A-D839BEAE8C8E}"/>
          </ac:spMkLst>
        </pc:spChg>
        <pc:spChg chg="del">
          <ac:chgData name="Manish Sharma" userId="97d895ad-8d7a-4884-8c18-743afd731b6f" providerId="ADAL" clId="{98D6BF9E-951A-44E3-9068-B5D71577D20F}" dt="2020-10-16T20:34:18.520" v="18404" actId="478"/>
          <ac:spMkLst>
            <pc:docMk/>
            <pc:sldMk cId="1146825991" sldId="503"/>
            <ac:spMk id="43" creationId="{00000000-0000-0000-0000-000000000000}"/>
          </ac:spMkLst>
        </pc:spChg>
        <pc:spChg chg="del">
          <ac:chgData name="Manish Sharma" userId="97d895ad-8d7a-4884-8c18-743afd731b6f" providerId="ADAL" clId="{98D6BF9E-951A-44E3-9068-B5D71577D20F}" dt="2020-10-15T01:56:00.895" v="7349" actId="478"/>
          <ac:spMkLst>
            <pc:docMk/>
            <pc:sldMk cId="1146825991" sldId="503"/>
            <ac:spMk id="49" creationId="{4593EDF8-B17E-4F23-96F2-7B57265E27C7}"/>
          </ac:spMkLst>
        </pc:spChg>
        <pc:grpChg chg="del">
          <ac:chgData name="Manish Sharma" userId="97d895ad-8d7a-4884-8c18-743afd731b6f" providerId="ADAL" clId="{98D6BF9E-951A-44E3-9068-B5D71577D20F}" dt="2020-10-15T01:56:00.895" v="7349" actId="478"/>
          <ac:grpSpMkLst>
            <pc:docMk/>
            <pc:sldMk cId="1146825991" sldId="503"/>
            <ac:grpSpMk id="21" creationId="{81BAAEBB-F082-46CF-B81B-48A1A8A3D7E3}"/>
          </ac:grpSpMkLst>
        </pc:grpChg>
        <pc:grpChg chg="del">
          <ac:chgData name="Manish Sharma" userId="97d895ad-8d7a-4884-8c18-743afd731b6f" providerId="ADAL" clId="{98D6BF9E-951A-44E3-9068-B5D71577D20F}" dt="2020-10-15T01:51:08.213" v="7218" actId="478"/>
          <ac:grpSpMkLst>
            <pc:docMk/>
            <pc:sldMk cId="1146825991" sldId="503"/>
            <ac:grpSpMk id="25" creationId="{36C41730-27C6-4116-A7A5-CD6A25361E67}"/>
          </ac:grpSpMkLst>
        </pc:grpChg>
        <pc:graphicFrameChg chg="add del mod modGraphic">
          <ac:chgData name="Manish Sharma" userId="97d895ad-8d7a-4884-8c18-743afd731b6f" providerId="ADAL" clId="{98D6BF9E-951A-44E3-9068-B5D71577D20F}" dt="2020-10-15T01:52:03.952" v="7235" actId="478"/>
          <ac:graphicFrameMkLst>
            <pc:docMk/>
            <pc:sldMk cId="1146825991" sldId="503"/>
            <ac:graphicFrameMk id="5" creationId="{69F54163-1294-47C0-9447-428C722171EC}"/>
          </ac:graphicFrameMkLst>
        </pc:graphicFrameChg>
        <pc:graphicFrameChg chg="add del mod modGraphic">
          <ac:chgData name="Manish Sharma" userId="97d895ad-8d7a-4884-8c18-743afd731b6f" providerId="ADAL" clId="{98D6BF9E-951A-44E3-9068-B5D71577D20F}" dt="2020-10-15T03:04:45.119" v="8417" actId="478"/>
          <ac:graphicFrameMkLst>
            <pc:docMk/>
            <pc:sldMk cId="1146825991" sldId="503"/>
            <ac:graphicFrameMk id="6" creationId="{CEA878D8-69E4-4DAD-822F-8CC91A72392C}"/>
          </ac:graphicFrameMkLst>
        </pc:graphicFrameChg>
        <pc:graphicFrameChg chg="add del mod">
          <ac:chgData name="Manish Sharma" userId="97d895ad-8d7a-4884-8c18-743afd731b6f" providerId="ADAL" clId="{98D6BF9E-951A-44E3-9068-B5D71577D20F}" dt="2020-10-15T17:04:41.427" v="12173" actId="478"/>
          <ac:graphicFrameMkLst>
            <pc:docMk/>
            <pc:sldMk cId="1146825991" sldId="503"/>
            <ac:graphicFrameMk id="8" creationId="{4BC576CA-816B-4BDF-BFDF-E790517A3683}"/>
          </ac:graphicFrameMkLst>
        </pc:graphicFrameChg>
        <pc:graphicFrameChg chg="add del mod">
          <ac:chgData name="Manish Sharma" userId="97d895ad-8d7a-4884-8c18-743afd731b6f" providerId="ADAL" clId="{98D6BF9E-951A-44E3-9068-B5D71577D20F}" dt="2020-10-15T02:09:26.299" v="7762" actId="478"/>
          <ac:graphicFrameMkLst>
            <pc:docMk/>
            <pc:sldMk cId="1146825991" sldId="503"/>
            <ac:graphicFrameMk id="8" creationId="{BB7E4059-C2A2-4C10-A9BC-FE9B52CB0BE1}"/>
          </ac:graphicFrameMkLst>
        </pc:graphicFrameChg>
        <pc:graphicFrameChg chg="add mod">
          <ac:chgData name="Manish Sharma" userId="97d895ad-8d7a-4884-8c18-743afd731b6f" providerId="ADAL" clId="{98D6BF9E-951A-44E3-9068-B5D71577D20F}" dt="2020-10-15T17:07:57.655" v="12178" actId="14100"/>
          <ac:graphicFrameMkLst>
            <pc:docMk/>
            <pc:sldMk cId="1146825991" sldId="503"/>
            <ac:graphicFrameMk id="9" creationId="{4BC576CA-816B-4BDF-BFDF-E790517A3683}"/>
          </ac:graphicFrameMkLst>
        </pc:graphicFrameChg>
        <pc:graphicFrameChg chg="del">
          <ac:chgData name="Manish Sharma" userId="97d895ad-8d7a-4884-8c18-743afd731b6f" providerId="ADAL" clId="{98D6BF9E-951A-44E3-9068-B5D71577D20F}" dt="2020-10-15T01:51:08.213" v="7218" actId="478"/>
          <ac:graphicFrameMkLst>
            <pc:docMk/>
            <pc:sldMk cId="1146825991" sldId="503"/>
            <ac:graphicFrameMk id="10" creationId="{96D55B45-114A-47EF-B79F-982176EA292D}"/>
          </ac:graphicFrameMkLst>
        </pc:graphicFrameChg>
        <pc:graphicFrameChg chg="add del modGraphic">
          <ac:chgData name="Manish Sharma" userId="97d895ad-8d7a-4884-8c18-743afd731b6f" providerId="ADAL" clId="{98D6BF9E-951A-44E3-9068-B5D71577D20F}" dt="2020-10-15T03:44:51.828" v="9005" actId="478"/>
          <ac:graphicFrameMkLst>
            <pc:docMk/>
            <pc:sldMk cId="1146825991" sldId="503"/>
            <ac:graphicFrameMk id="14" creationId="{61389B0D-E47A-46DF-81C6-AF550493F08A}"/>
          </ac:graphicFrameMkLst>
        </pc:graphicFrameChg>
        <pc:graphicFrameChg chg="add del mod modGraphic">
          <ac:chgData name="Manish Sharma" userId="97d895ad-8d7a-4884-8c18-743afd731b6f" providerId="ADAL" clId="{98D6BF9E-951A-44E3-9068-B5D71577D20F}" dt="2020-10-15T03:50:50.736" v="9075" actId="478"/>
          <ac:graphicFrameMkLst>
            <pc:docMk/>
            <pc:sldMk cId="1146825991" sldId="503"/>
            <ac:graphicFrameMk id="23" creationId="{7F5E731B-BD67-4443-B162-B7E2BC5E6BE8}"/>
          </ac:graphicFrameMkLst>
        </pc:graphicFrameChg>
        <pc:graphicFrameChg chg="add del mod">
          <ac:chgData name="Manish Sharma" userId="97d895ad-8d7a-4884-8c18-743afd731b6f" providerId="ADAL" clId="{98D6BF9E-951A-44E3-9068-B5D71577D20F}" dt="2020-10-15T01:52:27.715" v="7239" actId="478"/>
          <ac:graphicFrameMkLst>
            <pc:docMk/>
            <pc:sldMk cId="1146825991" sldId="503"/>
            <ac:graphicFrameMk id="50" creationId="{2943C2A6-89A3-4C41-98C3-C8C9EBFFF118}"/>
          </ac:graphicFrameMkLst>
        </pc:graphicFrameChg>
        <pc:graphicFrameChg chg="add del mod">
          <ac:chgData name="Manish Sharma" userId="97d895ad-8d7a-4884-8c18-743afd731b6f" providerId="ADAL" clId="{98D6BF9E-951A-44E3-9068-B5D71577D20F}" dt="2020-10-15T03:34:57.365" v="8962" actId="478"/>
          <ac:graphicFrameMkLst>
            <pc:docMk/>
            <pc:sldMk cId="1146825991" sldId="503"/>
            <ac:graphicFrameMk id="51" creationId="{2943C2A6-89A3-4C41-98C3-C8C9EBFFF118}"/>
          </ac:graphicFrameMkLst>
        </pc:graphicFrameChg>
        <pc:graphicFrameChg chg="add mod">
          <ac:chgData name="Manish Sharma" userId="97d895ad-8d7a-4884-8c18-743afd731b6f" providerId="ADAL" clId="{98D6BF9E-951A-44E3-9068-B5D71577D20F}" dt="2020-10-15T03:41:14.624" v="8985"/>
          <ac:graphicFrameMkLst>
            <pc:docMk/>
            <pc:sldMk cId="1146825991" sldId="503"/>
            <ac:graphicFrameMk id="55" creationId="{4BC576CA-816B-4BDF-BFDF-E790517A3683}"/>
          </ac:graphicFrameMkLst>
        </pc:graphicFrameChg>
        <pc:graphicFrameChg chg="del">
          <ac:chgData name="Manish Sharma" userId="97d895ad-8d7a-4884-8c18-743afd731b6f" providerId="ADAL" clId="{98D6BF9E-951A-44E3-9068-B5D71577D20F}" dt="2020-10-15T01:50:53.996" v="7208" actId="478"/>
          <ac:graphicFrameMkLst>
            <pc:docMk/>
            <pc:sldMk cId="1146825991" sldId="503"/>
            <ac:graphicFrameMk id="56" creationId="{D7C7FD07-6724-4466-92ED-4D41EF703F16}"/>
          </ac:graphicFrameMkLst>
        </pc:graphicFrameChg>
        <pc:graphicFrameChg chg="add mod">
          <ac:chgData name="Manish Sharma" userId="97d895ad-8d7a-4884-8c18-743afd731b6f" providerId="ADAL" clId="{98D6BF9E-951A-44E3-9068-B5D71577D20F}" dt="2020-10-15T03:42:39.554" v="8997"/>
          <ac:graphicFrameMkLst>
            <pc:docMk/>
            <pc:sldMk cId="1146825991" sldId="503"/>
            <ac:graphicFrameMk id="57" creationId="{4BC576CA-816B-4BDF-BFDF-E790517A3683}"/>
          </ac:graphicFrameMkLst>
        </pc:graphicFrameChg>
        <pc:graphicFrameChg chg="add del mod">
          <ac:chgData name="Manish Sharma" userId="97d895ad-8d7a-4884-8c18-743afd731b6f" providerId="ADAL" clId="{98D6BF9E-951A-44E3-9068-B5D71577D20F}" dt="2020-10-15T03:45:03.483" v="9006" actId="478"/>
          <ac:graphicFrameMkLst>
            <pc:docMk/>
            <pc:sldMk cId="1146825991" sldId="503"/>
            <ac:graphicFrameMk id="58" creationId="{4BC576CA-816B-4BDF-BFDF-E790517A3683}"/>
          </ac:graphicFrameMkLst>
        </pc:graphicFrameChg>
        <pc:graphicFrameChg chg="add del mod">
          <ac:chgData name="Manish Sharma" userId="97d895ad-8d7a-4884-8c18-743afd731b6f" providerId="ADAL" clId="{98D6BF9E-951A-44E3-9068-B5D71577D20F}" dt="2020-10-15T03:48:03.357" v="9026" actId="478"/>
          <ac:graphicFrameMkLst>
            <pc:docMk/>
            <pc:sldMk cId="1146825991" sldId="503"/>
            <ac:graphicFrameMk id="59" creationId="{768AB0A8-97E0-45E7-9E06-2326A530D801}"/>
          </ac:graphicFrameMkLst>
        </pc:graphicFrameChg>
        <pc:graphicFrameChg chg="add mod modGraphic">
          <ac:chgData name="Manish Sharma" userId="97d895ad-8d7a-4884-8c18-743afd731b6f" providerId="ADAL" clId="{98D6BF9E-951A-44E3-9068-B5D71577D20F}" dt="2020-10-15T03:51:59.652" v="9108"/>
          <ac:graphicFrameMkLst>
            <pc:docMk/>
            <pc:sldMk cId="1146825991" sldId="503"/>
            <ac:graphicFrameMk id="60" creationId="{D5DC260D-E6B4-45B9-9906-0CCE9D3515C7}"/>
          </ac:graphicFrameMkLst>
        </pc:graphicFrameChg>
        <pc:picChg chg="del">
          <ac:chgData name="Manish Sharma" userId="97d895ad-8d7a-4884-8c18-743afd731b6f" providerId="ADAL" clId="{98D6BF9E-951A-44E3-9068-B5D71577D20F}" dt="2020-10-16T19:48:43.161" v="18221" actId="478"/>
          <ac:picMkLst>
            <pc:docMk/>
            <pc:sldMk cId="1146825991" sldId="503"/>
            <ac:picMk id="3" creationId="{00000000-0000-0000-0000-000000000000}"/>
          </ac:picMkLst>
        </pc:picChg>
        <pc:picChg chg="del">
          <ac:chgData name="Manish Sharma" userId="97d895ad-8d7a-4884-8c18-743afd731b6f" providerId="ADAL" clId="{98D6BF9E-951A-44E3-9068-B5D71577D20F}" dt="2020-10-15T01:50:54.591" v="7209" actId="478"/>
          <ac:picMkLst>
            <pc:docMk/>
            <pc:sldMk cId="1146825991" sldId="503"/>
            <ac:picMk id="11" creationId="{59816C4E-B122-48CB-A7B2-D04AE1CC3CAB}"/>
          </ac:picMkLst>
        </pc:picChg>
        <pc:picChg chg="add del mod">
          <ac:chgData name="Manish Sharma" userId="97d895ad-8d7a-4884-8c18-743afd731b6f" providerId="ADAL" clId="{98D6BF9E-951A-44E3-9068-B5D71577D20F}" dt="2020-10-15T03:34:14.840" v="8959" actId="22"/>
          <ac:picMkLst>
            <pc:docMk/>
            <pc:sldMk cId="1146825991" sldId="503"/>
            <ac:picMk id="17" creationId="{774C2937-129C-4C56-B963-25B26E9256A1}"/>
          </ac:picMkLst>
        </pc:picChg>
        <pc:picChg chg="add del mod">
          <ac:chgData name="Manish Sharma" userId="97d895ad-8d7a-4884-8c18-743afd731b6f" providerId="ADAL" clId="{98D6BF9E-951A-44E3-9068-B5D71577D20F}" dt="2020-10-15T03:42:27.802" v="8990" actId="478"/>
          <ac:picMkLst>
            <pc:docMk/>
            <pc:sldMk cId="1146825991" sldId="503"/>
            <ac:picMk id="18" creationId="{7925417D-15F5-4228-A609-976D396D5899}"/>
          </ac:picMkLst>
        </pc:picChg>
        <pc:picChg chg="add del mod">
          <ac:chgData name="Manish Sharma" userId="97d895ad-8d7a-4884-8c18-743afd731b6f" providerId="ADAL" clId="{98D6BF9E-951A-44E3-9068-B5D71577D20F}" dt="2020-10-15T03:48:38.035" v="9032" actId="21"/>
          <ac:picMkLst>
            <pc:docMk/>
            <pc:sldMk cId="1146825991" sldId="503"/>
            <ac:picMk id="20" creationId="{A83953A0-3907-4798-B9BD-EAAF17AA2903}"/>
          </ac:picMkLst>
        </pc:picChg>
        <pc:picChg chg="add del mod">
          <ac:chgData name="Manish Sharma" userId="97d895ad-8d7a-4884-8c18-743afd731b6f" providerId="ADAL" clId="{98D6BF9E-951A-44E3-9068-B5D71577D20F}" dt="2020-10-15T17:04:11.187" v="12166" actId="478"/>
          <ac:picMkLst>
            <pc:docMk/>
            <pc:sldMk cId="1146825991" sldId="503"/>
            <ac:picMk id="22" creationId="{84014182-A0F7-4937-AE89-211D20E06C10}"/>
          </ac:picMkLst>
        </pc:picChg>
      </pc:sldChg>
      <pc:sldChg chg="addSp delSp modSp add mod">
        <pc:chgData name="Manish Sharma" userId="97d895ad-8d7a-4884-8c18-743afd731b6f" providerId="ADAL" clId="{98D6BF9E-951A-44E3-9068-B5D71577D20F}" dt="2020-10-16T20:40:41.176" v="18441" actId="478"/>
        <pc:sldMkLst>
          <pc:docMk/>
          <pc:sldMk cId="1618758624" sldId="504"/>
        </pc:sldMkLst>
        <pc:spChg chg="mod">
          <ac:chgData name="Manish Sharma" userId="97d895ad-8d7a-4884-8c18-743afd731b6f" providerId="ADAL" clId="{98D6BF9E-951A-44E3-9068-B5D71577D20F}" dt="2020-10-15T03:59:42.905" v="9470" actId="6549"/>
          <ac:spMkLst>
            <pc:docMk/>
            <pc:sldMk cId="1618758624" sldId="504"/>
            <ac:spMk id="2" creationId="{00000000-0000-0000-0000-000000000000}"/>
          </ac:spMkLst>
        </pc:spChg>
        <pc:spChg chg="del">
          <ac:chgData name="Manish Sharma" userId="97d895ad-8d7a-4884-8c18-743afd731b6f" providerId="ADAL" clId="{98D6BF9E-951A-44E3-9068-B5D71577D20F}" dt="2020-10-15T03:56:30.222" v="9467" actId="478"/>
          <ac:spMkLst>
            <pc:docMk/>
            <pc:sldMk cId="1618758624" sldId="504"/>
            <ac:spMk id="7" creationId="{AA3ACFFB-286A-40F2-9ECA-86C9F400E460}"/>
          </ac:spMkLst>
        </pc:spChg>
        <pc:spChg chg="mod">
          <ac:chgData name="Manish Sharma" userId="97d895ad-8d7a-4884-8c18-743afd731b6f" providerId="ADAL" clId="{98D6BF9E-951A-44E3-9068-B5D71577D20F}" dt="2020-10-15T17:18:02.376" v="12365" actId="404"/>
          <ac:spMkLst>
            <pc:docMk/>
            <pc:sldMk cId="1618758624" sldId="504"/>
            <ac:spMk id="15" creationId="{7F764852-256F-49DF-B500-7AB466E1A418}"/>
          </ac:spMkLst>
        </pc:spChg>
        <pc:spChg chg="del">
          <ac:chgData name="Manish Sharma" userId="97d895ad-8d7a-4884-8c18-743afd731b6f" providerId="ADAL" clId="{98D6BF9E-951A-44E3-9068-B5D71577D20F}" dt="2020-10-16T20:40:41.176" v="18441" actId="478"/>
          <ac:spMkLst>
            <pc:docMk/>
            <pc:sldMk cId="1618758624" sldId="504"/>
            <ac:spMk id="43" creationId="{00000000-0000-0000-0000-000000000000}"/>
          </ac:spMkLst>
        </pc:spChg>
        <pc:graphicFrameChg chg="add del mod">
          <ac:chgData name="Manish Sharma" userId="97d895ad-8d7a-4884-8c18-743afd731b6f" providerId="ADAL" clId="{98D6BF9E-951A-44E3-9068-B5D71577D20F}" dt="2020-10-15T03:11:52.562" v="8679" actId="478"/>
          <ac:graphicFrameMkLst>
            <pc:docMk/>
            <pc:sldMk cId="1618758624" sldId="504"/>
            <ac:graphicFrameMk id="4" creationId="{A007D50B-7C04-4608-95F9-812D09156ACC}"/>
          </ac:graphicFrameMkLst>
        </pc:graphicFrameChg>
        <pc:graphicFrameChg chg="del">
          <ac:chgData name="Manish Sharma" userId="97d895ad-8d7a-4884-8c18-743afd731b6f" providerId="ADAL" clId="{98D6BF9E-951A-44E3-9068-B5D71577D20F}" dt="2020-10-15T03:04:00.188" v="8414" actId="478"/>
          <ac:graphicFrameMkLst>
            <pc:docMk/>
            <pc:sldMk cId="1618758624" sldId="504"/>
            <ac:graphicFrameMk id="6" creationId="{CEA878D8-69E4-4DAD-822F-8CC91A72392C}"/>
          </ac:graphicFrameMkLst>
        </pc:graphicFrameChg>
        <pc:graphicFrameChg chg="add mod modGraphic">
          <ac:chgData name="Manish Sharma" userId="97d895ad-8d7a-4884-8c18-743afd731b6f" providerId="ADAL" clId="{98D6BF9E-951A-44E3-9068-B5D71577D20F}" dt="2020-10-15T04:00:14.366" v="9473"/>
          <ac:graphicFrameMkLst>
            <pc:docMk/>
            <pc:sldMk cId="1618758624" sldId="504"/>
            <ac:graphicFrameMk id="8" creationId="{E395CAF6-C549-432F-A0E8-6E0C950C57D8}"/>
          </ac:graphicFrameMkLst>
        </pc:graphicFrameChg>
        <pc:graphicFrameChg chg="add del mod">
          <ac:chgData name="Manish Sharma" userId="97d895ad-8d7a-4884-8c18-743afd731b6f" providerId="ADAL" clId="{98D6BF9E-951A-44E3-9068-B5D71577D20F}" dt="2020-10-15T17:08:19.779" v="12179" actId="478"/>
          <ac:graphicFrameMkLst>
            <pc:docMk/>
            <pc:sldMk cId="1618758624" sldId="504"/>
            <ac:graphicFrameMk id="9" creationId="{768AB0A8-97E0-45E7-9E06-2326A530D801}"/>
          </ac:graphicFrameMkLst>
        </pc:graphicFrameChg>
        <pc:graphicFrameChg chg="add mod">
          <ac:chgData name="Manish Sharma" userId="97d895ad-8d7a-4884-8c18-743afd731b6f" providerId="ADAL" clId="{98D6BF9E-951A-44E3-9068-B5D71577D20F}" dt="2020-10-15T17:18:29.014" v="12367" actId="1076"/>
          <ac:graphicFrameMkLst>
            <pc:docMk/>
            <pc:sldMk cId="1618758624" sldId="504"/>
            <ac:graphicFrameMk id="10" creationId="{768AB0A8-97E0-45E7-9E06-2326A530D801}"/>
          </ac:graphicFrameMkLst>
        </pc:graphicFrameChg>
        <pc:graphicFrameChg chg="del">
          <ac:chgData name="Manish Sharma" userId="97d895ad-8d7a-4884-8c18-743afd731b6f" providerId="ADAL" clId="{98D6BF9E-951A-44E3-9068-B5D71577D20F}" dt="2020-10-15T03:11:55.829" v="8680" actId="478"/>
          <ac:graphicFrameMkLst>
            <pc:docMk/>
            <pc:sldMk cId="1618758624" sldId="504"/>
            <ac:graphicFrameMk id="51" creationId="{2943C2A6-89A3-4C41-98C3-C8C9EBFFF118}"/>
          </ac:graphicFrameMkLst>
        </pc:graphicFrameChg>
        <pc:picChg chg="del">
          <ac:chgData name="Manish Sharma" userId="97d895ad-8d7a-4884-8c18-743afd731b6f" providerId="ADAL" clId="{98D6BF9E-951A-44E3-9068-B5D71577D20F}" dt="2020-10-16T19:48:46.269" v="18222" actId="478"/>
          <ac:picMkLst>
            <pc:docMk/>
            <pc:sldMk cId="1618758624" sldId="504"/>
            <ac:picMk id="3" creationId="{00000000-0000-0000-0000-000000000000}"/>
          </ac:picMkLst>
        </pc:picChg>
        <pc:picChg chg="add del">
          <ac:chgData name="Manish Sharma" userId="97d895ad-8d7a-4884-8c18-743afd731b6f" providerId="ADAL" clId="{98D6BF9E-951A-44E3-9068-B5D71577D20F}" dt="2020-10-15T17:01:24.003" v="12155" actId="478"/>
          <ac:picMkLst>
            <pc:docMk/>
            <pc:sldMk cId="1618758624" sldId="504"/>
            <ac:picMk id="5" creationId="{28E3EC62-7983-4405-9CF8-E44416ED30E1}"/>
          </ac:picMkLst>
        </pc:picChg>
      </pc:sldChg>
      <pc:sldChg chg="addSp delSp modSp add mod">
        <pc:chgData name="Manish Sharma" userId="97d895ad-8d7a-4884-8c18-743afd731b6f" providerId="ADAL" clId="{98D6BF9E-951A-44E3-9068-B5D71577D20F}" dt="2020-10-16T14:19:00.683" v="15848"/>
        <pc:sldMkLst>
          <pc:docMk/>
          <pc:sldMk cId="1190348094" sldId="505"/>
        </pc:sldMkLst>
        <pc:spChg chg="mod">
          <ac:chgData name="Manish Sharma" userId="97d895ad-8d7a-4884-8c18-743afd731b6f" providerId="ADAL" clId="{98D6BF9E-951A-44E3-9068-B5D71577D20F}" dt="2020-10-15T15:20:13.031" v="11935" actId="20577"/>
          <ac:spMkLst>
            <pc:docMk/>
            <pc:sldMk cId="1190348094" sldId="505"/>
            <ac:spMk id="2" creationId="{2158DD08-4CEF-4D30-8AB3-4463BA31613D}"/>
          </ac:spMkLst>
        </pc:spChg>
        <pc:spChg chg="mod">
          <ac:chgData name="Manish Sharma" userId="97d895ad-8d7a-4884-8c18-743afd731b6f" providerId="ADAL" clId="{98D6BF9E-951A-44E3-9068-B5D71577D20F}" dt="2020-10-15T17:16:24.831" v="12239" actId="20577"/>
          <ac:spMkLst>
            <pc:docMk/>
            <pc:sldMk cId="1190348094" sldId="505"/>
            <ac:spMk id="3" creationId="{CA14A4FA-C038-4B61-ACBB-4F6D4B7EE2A3}"/>
          </ac:spMkLst>
        </pc:spChg>
        <pc:spChg chg="mod">
          <ac:chgData name="Manish Sharma" userId="97d895ad-8d7a-4884-8c18-743afd731b6f" providerId="ADAL" clId="{98D6BF9E-951A-44E3-9068-B5D71577D20F}" dt="2020-10-15T03:32:49.799" v="8947" actId="1076"/>
          <ac:spMkLst>
            <pc:docMk/>
            <pc:sldMk cId="1190348094" sldId="505"/>
            <ac:spMk id="4" creationId="{F00D0453-5D52-4629-854E-7EC07BF3AEF5}"/>
          </ac:spMkLst>
        </pc:spChg>
        <pc:spChg chg="del mod">
          <ac:chgData name="Manish Sharma" userId="97d895ad-8d7a-4884-8c18-743afd731b6f" providerId="ADAL" clId="{98D6BF9E-951A-44E3-9068-B5D71577D20F}" dt="2020-10-15T03:33:30.478" v="8950" actId="478"/>
          <ac:spMkLst>
            <pc:docMk/>
            <pc:sldMk cId="1190348094" sldId="505"/>
            <ac:spMk id="6" creationId="{1CEA420F-9E57-4872-8721-79A894764481}"/>
          </ac:spMkLst>
        </pc:spChg>
        <pc:spChg chg="del mod">
          <ac:chgData name="Manish Sharma" userId="97d895ad-8d7a-4884-8c18-743afd731b6f" providerId="ADAL" clId="{98D6BF9E-951A-44E3-9068-B5D71577D20F}" dt="2020-10-15T03:33:27.189" v="8949" actId="478"/>
          <ac:spMkLst>
            <pc:docMk/>
            <pc:sldMk cId="1190348094" sldId="505"/>
            <ac:spMk id="9" creationId="{6A8BF1CB-5119-47FE-8DF9-47802F31CE93}"/>
          </ac:spMkLst>
        </pc:spChg>
        <pc:graphicFrameChg chg="add del mod">
          <ac:chgData name="Manish Sharma" userId="97d895ad-8d7a-4884-8c18-743afd731b6f" providerId="ADAL" clId="{98D6BF9E-951A-44E3-9068-B5D71577D20F}" dt="2020-10-15T03:33:32.772" v="8951" actId="478"/>
          <ac:graphicFrameMkLst>
            <pc:docMk/>
            <pc:sldMk cId="1190348094" sldId="505"/>
            <ac:graphicFrameMk id="5" creationId="{11557AB0-34B9-43EB-A845-2134CB0F627F}"/>
          </ac:graphicFrameMkLst>
        </pc:graphicFrameChg>
        <pc:graphicFrameChg chg="add mod">
          <ac:chgData name="Manish Sharma" userId="97d895ad-8d7a-4884-8c18-743afd731b6f" providerId="ADAL" clId="{98D6BF9E-951A-44E3-9068-B5D71577D20F}" dt="2020-10-16T14:19:00.683" v="15848"/>
          <ac:graphicFrameMkLst>
            <pc:docMk/>
            <pc:sldMk cId="1190348094" sldId="505"/>
            <ac:graphicFrameMk id="5" creationId="{160F8911-50C1-4FD8-B2E4-59D4F44E8514}"/>
          </ac:graphicFrameMkLst>
        </pc:graphicFrameChg>
        <pc:graphicFrameChg chg="del">
          <ac:chgData name="Manish Sharma" userId="97d895ad-8d7a-4884-8c18-743afd731b6f" providerId="ADAL" clId="{98D6BF9E-951A-44E3-9068-B5D71577D20F}" dt="2020-10-15T03:19:36.536" v="8918" actId="478"/>
          <ac:graphicFrameMkLst>
            <pc:docMk/>
            <pc:sldMk cId="1190348094" sldId="505"/>
            <ac:graphicFrameMk id="7" creationId="{0CBA0D8F-B6E7-4C35-9D83-7824A4B26C02}"/>
          </ac:graphicFrameMkLst>
        </pc:graphicFrameChg>
        <pc:graphicFrameChg chg="add del mod">
          <ac:chgData name="Manish Sharma" userId="97d895ad-8d7a-4884-8c18-743afd731b6f" providerId="ADAL" clId="{98D6BF9E-951A-44E3-9068-B5D71577D20F}" dt="2020-10-15T17:15:04.261" v="12184" actId="478"/>
          <ac:graphicFrameMkLst>
            <pc:docMk/>
            <pc:sldMk cId="1190348094" sldId="505"/>
            <ac:graphicFrameMk id="10" creationId="{F4A40F87-7156-48E6-AC85-E0F5F1A96F93}"/>
          </ac:graphicFrameMkLst>
        </pc:graphicFrameChg>
      </pc:sldChg>
      <pc:sldChg chg="delSp modSp mod">
        <pc:chgData name="Manish Sharma" userId="97d895ad-8d7a-4884-8c18-743afd731b6f" providerId="ADAL" clId="{98D6BF9E-951A-44E3-9068-B5D71577D20F}" dt="2020-10-16T20:59:40.295" v="18514"/>
        <pc:sldMkLst>
          <pc:docMk/>
          <pc:sldMk cId="3575644813" sldId="506"/>
        </pc:sldMkLst>
        <pc:spChg chg="mod">
          <ac:chgData name="Manish Sharma" userId="97d895ad-8d7a-4884-8c18-743afd731b6f" providerId="ADAL" clId="{98D6BF9E-951A-44E3-9068-B5D71577D20F}" dt="2020-10-16T20:19:33.183" v="18346" actId="2"/>
          <ac:spMkLst>
            <pc:docMk/>
            <pc:sldMk cId="3575644813" sldId="506"/>
            <ac:spMk id="7" creationId="{B2B4F709-BF32-4B9C-85EF-1E265073D9E8}"/>
          </ac:spMkLst>
        </pc:spChg>
        <pc:spChg chg="del">
          <ac:chgData name="Manish Sharma" userId="97d895ad-8d7a-4884-8c18-743afd731b6f" providerId="ADAL" clId="{98D6BF9E-951A-44E3-9068-B5D71577D20F}" dt="2020-10-16T20:32:31.967" v="18362" actId="478"/>
          <ac:spMkLst>
            <pc:docMk/>
            <pc:sldMk cId="3575644813" sldId="506"/>
            <ac:spMk id="43" creationId="{00000000-0000-0000-0000-000000000000}"/>
          </ac:spMkLst>
        </pc:spChg>
        <pc:graphicFrameChg chg="mod">
          <ac:chgData name="Manish Sharma" userId="97d895ad-8d7a-4884-8c18-743afd731b6f" providerId="ADAL" clId="{98D6BF9E-951A-44E3-9068-B5D71577D20F}" dt="2020-10-16T20:59:40.295" v="18514"/>
          <ac:graphicFrameMkLst>
            <pc:docMk/>
            <pc:sldMk cId="3575644813" sldId="506"/>
            <ac:graphicFrameMk id="5" creationId="{957F1C03-BC44-4497-AFC5-64624D93D439}"/>
          </ac:graphicFrameMkLst>
        </pc:graphicFrameChg>
        <pc:graphicFrameChg chg="modGraphic">
          <ac:chgData name="Manish Sharma" userId="97d895ad-8d7a-4884-8c18-743afd731b6f" providerId="ADAL" clId="{98D6BF9E-951A-44E3-9068-B5D71577D20F}" dt="2020-10-16T20:19:31.113" v="18344" actId="2"/>
          <ac:graphicFrameMkLst>
            <pc:docMk/>
            <pc:sldMk cId="3575644813" sldId="506"/>
            <ac:graphicFrameMk id="12" creationId="{F3CAD3D4-E6BB-4B9A-A523-75143986B640}"/>
          </ac:graphicFrameMkLst>
        </pc:graphicFrameChg>
        <pc:graphicFrameChg chg="modGraphic">
          <ac:chgData name="Manish Sharma" userId="97d895ad-8d7a-4884-8c18-743afd731b6f" providerId="ADAL" clId="{98D6BF9E-951A-44E3-9068-B5D71577D20F}" dt="2020-10-16T20:19:37.113" v="18353" actId="2"/>
          <ac:graphicFrameMkLst>
            <pc:docMk/>
            <pc:sldMk cId="3575644813" sldId="506"/>
            <ac:graphicFrameMk id="14" creationId="{FEB5ADB4-20B2-4373-B991-B2EEBA794E1A}"/>
          </ac:graphicFrameMkLst>
        </pc:graphicFrameChg>
        <pc:picChg chg="del">
          <ac:chgData name="Manish Sharma" userId="97d895ad-8d7a-4884-8c18-743afd731b6f" providerId="ADAL" clId="{98D6BF9E-951A-44E3-9068-B5D71577D20F}" dt="2020-10-16T20:36:45.979" v="18414" actId="478"/>
          <ac:picMkLst>
            <pc:docMk/>
            <pc:sldMk cId="3575644813" sldId="506"/>
            <ac:picMk id="3" creationId="{00000000-0000-0000-0000-000000000000}"/>
          </ac:picMkLst>
        </pc:picChg>
      </pc:sldChg>
      <pc:sldChg chg="delSp modSp mod ord">
        <pc:chgData name="Manish Sharma" userId="97d895ad-8d7a-4884-8c18-743afd731b6f" providerId="ADAL" clId="{98D6BF9E-951A-44E3-9068-B5D71577D20F}" dt="2020-10-16T20:41:55.965" v="18500"/>
        <pc:sldMkLst>
          <pc:docMk/>
          <pc:sldMk cId="1630227824" sldId="507"/>
        </pc:sldMkLst>
        <pc:spChg chg="mod">
          <ac:chgData name="Manish Sharma" userId="97d895ad-8d7a-4884-8c18-743afd731b6f" providerId="ADAL" clId="{98D6BF9E-951A-44E3-9068-B5D71577D20F}" dt="2020-10-16T20:34:31.777" v="18409" actId="20577"/>
          <ac:spMkLst>
            <pc:docMk/>
            <pc:sldMk cId="1630227824" sldId="507"/>
            <ac:spMk id="2" creationId="{00000000-0000-0000-0000-000000000000}"/>
          </ac:spMkLst>
        </pc:spChg>
        <pc:spChg chg="mod">
          <ac:chgData name="Manish Sharma" userId="97d895ad-8d7a-4884-8c18-743afd731b6f" providerId="ADAL" clId="{98D6BF9E-951A-44E3-9068-B5D71577D20F}" dt="2020-10-16T19:49:25.616" v="18232" actId="14100"/>
          <ac:spMkLst>
            <pc:docMk/>
            <pc:sldMk cId="1630227824" sldId="507"/>
            <ac:spMk id="39" creationId="{9B3B3C2B-2D6A-454B-9637-F6BD98B02D8E}"/>
          </ac:spMkLst>
        </pc:spChg>
        <pc:spChg chg="mod">
          <ac:chgData name="Manish Sharma" userId="97d895ad-8d7a-4884-8c18-743afd731b6f" providerId="ADAL" clId="{98D6BF9E-951A-44E3-9068-B5D71577D20F}" dt="2020-10-16T19:49:20.913" v="18231" actId="1076"/>
          <ac:spMkLst>
            <pc:docMk/>
            <pc:sldMk cId="1630227824" sldId="507"/>
            <ac:spMk id="40" creationId="{062DBB7B-8D0C-4648-A550-81B348C37DC4}"/>
          </ac:spMkLst>
        </pc:spChg>
        <pc:spChg chg="del">
          <ac:chgData name="Manish Sharma" userId="97d895ad-8d7a-4884-8c18-743afd731b6f" providerId="ADAL" clId="{98D6BF9E-951A-44E3-9068-B5D71577D20F}" dt="2020-10-16T20:34:27.413" v="18407" actId="478"/>
          <ac:spMkLst>
            <pc:docMk/>
            <pc:sldMk cId="1630227824" sldId="507"/>
            <ac:spMk id="43" creationId="{00000000-0000-0000-0000-000000000000}"/>
          </ac:spMkLst>
        </pc:spChg>
      </pc:sldChg>
      <pc:sldChg chg="modSp add">
        <pc:chgData name="Manish Sharma" userId="97d895ad-8d7a-4884-8c18-743afd731b6f" providerId="ADAL" clId="{98D6BF9E-951A-44E3-9068-B5D71577D20F}" dt="2020-10-16T20:37:57.903" v="18418" actId="465"/>
        <pc:sldMkLst>
          <pc:docMk/>
          <pc:sldMk cId="1325507544" sldId="508"/>
        </pc:sldMkLst>
        <pc:spChg chg="mod">
          <ac:chgData name="Manish Sharma" userId="97d895ad-8d7a-4884-8c18-743afd731b6f" providerId="ADAL" clId="{98D6BF9E-951A-44E3-9068-B5D71577D20F}" dt="2020-10-16T20:37:57.903" v="18418" actId="465"/>
          <ac:spMkLst>
            <pc:docMk/>
            <pc:sldMk cId="1325507544" sldId="508"/>
            <ac:spMk id="2" creationId="{000F93BD-1633-45C3-B844-70B135096D8F}"/>
          </ac:spMkLst>
        </pc:spChg>
        <pc:spChg chg="mod">
          <ac:chgData name="Manish Sharma" userId="97d895ad-8d7a-4884-8c18-743afd731b6f" providerId="ADAL" clId="{98D6BF9E-951A-44E3-9068-B5D71577D20F}" dt="2020-10-16T20:37:57.903" v="18418" actId="465"/>
          <ac:spMkLst>
            <pc:docMk/>
            <pc:sldMk cId="1325507544" sldId="508"/>
            <ac:spMk id="10" creationId="{00000000-0000-0000-0000-000000000000}"/>
          </ac:spMkLst>
        </pc:spChg>
        <pc:spChg chg="mod">
          <ac:chgData name="Manish Sharma" userId="97d895ad-8d7a-4884-8c18-743afd731b6f" providerId="ADAL" clId="{98D6BF9E-951A-44E3-9068-B5D71577D20F}" dt="2020-10-16T20:37:57.903" v="18418" actId="465"/>
          <ac:spMkLst>
            <pc:docMk/>
            <pc:sldMk cId="1325507544" sldId="508"/>
            <ac:spMk id="14" creationId="{10910E56-12B7-4659-A83E-149B51BC73C3}"/>
          </ac:spMkLst>
        </pc:spChg>
        <pc:spChg chg="mod">
          <ac:chgData name="Manish Sharma" userId="97d895ad-8d7a-4884-8c18-743afd731b6f" providerId="ADAL" clId="{98D6BF9E-951A-44E3-9068-B5D71577D20F}" dt="2020-10-16T20:37:57.903" v="18418" actId="465"/>
          <ac:spMkLst>
            <pc:docMk/>
            <pc:sldMk cId="1325507544" sldId="508"/>
            <ac:spMk id="20" creationId="{00000000-0000-0000-0000-000000000000}"/>
          </ac:spMkLst>
        </pc:spChg>
      </pc:sldChg>
      <pc:sldMasterChg chg="modSldLayout">
        <pc:chgData name="Manish Sharma" userId="97d895ad-8d7a-4884-8c18-743afd731b6f" providerId="ADAL" clId="{98D6BF9E-951A-44E3-9068-B5D71577D20F}" dt="2020-10-16T19:47:42.372" v="18211" actId="22"/>
        <pc:sldMasterMkLst>
          <pc:docMk/>
          <pc:sldMasterMk cId="835336367" sldId="2147485117"/>
        </pc:sldMasterMkLst>
        <pc:sldLayoutChg chg="addSp mod">
          <pc:chgData name="Manish Sharma" userId="97d895ad-8d7a-4884-8c18-743afd731b6f" providerId="ADAL" clId="{98D6BF9E-951A-44E3-9068-B5D71577D20F}" dt="2020-10-16T19:45:58.637" v="18200" actId="22"/>
          <pc:sldLayoutMkLst>
            <pc:docMk/>
            <pc:sldMasterMk cId="835336367" sldId="2147485117"/>
            <pc:sldLayoutMk cId="1657312068" sldId="2147485086"/>
          </pc:sldLayoutMkLst>
          <pc:picChg chg="add">
            <ac:chgData name="Manish Sharma" userId="97d895ad-8d7a-4884-8c18-743afd731b6f" providerId="ADAL" clId="{98D6BF9E-951A-44E3-9068-B5D71577D20F}" dt="2020-10-16T19:45:58.637" v="18200" actId="22"/>
            <ac:picMkLst>
              <pc:docMk/>
              <pc:sldMasterMk cId="835336367" sldId="2147485117"/>
              <pc:sldLayoutMk cId="1657312068" sldId="2147485086"/>
              <ac:picMk id="2" creationId="{44C55E03-E3DF-4DB3-AAFB-C89F20B42A2B}"/>
            </ac:picMkLst>
          </pc:picChg>
        </pc:sldLayoutChg>
        <pc:sldLayoutChg chg="addSp mod">
          <pc:chgData name="Manish Sharma" userId="97d895ad-8d7a-4884-8c18-743afd731b6f" providerId="ADAL" clId="{98D6BF9E-951A-44E3-9068-B5D71577D20F}" dt="2020-10-16T19:47:27.606" v="18208" actId="22"/>
          <pc:sldLayoutMkLst>
            <pc:docMk/>
            <pc:sldMasterMk cId="835336367" sldId="2147485117"/>
            <pc:sldLayoutMk cId="3014252063" sldId="2147485091"/>
          </pc:sldLayoutMkLst>
          <pc:picChg chg="add">
            <ac:chgData name="Manish Sharma" userId="97d895ad-8d7a-4884-8c18-743afd731b6f" providerId="ADAL" clId="{98D6BF9E-951A-44E3-9068-B5D71577D20F}" dt="2020-10-16T19:47:27.606" v="18208" actId="22"/>
            <ac:picMkLst>
              <pc:docMk/>
              <pc:sldMasterMk cId="835336367" sldId="2147485117"/>
              <pc:sldLayoutMk cId="3014252063" sldId="2147485091"/>
              <ac:picMk id="2" creationId="{B8CEFAB7-3051-42AF-9539-E6F9C20495CB}"/>
            </ac:picMkLst>
          </pc:picChg>
        </pc:sldLayoutChg>
        <pc:sldLayoutChg chg="addSp mod">
          <pc:chgData name="Manish Sharma" userId="97d895ad-8d7a-4884-8c18-743afd731b6f" providerId="ADAL" clId="{98D6BF9E-951A-44E3-9068-B5D71577D20F}" dt="2020-10-16T19:47:25.280" v="18207" actId="22"/>
          <pc:sldLayoutMkLst>
            <pc:docMk/>
            <pc:sldMasterMk cId="835336367" sldId="2147485117"/>
            <pc:sldLayoutMk cId="3379662676" sldId="2147485107"/>
          </pc:sldLayoutMkLst>
          <pc:picChg chg="add">
            <ac:chgData name="Manish Sharma" userId="97d895ad-8d7a-4884-8c18-743afd731b6f" providerId="ADAL" clId="{98D6BF9E-951A-44E3-9068-B5D71577D20F}" dt="2020-10-16T19:47:25.280" v="18207" actId="22"/>
            <ac:picMkLst>
              <pc:docMk/>
              <pc:sldMasterMk cId="835336367" sldId="2147485117"/>
              <pc:sldLayoutMk cId="3379662676" sldId="2147485107"/>
              <ac:picMk id="2" creationId="{C9AFC93A-8F71-48DE-9681-85B856CB1FDA}"/>
            </ac:picMkLst>
          </pc:picChg>
        </pc:sldLayoutChg>
        <pc:sldLayoutChg chg="addSp delSp mod">
          <pc:chgData name="Manish Sharma" userId="97d895ad-8d7a-4884-8c18-743afd731b6f" providerId="ADAL" clId="{98D6BF9E-951A-44E3-9068-B5D71577D20F}" dt="2020-10-16T19:47:17.683" v="18204" actId="22"/>
          <pc:sldLayoutMkLst>
            <pc:docMk/>
            <pc:sldMasterMk cId="835336367" sldId="2147485117"/>
            <pc:sldLayoutMk cId="3692871760" sldId="2147485110"/>
          </pc:sldLayoutMkLst>
          <pc:picChg chg="add del">
            <ac:chgData name="Manish Sharma" userId="97d895ad-8d7a-4884-8c18-743afd731b6f" providerId="ADAL" clId="{98D6BF9E-951A-44E3-9068-B5D71577D20F}" dt="2020-10-16T19:47:17.683" v="18204" actId="22"/>
            <ac:picMkLst>
              <pc:docMk/>
              <pc:sldMasterMk cId="835336367" sldId="2147485117"/>
              <pc:sldLayoutMk cId="3692871760" sldId="2147485110"/>
              <ac:picMk id="2" creationId="{10835ED0-EC35-4101-9DD6-FE4B9094DC03}"/>
            </ac:picMkLst>
          </pc:picChg>
        </pc:sldLayoutChg>
        <pc:sldLayoutChg chg="addSp modSp mod">
          <pc:chgData name="Manish Sharma" userId="97d895ad-8d7a-4884-8c18-743afd731b6f" providerId="ADAL" clId="{98D6BF9E-951A-44E3-9068-B5D71577D20F}" dt="2020-10-16T19:42:10.378" v="18180" actId="1076"/>
          <pc:sldLayoutMkLst>
            <pc:docMk/>
            <pc:sldMasterMk cId="835336367" sldId="2147485117"/>
            <pc:sldLayoutMk cId="1515183581" sldId="2147485115"/>
          </pc:sldLayoutMkLst>
          <pc:spChg chg="mod">
            <ac:chgData name="Manish Sharma" userId="97d895ad-8d7a-4884-8c18-743afd731b6f" providerId="ADAL" clId="{98D6BF9E-951A-44E3-9068-B5D71577D20F}" dt="2020-10-16T19:42:06.850" v="18178" actId="1076"/>
            <ac:spMkLst>
              <pc:docMk/>
              <pc:sldMasterMk cId="835336367" sldId="2147485117"/>
              <pc:sldLayoutMk cId="1515183581" sldId="2147485115"/>
              <ac:spMk id="14" creationId="{00000000-0000-0000-0000-000000000000}"/>
            </ac:spMkLst>
          </pc:spChg>
          <pc:picChg chg="add mod">
            <ac:chgData name="Manish Sharma" userId="97d895ad-8d7a-4884-8c18-743afd731b6f" providerId="ADAL" clId="{98D6BF9E-951A-44E3-9068-B5D71577D20F}" dt="2020-10-16T19:42:10.378" v="18180" actId="1076"/>
            <ac:picMkLst>
              <pc:docMk/>
              <pc:sldMasterMk cId="835336367" sldId="2147485117"/>
              <pc:sldLayoutMk cId="1515183581" sldId="2147485115"/>
              <ac:picMk id="2" creationId="{B403272A-DC9C-495D-B55A-DE30E21428EE}"/>
            </ac:picMkLst>
          </pc:picChg>
        </pc:sldLayoutChg>
        <pc:sldLayoutChg chg="addSp mod">
          <pc:chgData name="Manish Sharma" userId="97d895ad-8d7a-4884-8c18-743afd731b6f" providerId="ADAL" clId="{98D6BF9E-951A-44E3-9068-B5D71577D20F}" dt="2020-10-16T19:47:32.701" v="18209" actId="22"/>
          <pc:sldLayoutMkLst>
            <pc:docMk/>
            <pc:sldMasterMk cId="835336367" sldId="2147485117"/>
            <pc:sldLayoutMk cId="2220698565" sldId="2147485119"/>
          </pc:sldLayoutMkLst>
          <pc:picChg chg="add">
            <ac:chgData name="Manish Sharma" userId="97d895ad-8d7a-4884-8c18-743afd731b6f" providerId="ADAL" clId="{98D6BF9E-951A-44E3-9068-B5D71577D20F}" dt="2020-10-16T19:47:32.701" v="18209" actId="22"/>
            <ac:picMkLst>
              <pc:docMk/>
              <pc:sldMasterMk cId="835336367" sldId="2147485117"/>
              <pc:sldLayoutMk cId="2220698565" sldId="2147485119"/>
              <ac:picMk id="2" creationId="{46AC9E6C-542C-4517-B0CA-3E06A0988147}"/>
            </ac:picMkLst>
          </pc:picChg>
        </pc:sldLayoutChg>
        <pc:sldLayoutChg chg="addSp mod">
          <pc:chgData name="Manish Sharma" userId="97d895ad-8d7a-4884-8c18-743afd731b6f" providerId="ADAL" clId="{98D6BF9E-951A-44E3-9068-B5D71577D20F}" dt="2020-10-16T19:47:39.355" v="18210" actId="22"/>
          <pc:sldLayoutMkLst>
            <pc:docMk/>
            <pc:sldMasterMk cId="835336367" sldId="2147485117"/>
            <pc:sldLayoutMk cId="3060452071" sldId="2147485140"/>
          </pc:sldLayoutMkLst>
          <pc:picChg chg="add">
            <ac:chgData name="Manish Sharma" userId="97d895ad-8d7a-4884-8c18-743afd731b6f" providerId="ADAL" clId="{98D6BF9E-951A-44E3-9068-B5D71577D20F}" dt="2020-10-16T19:47:39.355" v="18210" actId="22"/>
            <ac:picMkLst>
              <pc:docMk/>
              <pc:sldMasterMk cId="835336367" sldId="2147485117"/>
              <pc:sldLayoutMk cId="3060452071" sldId="2147485140"/>
              <ac:picMk id="2" creationId="{9FF9FB8E-D2F3-4816-A7AC-AB07384B2994}"/>
            </ac:picMkLst>
          </pc:picChg>
        </pc:sldLayoutChg>
        <pc:sldLayoutChg chg="addSp mod">
          <pc:chgData name="Manish Sharma" userId="97d895ad-8d7a-4884-8c18-743afd731b6f" providerId="ADAL" clId="{98D6BF9E-951A-44E3-9068-B5D71577D20F}" dt="2020-10-16T19:46:22.405" v="18201" actId="22"/>
          <pc:sldLayoutMkLst>
            <pc:docMk/>
            <pc:sldMasterMk cId="835336367" sldId="2147485117"/>
            <pc:sldLayoutMk cId="1571185308" sldId="2147485144"/>
          </pc:sldLayoutMkLst>
          <pc:picChg chg="add">
            <ac:chgData name="Manish Sharma" userId="97d895ad-8d7a-4884-8c18-743afd731b6f" providerId="ADAL" clId="{98D6BF9E-951A-44E3-9068-B5D71577D20F}" dt="2020-10-16T19:46:22.405" v="18201" actId="22"/>
            <ac:picMkLst>
              <pc:docMk/>
              <pc:sldMasterMk cId="835336367" sldId="2147485117"/>
              <pc:sldLayoutMk cId="1571185308" sldId="2147485144"/>
              <ac:picMk id="2" creationId="{5DCA8B3B-47EF-4A1A-9D87-73447CBBABAC}"/>
            </ac:picMkLst>
          </pc:picChg>
        </pc:sldLayoutChg>
        <pc:sldLayoutChg chg="addSp modSp mod">
          <pc:chgData name="Manish Sharma" userId="97d895ad-8d7a-4884-8c18-743afd731b6f" providerId="ADAL" clId="{98D6BF9E-951A-44E3-9068-B5D71577D20F}" dt="2020-10-16T19:43:12.695" v="18189" actId="14100"/>
          <pc:sldLayoutMkLst>
            <pc:docMk/>
            <pc:sldMasterMk cId="835336367" sldId="2147485117"/>
            <pc:sldLayoutMk cId="3679174197" sldId="2147485164"/>
          </pc:sldLayoutMkLst>
          <pc:picChg chg="add mod">
            <ac:chgData name="Manish Sharma" userId="97d895ad-8d7a-4884-8c18-743afd731b6f" providerId="ADAL" clId="{98D6BF9E-951A-44E3-9068-B5D71577D20F}" dt="2020-10-16T19:43:12.695" v="18189" actId="14100"/>
            <ac:picMkLst>
              <pc:docMk/>
              <pc:sldMasterMk cId="835336367" sldId="2147485117"/>
              <pc:sldLayoutMk cId="3679174197" sldId="2147485164"/>
              <ac:picMk id="2" creationId="{DBCC1920-44DA-40DF-A078-732FB0F64E4D}"/>
            </ac:picMkLst>
          </pc:picChg>
        </pc:sldLayoutChg>
        <pc:sldLayoutChg chg="addSp mod">
          <pc:chgData name="Manish Sharma" userId="97d895ad-8d7a-4884-8c18-743afd731b6f" providerId="ADAL" clId="{98D6BF9E-951A-44E3-9068-B5D71577D20F}" dt="2020-10-16T19:47:11.461" v="18202" actId="22"/>
          <pc:sldLayoutMkLst>
            <pc:docMk/>
            <pc:sldMasterMk cId="835336367" sldId="2147485117"/>
            <pc:sldLayoutMk cId="2974192123" sldId="2147485165"/>
          </pc:sldLayoutMkLst>
          <pc:picChg chg="add">
            <ac:chgData name="Manish Sharma" userId="97d895ad-8d7a-4884-8c18-743afd731b6f" providerId="ADAL" clId="{98D6BF9E-951A-44E3-9068-B5D71577D20F}" dt="2020-10-16T19:47:11.461" v="18202" actId="22"/>
            <ac:picMkLst>
              <pc:docMk/>
              <pc:sldMasterMk cId="835336367" sldId="2147485117"/>
              <pc:sldLayoutMk cId="2974192123" sldId="2147485165"/>
              <ac:picMk id="2" creationId="{5EA295CC-0A0F-4049-94E3-CB613C96B603}"/>
            </ac:picMkLst>
          </pc:picChg>
        </pc:sldLayoutChg>
        <pc:sldLayoutChg chg="addSp mod">
          <pc:chgData name="Manish Sharma" userId="97d895ad-8d7a-4884-8c18-743afd731b6f" providerId="ADAL" clId="{98D6BF9E-951A-44E3-9068-B5D71577D20F}" dt="2020-10-16T19:47:19.934" v="18205" actId="22"/>
          <pc:sldLayoutMkLst>
            <pc:docMk/>
            <pc:sldMasterMk cId="835336367" sldId="2147485117"/>
            <pc:sldLayoutMk cId="2438078681" sldId="2147485166"/>
          </pc:sldLayoutMkLst>
          <pc:picChg chg="add">
            <ac:chgData name="Manish Sharma" userId="97d895ad-8d7a-4884-8c18-743afd731b6f" providerId="ADAL" clId="{98D6BF9E-951A-44E3-9068-B5D71577D20F}" dt="2020-10-16T19:47:19.934" v="18205" actId="22"/>
            <ac:picMkLst>
              <pc:docMk/>
              <pc:sldMasterMk cId="835336367" sldId="2147485117"/>
              <pc:sldLayoutMk cId="2438078681" sldId="2147485166"/>
              <ac:picMk id="2" creationId="{59950F43-8995-4F1F-A728-574165FEE09B}"/>
            </ac:picMkLst>
          </pc:picChg>
        </pc:sldLayoutChg>
        <pc:sldLayoutChg chg="addSp mod">
          <pc:chgData name="Manish Sharma" userId="97d895ad-8d7a-4884-8c18-743afd731b6f" providerId="ADAL" clId="{98D6BF9E-951A-44E3-9068-B5D71577D20F}" dt="2020-10-16T19:47:22.343" v="18206" actId="22"/>
          <pc:sldLayoutMkLst>
            <pc:docMk/>
            <pc:sldMasterMk cId="835336367" sldId="2147485117"/>
            <pc:sldLayoutMk cId="3369865758" sldId="2147485167"/>
          </pc:sldLayoutMkLst>
          <pc:picChg chg="add">
            <ac:chgData name="Manish Sharma" userId="97d895ad-8d7a-4884-8c18-743afd731b6f" providerId="ADAL" clId="{98D6BF9E-951A-44E3-9068-B5D71577D20F}" dt="2020-10-16T19:47:22.343" v="18206" actId="22"/>
            <ac:picMkLst>
              <pc:docMk/>
              <pc:sldMasterMk cId="835336367" sldId="2147485117"/>
              <pc:sldLayoutMk cId="3369865758" sldId="2147485167"/>
              <ac:picMk id="2" creationId="{00D94F1D-4933-4390-AC70-EED5FC740226}"/>
            </ac:picMkLst>
          </pc:picChg>
        </pc:sldLayoutChg>
        <pc:sldLayoutChg chg="addSp mod">
          <pc:chgData name="Manish Sharma" userId="97d895ad-8d7a-4884-8c18-743afd731b6f" providerId="ADAL" clId="{98D6BF9E-951A-44E3-9068-B5D71577D20F}" dt="2020-10-16T19:47:42.372" v="18211" actId="22"/>
          <pc:sldLayoutMkLst>
            <pc:docMk/>
            <pc:sldMasterMk cId="835336367" sldId="2147485117"/>
            <pc:sldLayoutMk cId="589356867" sldId="2147485169"/>
          </pc:sldLayoutMkLst>
          <pc:picChg chg="add">
            <ac:chgData name="Manish Sharma" userId="97d895ad-8d7a-4884-8c18-743afd731b6f" providerId="ADAL" clId="{98D6BF9E-951A-44E3-9068-B5D71577D20F}" dt="2020-10-16T19:47:42.372" v="18211" actId="22"/>
            <ac:picMkLst>
              <pc:docMk/>
              <pc:sldMasterMk cId="835336367" sldId="2147485117"/>
              <pc:sldLayoutMk cId="589356867" sldId="2147485169"/>
              <ac:picMk id="2" creationId="{7127DCCD-A845-4C0F-B265-209DFE68368A}"/>
            </ac:picMkLst>
          </pc:picChg>
        </pc:sldLayoutChg>
      </pc:sldMasterChg>
    </pc:docChg>
  </pc:docChgLst>
  <pc:docChgLst>
    <pc:chgData name="Matthieu Mabyre" userId="S::m.mabyre@castsoftware.com::52a89cab-5e6b-49ac-8601-6d3bc79d567b" providerId="AD" clId="Web-{240F744B-D402-4CEA-A984-A2AEAD155C1E}"/>
    <pc:docChg chg="modSld">
      <pc:chgData name="Matthieu Mabyre" userId="S::m.mabyre@castsoftware.com::52a89cab-5e6b-49ac-8601-6d3bc79d567b" providerId="AD" clId="Web-{240F744B-D402-4CEA-A984-A2AEAD155C1E}" dt="2020-11-13T19:42:52.227" v="9" actId="20577"/>
      <pc:docMkLst>
        <pc:docMk/>
      </pc:docMkLst>
      <pc:sldChg chg="modSp">
        <pc:chgData name="Matthieu Mabyre" userId="S::m.mabyre@castsoftware.com::52a89cab-5e6b-49ac-8601-6d3bc79d567b" providerId="AD" clId="Web-{240F744B-D402-4CEA-A984-A2AEAD155C1E}" dt="2020-11-13T19:42:52.227" v="9" actId="20577"/>
        <pc:sldMkLst>
          <pc:docMk/>
          <pc:sldMk cId="3136490012" sldId="516"/>
        </pc:sldMkLst>
        <pc:spChg chg="mod">
          <ac:chgData name="Matthieu Mabyre" userId="S::m.mabyre@castsoftware.com::52a89cab-5e6b-49ac-8601-6d3bc79d567b" providerId="AD" clId="Web-{240F744B-D402-4CEA-A984-A2AEAD155C1E}" dt="2020-11-13T19:42:52.227" v="9" actId="20577"/>
          <ac:spMkLst>
            <pc:docMk/>
            <pc:sldMk cId="3136490012" sldId="516"/>
            <ac:spMk id="80" creationId="{6F5A7825-C260-4831-9B48-001AB9DF90D5}"/>
          </ac:spMkLst>
        </pc:spChg>
      </pc:sldChg>
    </pc:docChg>
  </pc:docChgLst>
  <pc:docChgLst>
    <pc:chgData name="Matthieu Mabyre" userId="52a89cab-5e6b-49ac-8601-6d3bc79d567b" providerId="ADAL" clId="{1E18BEF7-7875-458D-B6CC-A05A33676706}"/>
    <pc:docChg chg="undo redo custSel modSld">
      <pc:chgData name="Matthieu Mabyre" userId="52a89cab-5e6b-49ac-8601-6d3bc79d567b" providerId="ADAL" clId="{1E18BEF7-7875-458D-B6CC-A05A33676706}" dt="2020-10-02T15:57:22.331" v="288" actId="113"/>
      <pc:docMkLst>
        <pc:docMk/>
      </pc:docMkLst>
      <pc:sldChg chg="addSp delSp modSp mod">
        <pc:chgData name="Matthieu Mabyre" userId="52a89cab-5e6b-49ac-8601-6d3bc79d567b" providerId="ADAL" clId="{1E18BEF7-7875-458D-B6CC-A05A33676706}" dt="2020-10-02T15:46:29.384" v="277" actId="1037"/>
        <pc:sldMkLst>
          <pc:docMk/>
          <pc:sldMk cId="2797066760" sldId="446"/>
        </pc:sldMkLst>
        <pc:spChg chg="mod">
          <ac:chgData name="Matthieu Mabyre" userId="52a89cab-5e6b-49ac-8601-6d3bc79d567b" providerId="ADAL" clId="{1E18BEF7-7875-458D-B6CC-A05A33676706}" dt="2020-10-02T15:43:59.840" v="160" actId="20577"/>
          <ac:spMkLst>
            <pc:docMk/>
            <pc:sldMk cId="2797066760" sldId="446"/>
            <ac:spMk id="2" creationId="{00000000-0000-0000-0000-000000000000}"/>
          </ac:spMkLst>
        </pc:spChg>
        <pc:spChg chg="del">
          <ac:chgData name="Matthieu Mabyre" userId="52a89cab-5e6b-49ac-8601-6d3bc79d567b" providerId="ADAL" clId="{1E18BEF7-7875-458D-B6CC-A05A33676706}" dt="2020-10-02T15:43:53.321" v="139" actId="478"/>
          <ac:spMkLst>
            <pc:docMk/>
            <pc:sldMk cId="2797066760" sldId="446"/>
            <ac:spMk id="3" creationId="{000A2C7E-78F9-4C3B-BD7E-67890CFF75F4}"/>
          </ac:spMkLst>
        </pc:spChg>
        <pc:spChg chg="add mod">
          <ac:chgData name="Matthieu Mabyre" userId="52a89cab-5e6b-49ac-8601-6d3bc79d567b" providerId="ADAL" clId="{1E18BEF7-7875-458D-B6CC-A05A33676706}" dt="2020-10-02T15:45:14.045" v="256" actId="1038"/>
          <ac:spMkLst>
            <pc:docMk/>
            <pc:sldMk cId="2797066760" sldId="446"/>
            <ac:spMk id="7" creationId="{BDE45ABA-C59F-4E4B-8B6E-2CCEC6D64441}"/>
          </ac:spMkLst>
        </pc:spChg>
        <pc:spChg chg="add mod">
          <ac:chgData name="Matthieu Mabyre" userId="52a89cab-5e6b-49ac-8601-6d3bc79d567b" providerId="ADAL" clId="{1E18BEF7-7875-458D-B6CC-A05A33676706}" dt="2020-10-02T15:45:14.045" v="256" actId="1038"/>
          <ac:spMkLst>
            <pc:docMk/>
            <pc:sldMk cId="2797066760" sldId="446"/>
            <ac:spMk id="8" creationId="{C0A9BC08-A2CF-49A8-96E8-FB143372C7C9}"/>
          </ac:spMkLst>
        </pc:spChg>
        <pc:spChg chg="add mod">
          <ac:chgData name="Matthieu Mabyre" userId="52a89cab-5e6b-49ac-8601-6d3bc79d567b" providerId="ADAL" clId="{1E18BEF7-7875-458D-B6CC-A05A33676706}" dt="2020-10-02T15:45:14.045" v="256" actId="1038"/>
          <ac:spMkLst>
            <pc:docMk/>
            <pc:sldMk cId="2797066760" sldId="446"/>
            <ac:spMk id="10" creationId="{FE7D522E-34E6-4464-A8B8-CC031AA95B2B}"/>
          </ac:spMkLst>
        </pc:spChg>
        <pc:spChg chg="add mod">
          <ac:chgData name="Matthieu Mabyre" userId="52a89cab-5e6b-49ac-8601-6d3bc79d567b" providerId="ADAL" clId="{1E18BEF7-7875-458D-B6CC-A05A33676706}" dt="2020-10-02T15:45:14.045" v="256" actId="1038"/>
          <ac:spMkLst>
            <pc:docMk/>
            <pc:sldMk cId="2797066760" sldId="446"/>
            <ac:spMk id="11" creationId="{DC50922F-CFFF-4B96-A6ED-860BC1F17FBB}"/>
          </ac:spMkLst>
        </pc:spChg>
        <pc:spChg chg="add mod">
          <ac:chgData name="Matthieu Mabyre" userId="52a89cab-5e6b-49ac-8601-6d3bc79d567b" providerId="ADAL" clId="{1E18BEF7-7875-458D-B6CC-A05A33676706}" dt="2020-10-02T15:45:14.045" v="256" actId="1038"/>
          <ac:spMkLst>
            <pc:docMk/>
            <pc:sldMk cId="2797066760" sldId="446"/>
            <ac:spMk id="12" creationId="{79ECE9EC-37F2-4955-91DB-DA2B670E9D4C}"/>
          </ac:spMkLst>
        </pc:spChg>
        <pc:spChg chg="add mod">
          <ac:chgData name="Matthieu Mabyre" userId="52a89cab-5e6b-49ac-8601-6d3bc79d567b" providerId="ADAL" clId="{1E18BEF7-7875-458D-B6CC-A05A33676706}" dt="2020-10-02T15:45:14.045" v="256" actId="1038"/>
          <ac:spMkLst>
            <pc:docMk/>
            <pc:sldMk cId="2797066760" sldId="446"/>
            <ac:spMk id="13" creationId="{BB5CDEF3-212B-4FD5-9B78-38D4DF86DBDD}"/>
          </ac:spMkLst>
        </pc:spChg>
        <pc:spChg chg="add mod">
          <ac:chgData name="Matthieu Mabyre" userId="52a89cab-5e6b-49ac-8601-6d3bc79d567b" providerId="ADAL" clId="{1E18BEF7-7875-458D-B6CC-A05A33676706}" dt="2020-10-02T15:45:14.045" v="256" actId="1038"/>
          <ac:spMkLst>
            <pc:docMk/>
            <pc:sldMk cId="2797066760" sldId="446"/>
            <ac:spMk id="14" creationId="{1FAA7961-1E24-4C0B-9ABE-65F06DD07E5C}"/>
          </ac:spMkLst>
        </pc:spChg>
        <pc:spChg chg="add mod">
          <ac:chgData name="Matthieu Mabyre" userId="52a89cab-5e6b-49ac-8601-6d3bc79d567b" providerId="ADAL" clId="{1E18BEF7-7875-458D-B6CC-A05A33676706}" dt="2020-10-02T15:45:14.045" v="256" actId="1038"/>
          <ac:spMkLst>
            <pc:docMk/>
            <pc:sldMk cId="2797066760" sldId="446"/>
            <ac:spMk id="15" creationId="{B1483C84-9B1F-475D-9C51-D59284D92006}"/>
          </ac:spMkLst>
        </pc:spChg>
        <pc:spChg chg="add mod">
          <ac:chgData name="Matthieu Mabyre" userId="52a89cab-5e6b-49ac-8601-6d3bc79d567b" providerId="ADAL" clId="{1E18BEF7-7875-458D-B6CC-A05A33676706}" dt="2020-10-02T15:45:14.045" v="256" actId="1038"/>
          <ac:spMkLst>
            <pc:docMk/>
            <pc:sldMk cId="2797066760" sldId="446"/>
            <ac:spMk id="28" creationId="{DEFB6A02-A663-41AA-B58F-4026D3013428}"/>
          </ac:spMkLst>
        </pc:spChg>
        <pc:spChg chg="add mod">
          <ac:chgData name="Matthieu Mabyre" userId="52a89cab-5e6b-49ac-8601-6d3bc79d567b" providerId="ADAL" clId="{1E18BEF7-7875-458D-B6CC-A05A33676706}" dt="2020-10-02T15:45:14.045" v="256" actId="1038"/>
          <ac:spMkLst>
            <pc:docMk/>
            <pc:sldMk cId="2797066760" sldId="446"/>
            <ac:spMk id="29" creationId="{CEB1C884-59CA-4B7D-998D-129AEAA3A239}"/>
          </ac:spMkLst>
        </pc:spChg>
        <pc:spChg chg="add mod">
          <ac:chgData name="Matthieu Mabyre" userId="52a89cab-5e6b-49ac-8601-6d3bc79d567b" providerId="ADAL" clId="{1E18BEF7-7875-458D-B6CC-A05A33676706}" dt="2020-10-02T15:45:14.045" v="256" actId="1038"/>
          <ac:spMkLst>
            <pc:docMk/>
            <pc:sldMk cId="2797066760" sldId="446"/>
            <ac:spMk id="30" creationId="{9BC28585-62BA-4B67-A457-16C3FAF69D46}"/>
          </ac:spMkLst>
        </pc:spChg>
        <pc:spChg chg="add mod">
          <ac:chgData name="Matthieu Mabyre" userId="52a89cab-5e6b-49ac-8601-6d3bc79d567b" providerId="ADAL" clId="{1E18BEF7-7875-458D-B6CC-A05A33676706}" dt="2020-10-02T15:45:14.045" v="256" actId="1038"/>
          <ac:spMkLst>
            <pc:docMk/>
            <pc:sldMk cId="2797066760" sldId="446"/>
            <ac:spMk id="31" creationId="{6C6B8D32-B4CB-4E0C-A52E-9D1AC022AB14}"/>
          </ac:spMkLst>
        </pc:spChg>
        <pc:spChg chg="mod">
          <ac:chgData name="Matthieu Mabyre" userId="52a89cab-5e6b-49ac-8601-6d3bc79d567b" providerId="ADAL" clId="{1E18BEF7-7875-458D-B6CC-A05A33676706}" dt="2020-10-02T15:46:29.384" v="277" actId="1037"/>
          <ac:spMkLst>
            <pc:docMk/>
            <pc:sldMk cId="2797066760" sldId="446"/>
            <ac:spMk id="39" creationId="{9B3B3C2B-2D6A-454B-9637-F6BD98B02D8E}"/>
          </ac:spMkLst>
        </pc:spChg>
        <pc:spChg chg="mod">
          <ac:chgData name="Matthieu Mabyre" userId="52a89cab-5e6b-49ac-8601-6d3bc79d567b" providerId="ADAL" clId="{1E18BEF7-7875-458D-B6CC-A05A33676706}" dt="2020-10-02T15:46:29.384" v="277" actId="1037"/>
          <ac:spMkLst>
            <pc:docMk/>
            <pc:sldMk cId="2797066760" sldId="446"/>
            <ac:spMk id="40" creationId="{062DBB7B-8D0C-4648-A550-81B348C37DC4}"/>
          </ac:spMkLst>
        </pc:spChg>
        <pc:grpChg chg="del">
          <ac:chgData name="Matthieu Mabyre" userId="52a89cab-5e6b-49ac-8601-6d3bc79d567b" providerId="ADAL" clId="{1E18BEF7-7875-458D-B6CC-A05A33676706}" dt="2020-10-02T15:43:51.536" v="138" actId="478"/>
          <ac:grpSpMkLst>
            <pc:docMk/>
            <pc:sldMk cId="2797066760" sldId="446"/>
            <ac:grpSpMk id="29" creationId="{44DE44BE-BB05-4012-91B8-A9DC42C87BA7}"/>
          </ac:grpSpMkLst>
        </pc:grpChg>
        <pc:grpChg chg="del">
          <ac:chgData name="Matthieu Mabyre" userId="52a89cab-5e6b-49ac-8601-6d3bc79d567b" providerId="ADAL" clId="{1E18BEF7-7875-458D-B6CC-A05A33676706}" dt="2020-10-02T15:43:51.536" v="138" actId="478"/>
          <ac:grpSpMkLst>
            <pc:docMk/>
            <pc:sldMk cId="2797066760" sldId="446"/>
            <ac:grpSpMk id="33" creationId="{E8D8D328-C75A-4FFE-8DAD-8BD8D876E161}"/>
          </ac:grpSpMkLst>
        </pc:grpChg>
        <pc:grpChg chg="del">
          <ac:chgData name="Matthieu Mabyre" userId="52a89cab-5e6b-49ac-8601-6d3bc79d567b" providerId="ADAL" clId="{1E18BEF7-7875-458D-B6CC-A05A33676706}" dt="2020-10-02T15:43:51.536" v="138" actId="478"/>
          <ac:grpSpMkLst>
            <pc:docMk/>
            <pc:sldMk cId="2797066760" sldId="446"/>
            <ac:grpSpMk id="36" creationId="{748765C8-8EE4-4354-98B1-A577560D7280}"/>
          </ac:grpSpMkLst>
        </pc:grpChg>
        <pc:picChg chg="add mod">
          <ac:chgData name="Matthieu Mabyre" userId="52a89cab-5e6b-49ac-8601-6d3bc79d567b" providerId="ADAL" clId="{1E18BEF7-7875-458D-B6CC-A05A33676706}" dt="2020-10-02T15:45:14.045" v="256" actId="1038"/>
          <ac:picMkLst>
            <pc:docMk/>
            <pc:sldMk cId="2797066760" sldId="446"/>
            <ac:picMk id="6" creationId="{04DB72C9-DB09-4060-91E0-0E6AE5B0F0F7}"/>
          </ac:picMkLst>
        </pc:picChg>
        <pc:picChg chg="del">
          <ac:chgData name="Matthieu Mabyre" userId="52a89cab-5e6b-49ac-8601-6d3bc79d567b" providerId="ADAL" clId="{1E18BEF7-7875-458D-B6CC-A05A33676706}" dt="2020-10-02T15:43:51.536" v="138" actId="478"/>
          <ac:picMkLst>
            <pc:docMk/>
            <pc:sldMk cId="2797066760" sldId="446"/>
            <ac:picMk id="24" creationId="{20E1DF81-C329-4509-BE20-B9CC4316479A}"/>
          </ac:picMkLst>
        </pc:picChg>
        <pc:cxnChg chg="add mod">
          <ac:chgData name="Matthieu Mabyre" userId="52a89cab-5e6b-49ac-8601-6d3bc79d567b" providerId="ADAL" clId="{1E18BEF7-7875-458D-B6CC-A05A33676706}" dt="2020-10-02T15:45:14.045" v="256" actId="1038"/>
          <ac:cxnSpMkLst>
            <pc:docMk/>
            <pc:sldMk cId="2797066760" sldId="446"/>
            <ac:cxnSpMk id="9" creationId="{227096EE-CD50-4D22-8CE4-582CA71A8F79}"/>
          </ac:cxnSpMkLst>
        </pc:cxnChg>
        <pc:cxnChg chg="add mod">
          <ac:chgData name="Matthieu Mabyre" userId="52a89cab-5e6b-49ac-8601-6d3bc79d567b" providerId="ADAL" clId="{1E18BEF7-7875-458D-B6CC-A05A33676706}" dt="2020-10-02T15:45:14.045" v="256" actId="1038"/>
          <ac:cxnSpMkLst>
            <pc:docMk/>
            <pc:sldMk cId="2797066760" sldId="446"/>
            <ac:cxnSpMk id="16" creationId="{86BFAF22-BC0E-491B-A7AA-E8D9DABF282E}"/>
          </ac:cxnSpMkLst>
        </pc:cxnChg>
        <pc:cxnChg chg="add mod">
          <ac:chgData name="Matthieu Mabyre" userId="52a89cab-5e6b-49ac-8601-6d3bc79d567b" providerId="ADAL" clId="{1E18BEF7-7875-458D-B6CC-A05A33676706}" dt="2020-10-02T15:45:14.045" v="256" actId="1038"/>
          <ac:cxnSpMkLst>
            <pc:docMk/>
            <pc:sldMk cId="2797066760" sldId="446"/>
            <ac:cxnSpMk id="17" creationId="{0A7E071B-258F-4FC7-A481-402E21623D26}"/>
          </ac:cxnSpMkLst>
        </pc:cxnChg>
        <pc:cxnChg chg="add mod">
          <ac:chgData name="Matthieu Mabyre" userId="52a89cab-5e6b-49ac-8601-6d3bc79d567b" providerId="ADAL" clId="{1E18BEF7-7875-458D-B6CC-A05A33676706}" dt="2020-10-02T15:45:14.045" v="256" actId="1038"/>
          <ac:cxnSpMkLst>
            <pc:docMk/>
            <pc:sldMk cId="2797066760" sldId="446"/>
            <ac:cxnSpMk id="18" creationId="{D69F846A-D975-488A-9113-FF733EE66070}"/>
          </ac:cxnSpMkLst>
        </pc:cxnChg>
        <pc:cxnChg chg="add mod">
          <ac:chgData name="Matthieu Mabyre" userId="52a89cab-5e6b-49ac-8601-6d3bc79d567b" providerId="ADAL" clId="{1E18BEF7-7875-458D-B6CC-A05A33676706}" dt="2020-10-02T15:45:14.045" v="256" actId="1038"/>
          <ac:cxnSpMkLst>
            <pc:docMk/>
            <pc:sldMk cId="2797066760" sldId="446"/>
            <ac:cxnSpMk id="19" creationId="{209C31AB-A063-4B2A-8442-B80A4457870B}"/>
          </ac:cxnSpMkLst>
        </pc:cxnChg>
        <pc:cxnChg chg="add mod">
          <ac:chgData name="Matthieu Mabyre" userId="52a89cab-5e6b-49ac-8601-6d3bc79d567b" providerId="ADAL" clId="{1E18BEF7-7875-458D-B6CC-A05A33676706}" dt="2020-10-02T15:45:14.045" v="256" actId="1038"/>
          <ac:cxnSpMkLst>
            <pc:docMk/>
            <pc:sldMk cId="2797066760" sldId="446"/>
            <ac:cxnSpMk id="20" creationId="{0C7612AD-1C07-47B4-9FF9-7439B85B0297}"/>
          </ac:cxnSpMkLst>
        </pc:cxnChg>
        <pc:cxnChg chg="add mod">
          <ac:chgData name="Matthieu Mabyre" userId="52a89cab-5e6b-49ac-8601-6d3bc79d567b" providerId="ADAL" clId="{1E18BEF7-7875-458D-B6CC-A05A33676706}" dt="2020-10-02T15:45:14.045" v="256" actId="1038"/>
          <ac:cxnSpMkLst>
            <pc:docMk/>
            <pc:sldMk cId="2797066760" sldId="446"/>
            <ac:cxnSpMk id="21" creationId="{F8819B65-D7FB-4634-836C-BF830AD1615D}"/>
          </ac:cxnSpMkLst>
        </pc:cxnChg>
        <pc:cxnChg chg="add mod">
          <ac:chgData name="Matthieu Mabyre" userId="52a89cab-5e6b-49ac-8601-6d3bc79d567b" providerId="ADAL" clId="{1E18BEF7-7875-458D-B6CC-A05A33676706}" dt="2020-10-02T15:45:14.045" v="256" actId="1038"/>
          <ac:cxnSpMkLst>
            <pc:docMk/>
            <pc:sldMk cId="2797066760" sldId="446"/>
            <ac:cxnSpMk id="22" creationId="{5655D41D-1CFD-4DE4-9B9C-7C92309664F8}"/>
          </ac:cxnSpMkLst>
        </pc:cxnChg>
        <pc:cxnChg chg="add mod">
          <ac:chgData name="Matthieu Mabyre" userId="52a89cab-5e6b-49ac-8601-6d3bc79d567b" providerId="ADAL" clId="{1E18BEF7-7875-458D-B6CC-A05A33676706}" dt="2020-10-02T15:45:14.045" v="256" actId="1038"/>
          <ac:cxnSpMkLst>
            <pc:docMk/>
            <pc:sldMk cId="2797066760" sldId="446"/>
            <ac:cxnSpMk id="23" creationId="{FEAC05AA-761D-44E8-BDF3-9FA75AA3A8E2}"/>
          </ac:cxnSpMkLst>
        </pc:cxnChg>
        <pc:cxnChg chg="add mod">
          <ac:chgData name="Matthieu Mabyre" userId="52a89cab-5e6b-49ac-8601-6d3bc79d567b" providerId="ADAL" clId="{1E18BEF7-7875-458D-B6CC-A05A33676706}" dt="2020-10-02T15:45:14.045" v="256" actId="1038"/>
          <ac:cxnSpMkLst>
            <pc:docMk/>
            <pc:sldMk cId="2797066760" sldId="446"/>
            <ac:cxnSpMk id="24" creationId="{593B8CCC-B631-45F7-9415-631BFDA8B802}"/>
          </ac:cxnSpMkLst>
        </pc:cxnChg>
        <pc:cxnChg chg="add mod">
          <ac:chgData name="Matthieu Mabyre" userId="52a89cab-5e6b-49ac-8601-6d3bc79d567b" providerId="ADAL" clId="{1E18BEF7-7875-458D-B6CC-A05A33676706}" dt="2020-10-02T15:45:14.045" v="256" actId="1038"/>
          <ac:cxnSpMkLst>
            <pc:docMk/>
            <pc:sldMk cId="2797066760" sldId="446"/>
            <ac:cxnSpMk id="25" creationId="{60CE891C-7BD1-45C2-A4A8-6AA43E1BF8FC}"/>
          </ac:cxnSpMkLst>
        </pc:cxnChg>
        <pc:cxnChg chg="add mod">
          <ac:chgData name="Matthieu Mabyre" userId="52a89cab-5e6b-49ac-8601-6d3bc79d567b" providerId="ADAL" clId="{1E18BEF7-7875-458D-B6CC-A05A33676706}" dt="2020-10-02T15:45:14.045" v="256" actId="1038"/>
          <ac:cxnSpMkLst>
            <pc:docMk/>
            <pc:sldMk cId="2797066760" sldId="446"/>
            <ac:cxnSpMk id="26" creationId="{F9AA800C-7C45-4496-A6BA-2EFC99855B59}"/>
          </ac:cxnSpMkLst>
        </pc:cxnChg>
        <pc:cxnChg chg="add mod">
          <ac:chgData name="Matthieu Mabyre" userId="52a89cab-5e6b-49ac-8601-6d3bc79d567b" providerId="ADAL" clId="{1E18BEF7-7875-458D-B6CC-A05A33676706}" dt="2020-10-02T15:45:14.045" v="256" actId="1038"/>
          <ac:cxnSpMkLst>
            <pc:docMk/>
            <pc:sldMk cId="2797066760" sldId="446"/>
            <ac:cxnSpMk id="27" creationId="{B4092BAA-06AC-4679-9367-8977E280D5FF}"/>
          </ac:cxnSpMkLst>
        </pc:cxnChg>
      </pc:sldChg>
      <pc:sldChg chg="addSp delSp modSp mod">
        <pc:chgData name="Matthieu Mabyre" userId="52a89cab-5e6b-49ac-8601-6d3bc79d567b" providerId="ADAL" clId="{1E18BEF7-7875-458D-B6CC-A05A33676706}" dt="2020-10-02T15:37:13.264" v="137" actId="1037"/>
        <pc:sldMkLst>
          <pc:docMk/>
          <pc:sldMk cId="824401427" sldId="465"/>
        </pc:sldMkLst>
        <pc:spChg chg="mod">
          <ac:chgData name="Matthieu Mabyre" userId="52a89cab-5e6b-49ac-8601-6d3bc79d567b" providerId="ADAL" clId="{1E18BEF7-7875-458D-B6CC-A05A33676706}" dt="2020-10-02T15:29:53.576" v="56" actId="20577"/>
          <ac:spMkLst>
            <pc:docMk/>
            <pc:sldMk cId="824401427" sldId="465"/>
            <ac:spMk id="2" creationId="{00000000-0000-0000-0000-000000000000}"/>
          </ac:spMkLst>
        </pc:spChg>
        <pc:spChg chg="del">
          <ac:chgData name="Matthieu Mabyre" userId="52a89cab-5e6b-49ac-8601-6d3bc79d567b" providerId="ADAL" clId="{1E18BEF7-7875-458D-B6CC-A05A33676706}" dt="2020-10-02T15:28:18.957" v="0" actId="478"/>
          <ac:spMkLst>
            <pc:docMk/>
            <pc:sldMk cId="824401427" sldId="465"/>
            <ac:spMk id="3" creationId="{D4507406-A4B1-410C-B39F-E5EF75978132}"/>
          </ac:spMkLst>
        </pc:spChg>
        <pc:spChg chg="add mod">
          <ac:chgData name="Matthieu Mabyre" userId="52a89cab-5e6b-49ac-8601-6d3bc79d567b" providerId="ADAL" clId="{1E18BEF7-7875-458D-B6CC-A05A33676706}" dt="2020-10-02T15:29:25.933" v="21" actId="1076"/>
          <ac:spMkLst>
            <pc:docMk/>
            <pc:sldMk cId="824401427" sldId="465"/>
            <ac:spMk id="20" creationId="{D6D5F667-5A69-4992-88DC-07AE609FF120}"/>
          </ac:spMkLst>
        </pc:spChg>
        <pc:spChg chg="add mod">
          <ac:chgData name="Matthieu Mabyre" userId="52a89cab-5e6b-49ac-8601-6d3bc79d567b" providerId="ADAL" clId="{1E18BEF7-7875-458D-B6CC-A05A33676706}" dt="2020-10-02T15:29:25.933" v="21" actId="1076"/>
          <ac:spMkLst>
            <pc:docMk/>
            <pc:sldMk cId="824401427" sldId="465"/>
            <ac:spMk id="21" creationId="{C679392C-1E50-428D-AE4C-AA4E6EF95FA3}"/>
          </ac:spMkLst>
        </pc:spChg>
        <pc:spChg chg="add mod">
          <ac:chgData name="Matthieu Mabyre" userId="52a89cab-5e6b-49ac-8601-6d3bc79d567b" providerId="ADAL" clId="{1E18BEF7-7875-458D-B6CC-A05A33676706}" dt="2020-10-02T15:29:25.933" v="21" actId="1076"/>
          <ac:spMkLst>
            <pc:docMk/>
            <pc:sldMk cId="824401427" sldId="465"/>
            <ac:spMk id="23" creationId="{F1F608B6-D2F1-455C-A7A2-C4B91D039B46}"/>
          </ac:spMkLst>
        </pc:spChg>
        <pc:spChg chg="add mod">
          <ac:chgData name="Matthieu Mabyre" userId="52a89cab-5e6b-49ac-8601-6d3bc79d567b" providerId="ADAL" clId="{1E18BEF7-7875-458D-B6CC-A05A33676706}" dt="2020-10-02T15:29:25.933" v="21" actId="1076"/>
          <ac:spMkLst>
            <pc:docMk/>
            <pc:sldMk cId="824401427" sldId="465"/>
            <ac:spMk id="24" creationId="{B76E45B3-8CD7-4E1D-A5B8-EE51D41DDB5A}"/>
          </ac:spMkLst>
        </pc:spChg>
        <pc:spChg chg="add mod">
          <ac:chgData name="Matthieu Mabyre" userId="52a89cab-5e6b-49ac-8601-6d3bc79d567b" providerId="ADAL" clId="{1E18BEF7-7875-458D-B6CC-A05A33676706}" dt="2020-10-02T15:29:25.933" v="21" actId="1076"/>
          <ac:spMkLst>
            <pc:docMk/>
            <pc:sldMk cId="824401427" sldId="465"/>
            <ac:spMk id="25" creationId="{62527ACF-C4AA-47C0-BBF4-04E6B44FFC20}"/>
          </ac:spMkLst>
        </pc:spChg>
        <pc:spChg chg="add mod">
          <ac:chgData name="Matthieu Mabyre" userId="52a89cab-5e6b-49ac-8601-6d3bc79d567b" providerId="ADAL" clId="{1E18BEF7-7875-458D-B6CC-A05A33676706}" dt="2020-10-02T15:29:25.933" v="21" actId="1076"/>
          <ac:spMkLst>
            <pc:docMk/>
            <pc:sldMk cId="824401427" sldId="465"/>
            <ac:spMk id="26" creationId="{9831E3F9-60A9-4885-A2A7-63AF242092AF}"/>
          </ac:spMkLst>
        </pc:spChg>
        <pc:spChg chg="add mod">
          <ac:chgData name="Matthieu Mabyre" userId="52a89cab-5e6b-49ac-8601-6d3bc79d567b" providerId="ADAL" clId="{1E18BEF7-7875-458D-B6CC-A05A33676706}" dt="2020-10-02T15:29:25.933" v="21" actId="1076"/>
          <ac:spMkLst>
            <pc:docMk/>
            <pc:sldMk cId="824401427" sldId="465"/>
            <ac:spMk id="27" creationId="{B2FD2050-897F-47DE-AE1C-8B34A75A36A6}"/>
          </ac:spMkLst>
        </pc:spChg>
        <pc:spChg chg="add mod">
          <ac:chgData name="Matthieu Mabyre" userId="52a89cab-5e6b-49ac-8601-6d3bc79d567b" providerId="ADAL" clId="{1E18BEF7-7875-458D-B6CC-A05A33676706}" dt="2020-10-02T15:29:25.933" v="21" actId="1076"/>
          <ac:spMkLst>
            <pc:docMk/>
            <pc:sldMk cId="824401427" sldId="465"/>
            <ac:spMk id="28" creationId="{96AB877F-0D03-45B8-BB2D-187663E9F12F}"/>
          </ac:spMkLst>
        </pc:spChg>
        <pc:spChg chg="mod">
          <ac:chgData name="Matthieu Mabyre" userId="52a89cab-5e6b-49ac-8601-6d3bc79d567b" providerId="ADAL" clId="{1E18BEF7-7875-458D-B6CC-A05A33676706}" dt="2020-10-02T15:37:08.152" v="123" actId="1037"/>
          <ac:spMkLst>
            <pc:docMk/>
            <pc:sldMk cId="824401427" sldId="465"/>
            <ac:spMk id="39" creationId="{9B3B3C2B-2D6A-454B-9637-F6BD98B02D8E}"/>
          </ac:spMkLst>
        </pc:spChg>
        <pc:spChg chg="mod">
          <ac:chgData name="Matthieu Mabyre" userId="52a89cab-5e6b-49ac-8601-6d3bc79d567b" providerId="ADAL" clId="{1E18BEF7-7875-458D-B6CC-A05A33676706}" dt="2020-10-02T15:37:13.264" v="137" actId="1037"/>
          <ac:spMkLst>
            <pc:docMk/>
            <pc:sldMk cId="824401427" sldId="465"/>
            <ac:spMk id="40" creationId="{062DBB7B-8D0C-4648-A550-81B348C37DC4}"/>
          </ac:spMkLst>
        </pc:spChg>
        <pc:spChg chg="add mod">
          <ac:chgData name="Matthieu Mabyre" userId="52a89cab-5e6b-49ac-8601-6d3bc79d567b" providerId="ADAL" clId="{1E18BEF7-7875-458D-B6CC-A05A33676706}" dt="2020-10-02T15:29:25.933" v="21" actId="1076"/>
          <ac:spMkLst>
            <pc:docMk/>
            <pc:sldMk cId="824401427" sldId="465"/>
            <ac:spMk id="44" creationId="{0FF5302F-08ED-4589-B64C-276EB6E8FA31}"/>
          </ac:spMkLst>
        </pc:spChg>
        <pc:spChg chg="add mod">
          <ac:chgData name="Matthieu Mabyre" userId="52a89cab-5e6b-49ac-8601-6d3bc79d567b" providerId="ADAL" clId="{1E18BEF7-7875-458D-B6CC-A05A33676706}" dt="2020-10-02T15:29:25.933" v="21" actId="1076"/>
          <ac:spMkLst>
            <pc:docMk/>
            <pc:sldMk cId="824401427" sldId="465"/>
            <ac:spMk id="45" creationId="{5004FB94-F3FE-4549-83A1-426FF01B2285}"/>
          </ac:spMkLst>
        </pc:spChg>
        <pc:spChg chg="add mod">
          <ac:chgData name="Matthieu Mabyre" userId="52a89cab-5e6b-49ac-8601-6d3bc79d567b" providerId="ADAL" clId="{1E18BEF7-7875-458D-B6CC-A05A33676706}" dt="2020-10-02T15:29:25.933" v="21" actId="1076"/>
          <ac:spMkLst>
            <pc:docMk/>
            <pc:sldMk cId="824401427" sldId="465"/>
            <ac:spMk id="46" creationId="{4CB484A5-32F7-4039-B43F-E68E9A0B3FFF}"/>
          </ac:spMkLst>
        </pc:spChg>
        <pc:spChg chg="add mod">
          <ac:chgData name="Matthieu Mabyre" userId="52a89cab-5e6b-49ac-8601-6d3bc79d567b" providerId="ADAL" clId="{1E18BEF7-7875-458D-B6CC-A05A33676706}" dt="2020-10-02T15:29:25.933" v="21" actId="1076"/>
          <ac:spMkLst>
            <pc:docMk/>
            <pc:sldMk cId="824401427" sldId="465"/>
            <ac:spMk id="47" creationId="{82EFDFCF-F556-47EB-B314-969AF9C44939}"/>
          </ac:spMkLst>
        </pc:spChg>
        <pc:grpChg chg="del">
          <ac:chgData name="Matthieu Mabyre" userId="52a89cab-5e6b-49ac-8601-6d3bc79d567b" providerId="ADAL" clId="{1E18BEF7-7875-458D-B6CC-A05A33676706}" dt="2020-10-02T15:28:24.075" v="1" actId="478"/>
          <ac:grpSpMkLst>
            <pc:docMk/>
            <pc:sldMk cId="824401427" sldId="465"/>
            <ac:grpSpMk id="10" creationId="{1E3E0ED4-10D7-4F21-8C9F-CC4B88805BF1}"/>
          </ac:grpSpMkLst>
        </pc:grpChg>
        <pc:grpChg chg="del">
          <ac:chgData name="Matthieu Mabyre" userId="52a89cab-5e6b-49ac-8601-6d3bc79d567b" providerId="ADAL" clId="{1E18BEF7-7875-458D-B6CC-A05A33676706}" dt="2020-10-02T15:28:24.075" v="1" actId="478"/>
          <ac:grpSpMkLst>
            <pc:docMk/>
            <pc:sldMk cId="824401427" sldId="465"/>
            <ac:grpSpMk id="13" creationId="{4B6C1D37-691C-484A-9F74-9D6529DA1416}"/>
          </ac:grpSpMkLst>
        </pc:grpChg>
        <pc:grpChg chg="del">
          <ac:chgData name="Matthieu Mabyre" userId="52a89cab-5e6b-49ac-8601-6d3bc79d567b" providerId="ADAL" clId="{1E18BEF7-7875-458D-B6CC-A05A33676706}" dt="2020-10-02T15:28:24.075" v="1" actId="478"/>
          <ac:grpSpMkLst>
            <pc:docMk/>
            <pc:sldMk cId="824401427" sldId="465"/>
            <ac:grpSpMk id="16" creationId="{92222487-5E81-4EC8-BB27-DB296F6803D4}"/>
          </ac:grpSpMkLst>
        </pc:grpChg>
        <pc:picChg chg="del">
          <ac:chgData name="Matthieu Mabyre" userId="52a89cab-5e6b-49ac-8601-6d3bc79d567b" providerId="ADAL" clId="{1E18BEF7-7875-458D-B6CC-A05A33676706}" dt="2020-10-02T15:28:26.593" v="2" actId="478"/>
          <ac:picMkLst>
            <pc:docMk/>
            <pc:sldMk cId="824401427" sldId="465"/>
            <ac:picMk id="6" creationId="{DBE96E38-56A6-40F4-AC7E-A33AB0B6B3C0}"/>
          </ac:picMkLst>
        </pc:picChg>
        <pc:picChg chg="add mod">
          <ac:chgData name="Matthieu Mabyre" userId="52a89cab-5e6b-49ac-8601-6d3bc79d567b" providerId="ADAL" clId="{1E18BEF7-7875-458D-B6CC-A05A33676706}" dt="2020-10-02T15:29:25.933" v="21" actId="1076"/>
          <ac:picMkLst>
            <pc:docMk/>
            <pc:sldMk cId="824401427" sldId="465"/>
            <ac:picMk id="19" creationId="{CE385AEC-5EFA-470C-AD21-C2C77BC9C4F8}"/>
          </ac:picMkLst>
        </pc:picChg>
        <pc:cxnChg chg="add mod">
          <ac:chgData name="Matthieu Mabyre" userId="52a89cab-5e6b-49ac-8601-6d3bc79d567b" providerId="ADAL" clId="{1E18BEF7-7875-458D-B6CC-A05A33676706}" dt="2020-10-02T15:29:25.933" v="21" actId="1076"/>
          <ac:cxnSpMkLst>
            <pc:docMk/>
            <pc:sldMk cId="824401427" sldId="465"/>
            <ac:cxnSpMk id="22" creationId="{AE28B17D-B897-45FB-AE3A-FD109F2A54E5}"/>
          </ac:cxnSpMkLst>
        </pc:cxnChg>
        <pc:cxnChg chg="add mod">
          <ac:chgData name="Matthieu Mabyre" userId="52a89cab-5e6b-49ac-8601-6d3bc79d567b" providerId="ADAL" clId="{1E18BEF7-7875-458D-B6CC-A05A33676706}" dt="2020-10-02T15:29:25.933" v="21" actId="1076"/>
          <ac:cxnSpMkLst>
            <pc:docMk/>
            <pc:sldMk cId="824401427" sldId="465"/>
            <ac:cxnSpMk id="29" creationId="{FA1CA5C3-6FC8-4E17-9EFC-5F97E75F3E1C}"/>
          </ac:cxnSpMkLst>
        </pc:cxnChg>
        <pc:cxnChg chg="add mod">
          <ac:chgData name="Matthieu Mabyre" userId="52a89cab-5e6b-49ac-8601-6d3bc79d567b" providerId="ADAL" clId="{1E18BEF7-7875-458D-B6CC-A05A33676706}" dt="2020-10-02T15:29:25.933" v="21" actId="1076"/>
          <ac:cxnSpMkLst>
            <pc:docMk/>
            <pc:sldMk cId="824401427" sldId="465"/>
            <ac:cxnSpMk id="30" creationId="{D019553B-57A1-45B3-88F8-44CE044BDE85}"/>
          </ac:cxnSpMkLst>
        </pc:cxnChg>
        <pc:cxnChg chg="add mod">
          <ac:chgData name="Matthieu Mabyre" userId="52a89cab-5e6b-49ac-8601-6d3bc79d567b" providerId="ADAL" clId="{1E18BEF7-7875-458D-B6CC-A05A33676706}" dt="2020-10-02T15:29:25.933" v="21" actId="1076"/>
          <ac:cxnSpMkLst>
            <pc:docMk/>
            <pc:sldMk cId="824401427" sldId="465"/>
            <ac:cxnSpMk id="31" creationId="{3A7E08D7-A622-41CF-AEE4-F3C45600FCEB}"/>
          </ac:cxnSpMkLst>
        </pc:cxnChg>
        <pc:cxnChg chg="add mod">
          <ac:chgData name="Matthieu Mabyre" userId="52a89cab-5e6b-49ac-8601-6d3bc79d567b" providerId="ADAL" clId="{1E18BEF7-7875-458D-B6CC-A05A33676706}" dt="2020-10-02T15:29:25.933" v="21" actId="1076"/>
          <ac:cxnSpMkLst>
            <pc:docMk/>
            <pc:sldMk cId="824401427" sldId="465"/>
            <ac:cxnSpMk id="32" creationId="{3060C285-D5A6-4203-9A51-33039C376571}"/>
          </ac:cxnSpMkLst>
        </pc:cxnChg>
        <pc:cxnChg chg="add mod">
          <ac:chgData name="Matthieu Mabyre" userId="52a89cab-5e6b-49ac-8601-6d3bc79d567b" providerId="ADAL" clId="{1E18BEF7-7875-458D-B6CC-A05A33676706}" dt="2020-10-02T15:29:25.933" v="21" actId="1076"/>
          <ac:cxnSpMkLst>
            <pc:docMk/>
            <pc:sldMk cId="824401427" sldId="465"/>
            <ac:cxnSpMk id="33" creationId="{21D296C3-DE06-4B73-91C2-B4E59FA27E82}"/>
          </ac:cxnSpMkLst>
        </pc:cxnChg>
        <pc:cxnChg chg="add mod">
          <ac:chgData name="Matthieu Mabyre" userId="52a89cab-5e6b-49ac-8601-6d3bc79d567b" providerId="ADAL" clId="{1E18BEF7-7875-458D-B6CC-A05A33676706}" dt="2020-10-02T15:29:25.933" v="21" actId="1076"/>
          <ac:cxnSpMkLst>
            <pc:docMk/>
            <pc:sldMk cId="824401427" sldId="465"/>
            <ac:cxnSpMk id="34" creationId="{FAB3863D-8338-467E-B2B6-AB05031A61A1}"/>
          </ac:cxnSpMkLst>
        </pc:cxnChg>
        <pc:cxnChg chg="add mod">
          <ac:chgData name="Matthieu Mabyre" userId="52a89cab-5e6b-49ac-8601-6d3bc79d567b" providerId="ADAL" clId="{1E18BEF7-7875-458D-B6CC-A05A33676706}" dt="2020-10-02T15:29:25.933" v="21" actId="1076"/>
          <ac:cxnSpMkLst>
            <pc:docMk/>
            <pc:sldMk cId="824401427" sldId="465"/>
            <ac:cxnSpMk id="35" creationId="{213EDF5B-34BB-4AE9-AB11-3C82800EA9F1}"/>
          </ac:cxnSpMkLst>
        </pc:cxnChg>
        <pc:cxnChg chg="add mod">
          <ac:chgData name="Matthieu Mabyre" userId="52a89cab-5e6b-49ac-8601-6d3bc79d567b" providerId="ADAL" clId="{1E18BEF7-7875-458D-B6CC-A05A33676706}" dt="2020-10-02T15:29:25.933" v="21" actId="1076"/>
          <ac:cxnSpMkLst>
            <pc:docMk/>
            <pc:sldMk cId="824401427" sldId="465"/>
            <ac:cxnSpMk id="36" creationId="{F9CDAC2E-0896-4E29-9012-9508A1B3DB0F}"/>
          </ac:cxnSpMkLst>
        </pc:cxnChg>
        <pc:cxnChg chg="add mod">
          <ac:chgData name="Matthieu Mabyre" userId="52a89cab-5e6b-49ac-8601-6d3bc79d567b" providerId="ADAL" clId="{1E18BEF7-7875-458D-B6CC-A05A33676706}" dt="2020-10-02T15:29:25.933" v="21" actId="1076"/>
          <ac:cxnSpMkLst>
            <pc:docMk/>
            <pc:sldMk cId="824401427" sldId="465"/>
            <ac:cxnSpMk id="37" creationId="{7C26F354-EB8A-4F09-A83B-36248E9E3EC2}"/>
          </ac:cxnSpMkLst>
        </pc:cxnChg>
        <pc:cxnChg chg="add mod">
          <ac:chgData name="Matthieu Mabyre" userId="52a89cab-5e6b-49ac-8601-6d3bc79d567b" providerId="ADAL" clId="{1E18BEF7-7875-458D-B6CC-A05A33676706}" dt="2020-10-02T15:29:25.933" v="21" actId="1076"/>
          <ac:cxnSpMkLst>
            <pc:docMk/>
            <pc:sldMk cId="824401427" sldId="465"/>
            <ac:cxnSpMk id="38" creationId="{3FF7C37A-7064-432F-8F6E-7A8A2D6ADFEE}"/>
          </ac:cxnSpMkLst>
        </pc:cxnChg>
        <pc:cxnChg chg="add mod">
          <ac:chgData name="Matthieu Mabyre" userId="52a89cab-5e6b-49ac-8601-6d3bc79d567b" providerId="ADAL" clId="{1E18BEF7-7875-458D-B6CC-A05A33676706}" dt="2020-10-02T15:29:25.933" v="21" actId="1076"/>
          <ac:cxnSpMkLst>
            <pc:docMk/>
            <pc:sldMk cId="824401427" sldId="465"/>
            <ac:cxnSpMk id="41" creationId="{B98B1BD0-82A4-4D42-8156-1E478E21374E}"/>
          </ac:cxnSpMkLst>
        </pc:cxnChg>
        <pc:cxnChg chg="add mod">
          <ac:chgData name="Matthieu Mabyre" userId="52a89cab-5e6b-49ac-8601-6d3bc79d567b" providerId="ADAL" clId="{1E18BEF7-7875-458D-B6CC-A05A33676706}" dt="2020-10-02T15:29:25.933" v="21" actId="1076"/>
          <ac:cxnSpMkLst>
            <pc:docMk/>
            <pc:sldMk cId="824401427" sldId="465"/>
            <ac:cxnSpMk id="42" creationId="{418B7E2E-4537-4BCE-95DE-4ACB547C4C45}"/>
          </ac:cxnSpMkLst>
        </pc:cxnChg>
      </pc:sldChg>
      <pc:sldChg chg="addSp delSp modSp mod">
        <pc:chgData name="Matthieu Mabyre" userId="52a89cab-5e6b-49ac-8601-6d3bc79d567b" providerId="ADAL" clId="{1E18BEF7-7875-458D-B6CC-A05A33676706}" dt="2020-10-02T15:57:22.331" v="288" actId="113"/>
        <pc:sldMkLst>
          <pc:docMk/>
          <pc:sldMk cId="2005443533" sldId="487"/>
        </pc:sldMkLst>
        <pc:spChg chg="add del mod">
          <ac:chgData name="Matthieu Mabyre" userId="52a89cab-5e6b-49ac-8601-6d3bc79d567b" providerId="ADAL" clId="{1E18BEF7-7875-458D-B6CC-A05A33676706}" dt="2020-10-02T15:56:42.522" v="281"/>
          <ac:spMkLst>
            <pc:docMk/>
            <pc:sldMk cId="2005443533" sldId="487"/>
            <ac:spMk id="4" creationId="{71C7ED8A-EF31-42B4-8392-20C3B15FB11C}"/>
          </ac:spMkLst>
        </pc:spChg>
        <pc:spChg chg="add del mod">
          <ac:chgData name="Matthieu Mabyre" userId="52a89cab-5e6b-49ac-8601-6d3bc79d567b" providerId="ADAL" clId="{1E18BEF7-7875-458D-B6CC-A05A33676706}" dt="2020-10-02T15:56:42.522" v="281"/>
          <ac:spMkLst>
            <pc:docMk/>
            <pc:sldMk cId="2005443533" sldId="487"/>
            <ac:spMk id="5" creationId="{E11641FE-A0EB-4231-AFB4-0DDFE3481111}"/>
          </ac:spMkLst>
        </pc:spChg>
        <pc:spChg chg="add mod">
          <ac:chgData name="Matthieu Mabyre" userId="52a89cab-5e6b-49ac-8601-6d3bc79d567b" providerId="ADAL" clId="{1E18BEF7-7875-458D-B6CC-A05A33676706}" dt="2020-10-02T15:57:22.331" v="288" actId="113"/>
          <ac:spMkLst>
            <pc:docMk/>
            <pc:sldMk cId="2005443533" sldId="487"/>
            <ac:spMk id="6" creationId="{3DD92FC7-6C25-4186-9364-1C641B6F775B}"/>
          </ac:spMkLst>
        </pc:spChg>
        <pc:spChg chg="add mod">
          <ac:chgData name="Matthieu Mabyre" userId="52a89cab-5e6b-49ac-8601-6d3bc79d567b" providerId="ADAL" clId="{1E18BEF7-7875-458D-B6CC-A05A33676706}" dt="2020-10-02T15:57:15.995" v="286" actId="113"/>
          <ac:spMkLst>
            <pc:docMk/>
            <pc:sldMk cId="2005443533" sldId="487"/>
            <ac:spMk id="7" creationId="{94778117-26F0-439D-BC7A-08492EF17406}"/>
          </ac:spMkLst>
        </pc:spChg>
      </pc:sldChg>
    </pc:docChg>
  </pc:docChgLst>
  <pc:docChgLst>
    <pc:chgData name="Gurunand Pai" userId="3497c6a8-6cb2-4308-974d-19fae6631586" providerId="ADAL" clId="{F34AB475-0CBA-4830-9989-D4E2AECFD3AA}"/>
    <pc:docChg chg="undo custSel addSld delSld modSld sldOrd addSection modSection">
      <pc:chgData name="Gurunand Pai" userId="3497c6a8-6cb2-4308-974d-19fae6631586" providerId="ADAL" clId="{F34AB475-0CBA-4830-9989-D4E2AECFD3AA}" dt="2021-01-13T20:47:02.668" v="439" actId="20577"/>
      <pc:docMkLst>
        <pc:docMk/>
      </pc:docMkLst>
      <pc:sldChg chg="modSp mod">
        <pc:chgData name="Gurunand Pai" userId="3497c6a8-6cb2-4308-974d-19fae6631586" providerId="ADAL" clId="{F34AB475-0CBA-4830-9989-D4E2AECFD3AA}" dt="2021-01-07T02:19:13.068" v="2" actId="13926"/>
        <pc:sldMkLst>
          <pc:docMk/>
          <pc:sldMk cId="1146825991" sldId="503"/>
        </pc:sldMkLst>
        <pc:spChg chg="mod">
          <ac:chgData name="Gurunand Pai" userId="3497c6a8-6cb2-4308-974d-19fae6631586" providerId="ADAL" clId="{F34AB475-0CBA-4830-9989-D4E2AECFD3AA}" dt="2021-01-07T02:19:13.068" v="2" actId="13926"/>
          <ac:spMkLst>
            <pc:docMk/>
            <pc:sldMk cId="1146825991" sldId="503"/>
            <ac:spMk id="15" creationId="{7F764852-256F-49DF-B500-7AB466E1A418}"/>
          </ac:spMkLst>
        </pc:spChg>
      </pc:sldChg>
      <pc:sldChg chg="modSp mod">
        <pc:chgData name="Gurunand Pai" userId="3497c6a8-6cb2-4308-974d-19fae6631586" providerId="ADAL" clId="{F34AB475-0CBA-4830-9989-D4E2AECFD3AA}" dt="2021-01-07T02:33:49.020" v="9" actId="20577"/>
        <pc:sldMkLst>
          <pc:docMk/>
          <pc:sldMk cId="1618758624" sldId="504"/>
        </pc:sldMkLst>
        <pc:spChg chg="mod">
          <ac:chgData name="Gurunand Pai" userId="3497c6a8-6cb2-4308-974d-19fae6631586" providerId="ADAL" clId="{F34AB475-0CBA-4830-9989-D4E2AECFD3AA}" dt="2021-01-07T02:33:49.020" v="9" actId="20577"/>
          <ac:spMkLst>
            <pc:docMk/>
            <pc:sldMk cId="1618758624" sldId="504"/>
            <ac:spMk id="15" creationId="{7F764852-256F-49DF-B500-7AB466E1A418}"/>
          </ac:spMkLst>
        </pc:spChg>
      </pc:sldChg>
      <pc:sldChg chg="modSp mod">
        <pc:chgData name="Gurunand Pai" userId="3497c6a8-6cb2-4308-974d-19fae6631586" providerId="ADAL" clId="{F34AB475-0CBA-4830-9989-D4E2AECFD3AA}" dt="2021-01-13T20:10:42.098" v="40" actId="13926"/>
        <pc:sldMkLst>
          <pc:docMk/>
          <pc:sldMk cId="1190348094" sldId="505"/>
        </pc:sldMkLst>
        <pc:spChg chg="mod">
          <ac:chgData name="Gurunand Pai" userId="3497c6a8-6cb2-4308-974d-19fae6631586" providerId="ADAL" clId="{F34AB475-0CBA-4830-9989-D4E2AECFD3AA}" dt="2021-01-13T20:08:56.417" v="10"/>
          <ac:spMkLst>
            <pc:docMk/>
            <pc:sldMk cId="1190348094" sldId="505"/>
            <ac:spMk id="3" creationId="{CA14A4FA-C038-4B61-ACBB-4F6D4B7EE2A3}"/>
          </ac:spMkLst>
        </pc:spChg>
        <pc:spChg chg="mod">
          <ac:chgData name="Gurunand Pai" userId="3497c6a8-6cb2-4308-974d-19fae6631586" providerId="ADAL" clId="{F34AB475-0CBA-4830-9989-D4E2AECFD3AA}" dt="2021-01-13T20:10:42.098" v="40" actId="13926"/>
          <ac:spMkLst>
            <pc:docMk/>
            <pc:sldMk cId="1190348094" sldId="505"/>
            <ac:spMk id="4" creationId="{F00D0453-5D52-4629-854E-7EC07BF3AEF5}"/>
          </ac:spMkLst>
        </pc:spChg>
        <pc:graphicFrameChg chg="mod">
          <ac:chgData name="Gurunand Pai" userId="3497c6a8-6cb2-4308-974d-19fae6631586" providerId="ADAL" clId="{F34AB475-0CBA-4830-9989-D4E2AECFD3AA}" dt="2021-01-13T20:09:34.301" v="22" actId="1076"/>
          <ac:graphicFrameMkLst>
            <pc:docMk/>
            <pc:sldMk cId="1190348094" sldId="505"/>
            <ac:graphicFrameMk id="5" creationId="{160F8911-50C1-4FD8-B2E4-59D4F44E8514}"/>
          </ac:graphicFrameMkLst>
        </pc:graphicFrameChg>
      </pc:sldChg>
      <pc:sldChg chg="modSp mod">
        <pc:chgData name="Gurunand Pai" userId="3497c6a8-6cb2-4308-974d-19fae6631586" providerId="ADAL" clId="{F34AB475-0CBA-4830-9989-D4E2AECFD3AA}" dt="2021-01-13T20:17:03.878" v="86" actId="6549"/>
        <pc:sldMkLst>
          <pc:docMk/>
          <pc:sldMk cId="1000069384" sldId="550"/>
        </pc:sldMkLst>
        <pc:spChg chg="mod">
          <ac:chgData name="Gurunand Pai" userId="3497c6a8-6cb2-4308-974d-19fae6631586" providerId="ADAL" clId="{F34AB475-0CBA-4830-9989-D4E2AECFD3AA}" dt="2021-01-13T20:17:03.878" v="86" actId="6549"/>
          <ac:spMkLst>
            <pc:docMk/>
            <pc:sldMk cId="1000069384" sldId="550"/>
            <ac:spMk id="2" creationId="{000F93BD-1633-45C3-B844-70B135096D8F}"/>
          </ac:spMkLst>
        </pc:spChg>
      </pc:sldChg>
      <pc:sldChg chg="modSp mod">
        <pc:chgData name="Gurunand Pai" userId="3497c6a8-6cb2-4308-974d-19fae6631586" providerId="ADAL" clId="{F34AB475-0CBA-4830-9989-D4E2AECFD3AA}" dt="2021-01-13T20:16:22.986" v="83" actId="403"/>
        <pc:sldMkLst>
          <pc:docMk/>
          <pc:sldMk cId="978465256" sldId="563"/>
        </pc:sldMkLst>
        <pc:spChg chg="mod">
          <ac:chgData name="Gurunand Pai" userId="3497c6a8-6cb2-4308-974d-19fae6631586" providerId="ADAL" clId="{F34AB475-0CBA-4830-9989-D4E2AECFD3AA}" dt="2021-01-13T20:16:22.986" v="83" actId="403"/>
          <ac:spMkLst>
            <pc:docMk/>
            <pc:sldMk cId="978465256" sldId="563"/>
            <ac:spMk id="10" creationId="{00000000-0000-0000-0000-000000000000}"/>
          </ac:spMkLst>
        </pc:spChg>
      </pc:sldChg>
      <pc:sldChg chg="modSp mod">
        <pc:chgData name="Gurunand Pai" userId="3497c6a8-6cb2-4308-974d-19fae6631586" providerId="ADAL" clId="{F34AB475-0CBA-4830-9989-D4E2AECFD3AA}" dt="2021-01-13T20:17:15.429" v="103" actId="20577"/>
        <pc:sldMkLst>
          <pc:docMk/>
          <pc:sldMk cId="2143444484" sldId="1417"/>
        </pc:sldMkLst>
        <pc:spChg chg="mod">
          <ac:chgData name="Gurunand Pai" userId="3497c6a8-6cb2-4308-974d-19fae6631586" providerId="ADAL" clId="{F34AB475-0CBA-4830-9989-D4E2AECFD3AA}" dt="2021-01-13T20:17:15.429" v="103" actId="20577"/>
          <ac:spMkLst>
            <pc:docMk/>
            <pc:sldMk cId="2143444484" sldId="1417"/>
            <ac:spMk id="2" creationId="{000F93BD-1633-45C3-B844-70B135096D8F}"/>
          </ac:spMkLst>
        </pc:spChg>
      </pc:sldChg>
      <pc:sldChg chg="del">
        <pc:chgData name="Gurunand Pai" userId="3497c6a8-6cb2-4308-974d-19fae6631586" providerId="ADAL" clId="{F34AB475-0CBA-4830-9989-D4E2AECFD3AA}" dt="2021-01-13T20:17:55.372" v="104" actId="47"/>
        <pc:sldMkLst>
          <pc:docMk/>
          <pc:sldMk cId="2132081658" sldId="1418"/>
        </pc:sldMkLst>
      </pc:sldChg>
      <pc:sldChg chg="modSp del mod ord">
        <pc:chgData name="Gurunand Pai" userId="3497c6a8-6cb2-4308-974d-19fae6631586" providerId="ADAL" clId="{F34AB475-0CBA-4830-9989-D4E2AECFD3AA}" dt="2021-01-13T20:40:53.072" v="411" actId="2696"/>
        <pc:sldMkLst>
          <pc:docMk/>
          <pc:sldMk cId="3729459636" sldId="1418"/>
        </pc:sldMkLst>
        <pc:spChg chg="mod">
          <ac:chgData name="Gurunand Pai" userId="3497c6a8-6cb2-4308-974d-19fae6631586" providerId="ADAL" clId="{F34AB475-0CBA-4830-9989-D4E2AECFD3AA}" dt="2021-01-13T20:21:05.419" v="149" actId="20577"/>
          <ac:spMkLst>
            <pc:docMk/>
            <pc:sldMk cId="3729459636" sldId="1418"/>
            <ac:spMk id="12" creationId="{00000000-0000-0000-0000-000000000000}"/>
          </ac:spMkLst>
        </pc:spChg>
        <pc:spChg chg="mod">
          <ac:chgData name="Gurunand Pai" userId="3497c6a8-6cb2-4308-974d-19fae6631586" providerId="ADAL" clId="{F34AB475-0CBA-4830-9989-D4E2AECFD3AA}" dt="2021-01-13T20:22:38.045" v="165" actId="1076"/>
          <ac:spMkLst>
            <pc:docMk/>
            <pc:sldMk cId="3729459636" sldId="1418"/>
            <ac:spMk id="29" creationId="{A674D26F-0D5A-4EB6-B2A2-8E3F1469B6FF}"/>
          </ac:spMkLst>
        </pc:spChg>
        <pc:spChg chg="mod">
          <ac:chgData name="Gurunand Pai" userId="3497c6a8-6cb2-4308-974d-19fae6631586" providerId="ADAL" clId="{F34AB475-0CBA-4830-9989-D4E2AECFD3AA}" dt="2021-01-13T20:22:38.045" v="165" actId="1076"/>
          <ac:spMkLst>
            <pc:docMk/>
            <pc:sldMk cId="3729459636" sldId="1418"/>
            <ac:spMk id="30" creationId="{8A0C12DF-6D28-4912-A97C-B376E3E95B9C}"/>
          </ac:spMkLst>
        </pc:spChg>
        <pc:spChg chg="mod">
          <ac:chgData name="Gurunand Pai" userId="3497c6a8-6cb2-4308-974d-19fae6631586" providerId="ADAL" clId="{F34AB475-0CBA-4830-9989-D4E2AECFD3AA}" dt="2021-01-13T20:22:38.045" v="165" actId="1076"/>
          <ac:spMkLst>
            <pc:docMk/>
            <pc:sldMk cId="3729459636" sldId="1418"/>
            <ac:spMk id="31" creationId="{332FDF99-896A-4E01-9EED-9744579D93A7}"/>
          </ac:spMkLst>
        </pc:spChg>
        <pc:grpChg chg="mod">
          <ac:chgData name="Gurunand Pai" userId="3497c6a8-6cb2-4308-974d-19fae6631586" providerId="ADAL" clId="{F34AB475-0CBA-4830-9989-D4E2AECFD3AA}" dt="2021-01-13T20:22:38.045" v="165" actId="1076"/>
          <ac:grpSpMkLst>
            <pc:docMk/>
            <pc:sldMk cId="3729459636" sldId="1418"/>
            <ac:grpSpMk id="28" creationId="{DB4DF173-E1E5-4F1C-9B3B-7CE43DBDEFD9}"/>
          </ac:grpSpMkLst>
        </pc:grpChg>
        <pc:graphicFrameChg chg="mod modGraphic">
          <ac:chgData name="Gurunand Pai" userId="3497c6a8-6cb2-4308-974d-19fae6631586" providerId="ADAL" clId="{F34AB475-0CBA-4830-9989-D4E2AECFD3AA}" dt="2021-01-13T20:34:25.058" v="255" actId="21"/>
          <ac:graphicFrameMkLst>
            <pc:docMk/>
            <pc:sldMk cId="3729459636" sldId="1418"/>
            <ac:graphicFrameMk id="13" creationId="{459F924D-5514-4249-9F69-11EEB8DCC3A4}"/>
          </ac:graphicFrameMkLst>
        </pc:graphicFrameChg>
      </pc:sldChg>
      <pc:sldChg chg="modSp add mod">
        <pc:chgData name="Gurunand Pai" userId="3497c6a8-6cb2-4308-974d-19fae6631586" providerId="ADAL" clId="{F34AB475-0CBA-4830-9989-D4E2AECFD3AA}" dt="2021-01-13T20:33:13.859" v="250" actId="13926"/>
        <pc:sldMkLst>
          <pc:docMk/>
          <pc:sldMk cId="180871027" sldId="1419"/>
        </pc:sldMkLst>
        <pc:spChg chg="mod">
          <ac:chgData name="Gurunand Pai" userId="3497c6a8-6cb2-4308-974d-19fae6631586" providerId="ADAL" clId="{F34AB475-0CBA-4830-9989-D4E2AECFD3AA}" dt="2021-01-13T20:29:56.315" v="227" actId="1076"/>
          <ac:spMkLst>
            <pc:docMk/>
            <pc:sldMk cId="180871027" sldId="1419"/>
            <ac:spMk id="29" creationId="{A674D26F-0D5A-4EB6-B2A2-8E3F1469B6FF}"/>
          </ac:spMkLst>
        </pc:spChg>
        <pc:spChg chg="mod">
          <ac:chgData name="Gurunand Pai" userId="3497c6a8-6cb2-4308-974d-19fae6631586" providerId="ADAL" clId="{F34AB475-0CBA-4830-9989-D4E2AECFD3AA}" dt="2021-01-13T20:29:56.315" v="227" actId="1076"/>
          <ac:spMkLst>
            <pc:docMk/>
            <pc:sldMk cId="180871027" sldId="1419"/>
            <ac:spMk id="30" creationId="{8A0C12DF-6D28-4912-A97C-B376E3E95B9C}"/>
          </ac:spMkLst>
        </pc:spChg>
        <pc:spChg chg="mod">
          <ac:chgData name="Gurunand Pai" userId="3497c6a8-6cb2-4308-974d-19fae6631586" providerId="ADAL" clId="{F34AB475-0CBA-4830-9989-D4E2AECFD3AA}" dt="2021-01-13T20:29:56.315" v="227" actId="1076"/>
          <ac:spMkLst>
            <pc:docMk/>
            <pc:sldMk cId="180871027" sldId="1419"/>
            <ac:spMk id="31" creationId="{332FDF99-896A-4E01-9EED-9744579D93A7}"/>
          </ac:spMkLst>
        </pc:spChg>
        <pc:grpChg chg="mod">
          <ac:chgData name="Gurunand Pai" userId="3497c6a8-6cb2-4308-974d-19fae6631586" providerId="ADAL" clId="{F34AB475-0CBA-4830-9989-D4E2AECFD3AA}" dt="2021-01-13T20:29:56.315" v="227" actId="1076"/>
          <ac:grpSpMkLst>
            <pc:docMk/>
            <pc:sldMk cId="180871027" sldId="1419"/>
            <ac:grpSpMk id="28" creationId="{DB4DF173-E1E5-4F1C-9B3B-7CE43DBDEFD9}"/>
          </ac:grpSpMkLst>
        </pc:grpChg>
        <pc:graphicFrameChg chg="mod modGraphic">
          <ac:chgData name="Gurunand Pai" userId="3497c6a8-6cb2-4308-974d-19fae6631586" providerId="ADAL" clId="{F34AB475-0CBA-4830-9989-D4E2AECFD3AA}" dt="2021-01-13T20:33:13.859" v="250" actId="13926"/>
          <ac:graphicFrameMkLst>
            <pc:docMk/>
            <pc:sldMk cId="180871027" sldId="1419"/>
            <ac:graphicFrameMk id="13" creationId="{459F924D-5514-4249-9F69-11EEB8DCC3A4}"/>
          </ac:graphicFrameMkLst>
        </pc:graphicFrameChg>
      </pc:sldChg>
      <pc:sldChg chg="modSp add mod">
        <pc:chgData name="Gurunand Pai" userId="3497c6a8-6cb2-4308-974d-19fae6631586" providerId="ADAL" clId="{F34AB475-0CBA-4830-9989-D4E2AECFD3AA}" dt="2021-01-13T20:47:02.668" v="439" actId="20577"/>
        <pc:sldMkLst>
          <pc:docMk/>
          <pc:sldMk cId="2389464867" sldId="1420"/>
        </pc:sldMkLst>
        <pc:graphicFrameChg chg="mod modGraphic">
          <ac:chgData name="Gurunand Pai" userId="3497c6a8-6cb2-4308-974d-19fae6631586" providerId="ADAL" clId="{F34AB475-0CBA-4830-9989-D4E2AECFD3AA}" dt="2021-01-13T20:47:02.668" v="439" actId="20577"/>
          <ac:graphicFrameMkLst>
            <pc:docMk/>
            <pc:sldMk cId="2389464867" sldId="1420"/>
            <ac:graphicFrameMk id="13" creationId="{459F924D-5514-4249-9F69-11EEB8DCC3A4}"/>
          </ac:graphicFrameMkLst>
        </pc:graphicFrameChg>
      </pc:sldChg>
    </pc:docChg>
  </pc:docChgLst>
  <pc:docChgLst>
    <pc:chgData name="Manish Sharma" userId="97d895ad-8d7a-4884-8c18-743afd731b6f" providerId="ADAL" clId="{19B291BF-5110-451B-9F49-5287458FEFEA}"/>
    <pc:docChg chg="undo redo custSel addSld delSld modSld sldOrd modMainMaster addSection delSection modSection">
      <pc:chgData name="Manish Sharma" userId="97d895ad-8d7a-4884-8c18-743afd731b6f" providerId="ADAL" clId="{19B291BF-5110-451B-9F49-5287458FEFEA}" dt="2021-01-13T16:56:52.561" v="4038" actId="20578"/>
      <pc:docMkLst>
        <pc:docMk/>
      </pc:docMkLst>
      <pc:sldChg chg="addSp modSp mod">
        <pc:chgData name="Manish Sharma" userId="97d895ad-8d7a-4884-8c18-743afd731b6f" providerId="ADAL" clId="{19B291BF-5110-451B-9F49-5287458FEFEA}" dt="2021-01-13T15:00:50.148" v="4033"/>
        <pc:sldMkLst>
          <pc:docMk/>
          <pc:sldMk cId="2693573443" sldId="272"/>
        </pc:sldMkLst>
        <pc:spChg chg="mod">
          <ac:chgData name="Manish Sharma" userId="97d895ad-8d7a-4884-8c18-743afd731b6f" providerId="ADAL" clId="{19B291BF-5110-451B-9F49-5287458FEFEA}" dt="2020-12-01T23:09:31.973" v="5" actId="20577"/>
          <ac:spMkLst>
            <pc:docMk/>
            <pc:sldMk cId="2693573443" sldId="272"/>
            <ac:spMk id="2" creationId="{00000000-0000-0000-0000-000000000000}"/>
          </ac:spMkLst>
        </pc:spChg>
        <pc:spChg chg="add mod">
          <ac:chgData name="Manish Sharma" userId="97d895ad-8d7a-4884-8c18-743afd731b6f" providerId="ADAL" clId="{19B291BF-5110-451B-9F49-5287458FEFEA}" dt="2021-01-13T15:00:44.362" v="4030"/>
          <ac:spMkLst>
            <pc:docMk/>
            <pc:sldMk cId="2693573443" sldId="272"/>
            <ac:spMk id="6" creationId="{23FCFD41-20DB-4195-BA5C-992AA9B14108}"/>
          </ac:spMkLst>
        </pc:spChg>
        <pc:spChg chg="add mod">
          <ac:chgData name="Manish Sharma" userId="97d895ad-8d7a-4884-8c18-743afd731b6f" providerId="ADAL" clId="{19B291BF-5110-451B-9F49-5287458FEFEA}" dt="2021-01-13T15:00:50.148" v="4033"/>
          <ac:spMkLst>
            <pc:docMk/>
            <pc:sldMk cId="2693573443" sldId="272"/>
            <ac:spMk id="7" creationId="{206E8161-C061-45E5-B839-15720711D5AF}"/>
          </ac:spMkLst>
        </pc:spChg>
      </pc:sldChg>
      <pc:sldChg chg="addSp modSp mod">
        <pc:chgData name="Manish Sharma" userId="97d895ad-8d7a-4884-8c18-743afd731b6f" providerId="ADAL" clId="{19B291BF-5110-451B-9F49-5287458FEFEA}" dt="2021-01-12T23:41:40.808" v="3750" actId="208"/>
        <pc:sldMkLst>
          <pc:docMk/>
          <pc:sldMk cId="2361744333" sldId="314"/>
        </pc:sldMkLst>
        <pc:spChg chg="mod">
          <ac:chgData name="Manish Sharma" userId="97d895ad-8d7a-4884-8c18-743afd731b6f" providerId="ADAL" clId="{19B291BF-5110-451B-9F49-5287458FEFEA}" dt="2021-01-12T23:41:40.808" v="3750" actId="208"/>
          <ac:spMkLst>
            <pc:docMk/>
            <pc:sldMk cId="2361744333" sldId="314"/>
            <ac:spMk id="3" creationId="{3C8C4393-0A0F-4491-B7FA-C11D317396EB}"/>
          </ac:spMkLst>
        </pc:spChg>
        <pc:spChg chg="mod">
          <ac:chgData name="Manish Sharma" userId="97d895ad-8d7a-4884-8c18-743afd731b6f" providerId="ADAL" clId="{19B291BF-5110-451B-9F49-5287458FEFEA}" dt="2021-01-12T22:28:41.650" v="3730" actId="1076"/>
          <ac:spMkLst>
            <pc:docMk/>
            <pc:sldMk cId="2361744333" sldId="314"/>
            <ac:spMk id="11" creationId="{00000000-0000-0000-0000-000000000000}"/>
          </ac:spMkLst>
        </pc:spChg>
        <pc:spChg chg="add mod">
          <ac:chgData name="Manish Sharma" userId="97d895ad-8d7a-4884-8c18-743afd731b6f" providerId="ADAL" clId="{19B291BF-5110-451B-9F49-5287458FEFEA}" dt="2020-12-01T23:40:04.050" v="494"/>
          <ac:spMkLst>
            <pc:docMk/>
            <pc:sldMk cId="2361744333" sldId="314"/>
            <ac:spMk id="25" creationId="{1E2B3BAB-5482-4B26-9564-9C73CCBBC487}"/>
          </ac:spMkLst>
        </pc:spChg>
        <pc:picChg chg="mod">
          <ac:chgData name="Manish Sharma" userId="97d895ad-8d7a-4884-8c18-743afd731b6f" providerId="ADAL" clId="{19B291BF-5110-451B-9F49-5287458FEFEA}" dt="2021-01-12T23:40:10.098" v="3736" actId="1076"/>
          <ac:picMkLst>
            <pc:docMk/>
            <pc:sldMk cId="2361744333" sldId="314"/>
            <ac:picMk id="13" creationId="{714AE234-3567-4CBE-960C-6F1AEB8E7B73}"/>
          </ac:picMkLst>
        </pc:picChg>
        <pc:picChg chg="mod">
          <ac:chgData name="Manish Sharma" userId="97d895ad-8d7a-4884-8c18-743afd731b6f" providerId="ADAL" clId="{19B291BF-5110-451B-9F49-5287458FEFEA}" dt="2021-01-12T23:39:59.430" v="3734" actId="1076"/>
          <ac:picMkLst>
            <pc:docMk/>
            <pc:sldMk cId="2361744333" sldId="314"/>
            <ac:picMk id="14" creationId="{33A29950-9919-4437-BE2C-CC38EB89B1D4}"/>
          </ac:picMkLst>
        </pc:picChg>
        <pc:picChg chg="mod">
          <ac:chgData name="Manish Sharma" userId="97d895ad-8d7a-4884-8c18-743afd731b6f" providerId="ADAL" clId="{19B291BF-5110-451B-9F49-5287458FEFEA}" dt="2021-01-12T23:40:06.334" v="3735" actId="1076"/>
          <ac:picMkLst>
            <pc:docMk/>
            <pc:sldMk cId="2361744333" sldId="314"/>
            <ac:picMk id="15" creationId="{6B9B4A28-1A76-4F8C-BC42-EBC8C4B060EC}"/>
          </ac:picMkLst>
        </pc:picChg>
        <pc:picChg chg="mod">
          <ac:chgData name="Manish Sharma" userId="97d895ad-8d7a-4884-8c18-743afd731b6f" providerId="ADAL" clId="{19B291BF-5110-451B-9F49-5287458FEFEA}" dt="2021-01-12T23:39:48.496" v="3732" actId="1076"/>
          <ac:picMkLst>
            <pc:docMk/>
            <pc:sldMk cId="2361744333" sldId="314"/>
            <ac:picMk id="17" creationId="{DD374A02-FDA2-4D2A-A9E4-AF482E06694A}"/>
          </ac:picMkLst>
        </pc:picChg>
        <pc:picChg chg="mod">
          <ac:chgData name="Manish Sharma" userId="97d895ad-8d7a-4884-8c18-743afd731b6f" providerId="ADAL" clId="{19B291BF-5110-451B-9F49-5287458FEFEA}" dt="2021-01-12T23:39:54.002" v="3733" actId="1076"/>
          <ac:picMkLst>
            <pc:docMk/>
            <pc:sldMk cId="2361744333" sldId="314"/>
            <ac:picMk id="18" creationId="{0DC9760C-5CD1-4600-8B96-9B409C653E88}"/>
          </ac:picMkLst>
        </pc:picChg>
        <pc:picChg chg="mod">
          <ac:chgData name="Manish Sharma" userId="97d895ad-8d7a-4884-8c18-743afd731b6f" providerId="ADAL" clId="{19B291BF-5110-451B-9F49-5287458FEFEA}" dt="2021-01-12T23:40:52.319" v="3743" actId="552"/>
          <ac:picMkLst>
            <pc:docMk/>
            <pc:sldMk cId="2361744333" sldId="314"/>
            <ac:picMk id="20" creationId="{2D6ABC45-2391-4A7D-A5C9-DB7CBC24DA56}"/>
          </ac:picMkLst>
        </pc:picChg>
        <pc:picChg chg="mod">
          <ac:chgData name="Manish Sharma" userId="97d895ad-8d7a-4884-8c18-743afd731b6f" providerId="ADAL" clId="{19B291BF-5110-451B-9F49-5287458FEFEA}" dt="2021-01-12T23:40:52.319" v="3743" actId="552"/>
          <ac:picMkLst>
            <pc:docMk/>
            <pc:sldMk cId="2361744333" sldId="314"/>
            <ac:picMk id="21" creationId="{CBC9E97F-F98C-42CD-B183-0D639FA8DB17}"/>
          </ac:picMkLst>
        </pc:picChg>
        <pc:picChg chg="mod">
          <ac:chgData name="Manish Sharma" userId="97d895ad-8d7a-4884-8c18-743afd731b6f" providerId="ADAL" clId="{19B291BF-5110-451B-9F49-5287458FEFEA}" dt="2021-01-12T23:40:52.319" v="3743" actId="552"/>
          <ac:picMkLst>
            <pc:docMk/>
            <pc:sldMk cId="2361744333" sldId="314"/>
            <ac:picMk id="22" creationId="{92FB944F-A166-4E92-A626-A878D4B73784}"/>
          </ac:picMkLst>
        </pc:picChg>
        <pc:picChg chg="mod">
          <ac:chgData name="Manish Sharma" userId="97d895ad-8d7a-4884-8c18-743afd731b6f" providerId="ADAL" clId="{19B291BF-5110-451B-9F49-5287458FEFEA}" dt="2021-01-12T23:40:52.319" v="3743" actId="552"/>
          <ac:picMkLst>
            <pc:docMk/>
            <pc:sldMk cId="2361744333" sldId="314"/>
            <ac:picMk id="23" creationId="{0C1DFF49-1780-4783-9301-C86A2DF850CB}"/>
          </ac:picMkLst>
        </pc:picChg>
        <pc:picChg chg="mod">
          <ac:chgData name="Manish Sharma" userId="97d895ad-8d7a-4884-8c18-743afd731b6f" providerId="ADAL" clId="{19B291BF-5110-451B-9F49-5287458FEFEA}" dt="2021-01-12T23:40:52.319" v="3743" actId="552"/>
          <ac:picMkLst>
            <pc:docMk/>
            <pc:sldMk cId="2361744333" sldId="314"/>
            <ac:picMk id="24" creationId="{011ED157-48C7-408A-AF70-6C530AD78606}"/>
          </ac:picMkLst>
        </pc:picChg>
        <pc:picChg chg="mod">
          <ac:chgData name="Manish Sharma" userId="97d895ad-8d7a-4884-8c18-743afd731b6f" providerId="ADAL" clId="{19B291BF-5110-451B-9F49-5287458FEFEA}" dt="2021-01-12T23:41:14.968" v="3749" actId="1076"/>
          <ac:picMkLst>
            <pc:docMk/>
            <pc:sldMk cId="2361744333" sldId="314"/>
            <ac:picMk id="26" creationId="{054D53CA-2B0E-41F9-8962-F866F900367A}"/>
          </ac:picMkLst>
        </pc:picChg>
      </pc:sldChg>
      <pc:sldChg chg="addSp delSp modSp mod modClrScheme chgLayout">
        <pc:chgData name="Manish Sharma" userId="97d895ad-8d7a-4884-8c18-743afd731b6f" providerId="ADAL" clId="{19B291BF-5110-451B-9F49-5287458FEFEA}" dt="2021-01-13T00:41:50.535" v="3999" actId="700"/>
        <pc:sldMkLst>
          <pc:docMk/>
          <pc:sldMk cId="2478486860" sldId="318"/>
        </pc:sldMkLst>
        <pc:spChg chg="mod ord">
          <ac:chgData name="Manish Sharma" userId="97d895ad-8d7a-4884-8c18-743afd731b6f" providerId="ADAL" clId="{19B291BF-5110-451B-9F49-5287458FEFEA}" dt="2021-01-13T00:41:50.535" v="3999" actId="700"/>
          <ac:spMkLst>
            <pc:docMk/>
            <pc:sldMk cId="2478486860" sldId="318"/>
            <ac:spMk id="2" creationId="{00000000-0000-0000-0000-000000000000}"/>
          </ac:spMkLst>
        </pc:spChg>
        <pc:spChg chg="add del mod">
          <ac:chgData name="Manish Sharma" userId="97d895ad-8d7a-4884-8c18-743afd731b6f" providerId="ADAL" clId="{19B291BF-5110-451B-9F49-5287458FEFEA}" dt="2020-12-01T23:12:24.346" v="214" actId="478"/>
          <ac:spMkLst>
            <pc:docMk/>
            <pc:sldMk cId="2478486860" sldId="318"/>
            <ac:spMk id="3" creationId="{7325066F-FF71-4E29-A093-B9584915F91E}"/>
          </ac:spMkLst>
        </pc:spChg>
        <pc:spChg chg="mod">
          <ac:chgData name="Manish Sharma" userId="97d895ad-8d7a-4884-8c18-743afd731b6f" providerId="ADAL" clId="{19B291BF-5110-451B-9F49-5287458FEFEA}" dt="2020-12-28T03:25:21.923" v="2316" actId="13926"/>
          <ac:spMkLst>
            <pc:docMk/>
            <pc:sldMk cId="2478486860" sldId="318"/>
            <ac:spMk id="4" creationId="{00000000-0000-0000-0000-000000000000}"/>
          </ac:spMkLst>
        </pc:spChg>
        <pc:spChg chg="mod">
          <ac:chgData name="Manish Sharma" userId="97d895ad-8d7a-4884-8c18-743afd731b6f" providerId="ADAL" clId="{19B291BF-5110-451B-9F49-5287458FEFEA}" dt="2021-01-04T20:53:31.353" v="2772" actId="313"/>
          <ac:spMkLst>
            <pc:docMk/>
            <pc:sldMk cId="2478486860" sldId="318"/>
            <ac:spMk id="5" creationId="{00000000-0000-0000-0000-000000000000}"/>
          </ac:spMkLst>
        </pc:spChg>
        <pc:spChg chg="mod">
          <ac:chgData name="Manish Sharma" userId="97d895ad-8d7a-4884-8c18-743afd731b6f" providerId="ADAL" clId="{19B291BF-5110-451B-9F49-5287458FEFEA}" dt="2020-12-28T03:25:15.175" v="2314" actId="13926"/>
          <ac:spMkLst>
            <pc:docMk/>
            <pc:sldMk cId="2478486860" sldId="318"/>
            <ac:spMk id="6" creationId="{00000000-0000-0000-0000-000000000000}"/>
          </ac:spMkLst>
        </pc:spChg>
        <pc:spChg chg="mod">
          <ac:chgData name="Manish Sharma" userId="97d895ad-8d7a-4884-8c18-743afd731b6f" providerId="ADAL" clId="{19B291BF-5110-451B-9F49-5287458FEFEA}" dt="2020-12-16T20:35:20.288" v="1541" actId="554"/>
          <ac:spMkLst>
            <pc:docMk/>
            <pc:sldMk cId="2478486860" sldId="318"/>
            <ac:spMk id="7" creationId="{00000000-0000-0000-0000-000000000000}"/>
          </ac:spMkLst>
        </pc:spChg>
        <pc:spChg chg="mod">
          <ac:chgData name="Manish Sharma" userId="97d895ad-8d7a-4884-8c18-743afd731b6f" providerId="ADAL" clId="{19B291BF-5110-451B-9F49-5287458FEFEA}" dt="2020-12-16T20:36:02.740" v="1542" actId="554"/>
          <ac:spMkLst>
            <pc:docMk/>
            <pc:sldMk cId="2478486860" sldId="318"/>
            <ac:spMk id="8" creationId="{00000000-0000-0000-0000-000000000000}"/>
          </ac:spMkLst>
        </pc:spChg>
        <pc:spChg chg="mod">
          <ac:chgData name="Manish Sharma" userId="97d895ad-8d7a-4884-8c18-743afd731b6f" providerId="ADAL" clId="{19B291BF-5110-451B-9F49-5287458FEFEA}" dt="2020-12-16T20:36:02.740" v="1542" actId="554"/>
          <ac:spMkLst>
            <pc:docMk/>
            <pc:sldMk cId="2478486860" sldId="318"/>
            <ac:spMk id="9" creationId="{00000000-0000-0000-0000-000000000000}"/>
          </ac:spMkLst>
        </pc:spChg>
        <pc:spChg chg="mod">
          <ac:chgData name="Manish Sharma" userId="97d895ad-8d7a-4884-8c18-743afd731b6f" providerId="ADAL" clId="{19B291BF-5110-451B-9F49-5287458FEFEA}" dt="2020-12-16T20:36:02.740" v="1542" actId="554"/>
          <ac:spMkLst>
            <pc:docMk/>
            <pc:sldMk cId="2478486860" sldId="318"/>
            <ac:spMk id="11" creationId="{841594D9-E815-4368-AC56-677E0B2B65FF}"/>
          </ac:spMkLst>
        </pc:spChg>
        <pc:spChg chg="mod">
          <ac:chgData name="Manish Sharma" userId="97d895ad-8d7a-4884-8c18-743afd731b6f" providerId="ADAL" clId="{19B291BF-5110-451B-9F49-5287458FEFEA}" dt="2020-12-16T20:36:02.740" v="1542" actId="554"/>
          <ac:spMkLst>
            <pc:docMk/>
            <pc:sldMk cId="2478486860" sldId="318"/>
            <ac:spMk id="12" creationId="{EEA49B44-169A-4E61-98CF-BF2B6A1757B5}"/>
          </ac:spMkLst>
        </pc:spChg>
        <pc:spChg chg="mod">
          <ac:chgData name="Manish Sharma" userId="97d895ad-8d7a-4884-8c18-743afd731b6f" providerId="ADAL" clId="{19B291BF-5110-451B-9F49-5287458FEFEA}" dt="2020-12-16T20:36:02.740" v="1542" actId="554"/>
          <ac:spMkLst>
            <pc:docMk/>
            <pc:sldMk cId="2478486860" sldId="318"/>
            <ac:spMk id="13" creationId="{31A2DC10-BEF7-44EC-B0FC-1DB94D57B7E8}"/>
          </ac:spMkLst>
        </pc:spChg>
        <pc:spChg chg="mod">
          <ac:chgData name="Manish Sharma" userId="97d895ad-8d7a-4884-8c18-743afd731b6f" providerId="ADAL" clId="{19B291BF-5110-451B-9F49-5287458FEFEA}" dt="2020-12-16T20:36:02.740" v="1542" actId="554"/>
          <ac:spMkLst>
            <pc:docMk/>
            <pc:sldMk cId="2478486860" sldId="318"/>
            <ac:spMk id="19" creationId="{0A20574C-861B-41A6-B088-1F60E1E08226}"/>
          </ac:spMkLst>
        </pc:spChg>
        <pc:spChg chg="mod">
          <ac:chgData name="Manish Sharma" userId="97d895ad-8d7a-4884-8c18-743afd731b6f" providerId="ADAL" clId="{19B291BF-5110-451B-9F49-5287458FEFEA}" dt="2020-12-16T20:36:02.740" v="1542" actId="554"/>
          <ac:spMkLst>
            <pc:docMk/>
            <pc:sldMk cId="2478486860" sldId="318"/>
            <ac:spMk id="20" creationId="{B27ACF0B-87D8-43EB-9E05-3B16812D926B}"/>
          </ac:spMkLst>
        </pc:spChg>
        <pc:spChg chg="mod">
          <ac:chgData name="Manish Sharma" userId="97d895ad-8d7a-4884-8c18-743afd731b6f" providerId="ADAL" clId="{19B291BF-5110-451B-9F49-5287458FEFEA}" dt="2020-12-16T20:36:02.740" v="1542" actId="554"/>
          <ac:spMkLst>
            <pc:docMk/>
            <pc:sldMk cId="2478486860" sldId="318"/>
            <ac:spMk id="21" creationId="{E28F1E45-EC36-4841-AE6B-A842DE4BEBD3}"/>
          </ac:spMkLst>
        </pc:spChg>
        <pc:spChg chg="del">
          <ac:chgData name="Manish Sharma" userId="97d895ad-8d7a-4884-8c18-743afd731b6f" providerId="ADAL" clId="{19B291BF-5110-451B-9F49-5287458FEFEA}" dt="2020-12-01T23:11:00.223" v="68" actId="478"/>
          <ac:spMkLst>
            <pc:docMk/>
            <pc:sldMk cId="2478486860" sldId="318"/>
            <ac:spMk id="24" creationId="{0BDB4D94-B8CA-413B-883C-14B2E666BA39}"/>
          </ac:spMkLst>
        </pc:spChg>
        <pc:spChg chg="add del mod">
          <ac:chgData name="Manish Sharma" userId="97d895ad-8d7a-4884-8c18-743afd731b6f" providerId="ADAL" clId="{19B291BF-5110-451B-9F49-5287458FEFEA}" dt="2020-12-16T20:43:21.940" v="1559" actId="478"/>
          <ac:spMkLst>
            <pc:docMk/>
            <pc:sldMk cId="2478486860" sldId="318"/>
            <ac:spMk id="24" creationId="{B023101D-DA68-4F17-B42A-E2C871F01512}"/>
          </ac:spMkLst>
        </pc:spChg>
        <pc:spChg chg="add mod">
          <ac:chgData name="Manish Sharma" userId="97d895ad-8d7a-4884-8c18-743afd731b6f" providerId="ADAL" clId="{19B291BF-5110-451B-9F49-5287458FEFEA}" dt="2020-12-16T20:43:18.148" v="1558"/>
          <ac:spMkLst>
            <pc:docMk/>
            <pc:sldMk cId="2478486860" sldId="318"/>
            <ac:spMk id="25" creationId="{23FCFD41-20DB-4195-BA5C-992AA9B14108}"/>
          </ac:spMkLst>
        </pc:spChg>
        <pc:spChg chg="add del mod">
          <ac:chgData name="Manish Sharma" userId="97d895ad-8d7a-4884-8c18-743afd731b6f" providerId="ADAL" clId="{19B291BF-5110-451B-9F49-5287458FEFEA}" dt="2020-12-16T18:58:58.227" v="1462" actId="478"/>
          <ac:spMkLst>
            <pc:docMk/>
            <pc:sldMk cId="2478486860" sldId="318"/>
            <ac:spMk id="25" creationId="{B5738153-5239-4A09-A889-BC7151E3ECE8}"/>
          </ac:spMkLst>
        </pc:spChg>
        <pc:spChg chg="add mod">
          <ac:chgData name="Manish Sharma" userId="97d895ad-8d7a-4884-8c18-743afd731b6f" providerId="ADAL" clId="{19B291BF-5110-451B-9F49-5287458FEFEA}" dt="2020-12-16T18:46:09.244" v="1442" actId="1076"/>
          <ac:spMkLst>
            <pc:docMk/>
            <pc:sldMk cId="2478486860" sldId="318"/>
            <ac:spMk id="26" creationId="{E8648775-700E-42E2-AF20-F42441F0A60A}"/>
          </ac:spMkLst>
        </pc:spChg>
        <pc:spChg chg="add del mod">
          <ac:chgData name="Manish Sharma" userId="97d895ad-8d7a-4884-8c18-743afd731b6f" providerId="ADAL" clId="{19B291BF-5110-451B-9F49-5287458FEFEA}" dt="2020-12-16T18:46:11.800" v="1443" actId="1076"/>
          <ac:spMkLst>
            <pc:docMk/>
            <pc:sldMk cId="2478486860" sldId="318"/>
            <ac:spMk id="27" creationId="{ACC7FBDE-1708-442B-8AE0-D629BA855616}"/>
          </ac:spMkLst>
        </pc:spChg>
        <pc:spChg chg="add mod">
          <ac:chgData name="Manish Sharma" userId="97d895ad-8d7a-4884-8c18-743afd731b6f" providerId="ADAL" clId="{19B291BF-5110-451B-9F49-5287458FEFEA}" dt="2020-12-01T23:21:52.136" v="263" actId="14100"/>
          <ac:spMkLst>
            <pc:docMk/>
            <pc:sldMk cId="2478486860" sldId="318"/>
            <ac:spMk id="28" creationId="{52D37827-EF20-45AF-BC7D-8B3AE0BE4FC2}"/>
          </ac:spMkLst>
        </pc:spChg>
        <pc:spChg chg="add mod">
          <ac:chgData name="Manish Sharma" userId="97d895ad-8d7a-4884-8c18-743afd731b6f" providerId="ADAL" clId="{19B291BF-5110-451B-9F49-5287458FEFEA}" dt="2020-12-01T23:22:35.064" v="336" actId="207"/>
          <ac:spMkLst>
            <pc:docMk/>
            <pc:sldMk cId="2478486860" sldId="318"/>
            <ac:spMk id="29" creationId="{572EDC30-1486-4F4F-8865-B93C0A8FF36C}"/>
          </ac:spMkLst>
        </pc:spChg>
        <pc:grpChg chg="mod">
          <ac:chgData name="Manish Sharma" userId="97d895ad-8d7a-4884-8c18-743afd731b6f" providerId="ADAL" clId="{19B291BF-5110-451B-9F49-5287458FEFEA}" dt="2020-12-16T20:36:02.740" v="1542" actId="554"/>
          <ac:grpSpMkLst>
            <pc:docMk/>
            <pc:sldMk cId="2478486860" sldId="318"/>
            <ac:grpSpMk id="10" creationId="{CC6AF3DC-4362-463B-8BF3-FA97E6C8BAEC}"/>
          </ac:grpSpMkLst>
        </pc:grpChg>
        <pc:grpChg chg="mod">
          <ac:chgData name="Manish Sharma" userId="97d895ad-8d7a-4884-8c18-743afd731b6f" providerId="ADAL" clId="{19B291BF-5110-451B-9F49-5287458FEFEA}" dt="2020-12-16T20:36:02.740" v="1542" actId="554"/>
          <ac:grpSpMkLst>
            <pc:docMk/>
            <pc:sldMk cId="2478486860" sldId="318"/>
            <ac:grpSpMk id="18" creationId="{38FCB088-1D96-4455-A463-B6D0CB5B7386}"/>
          </ac:grpSpMkLst>
        </pc:grpChg>
        <pc:grpChg chg="mod">
          <ac:chgData name="Manish Sharma" userId="97d895ad-8d7a-4884-8c18-743afd731b6f" providerId="ADAL" clId="{19B291BF-5110-451B-9F49-5287458FEFEA}" dt="2020-12-16T20:36:02.740" v="1542" actId="554"/>
          <ac:grpSpMkLst>
            <pc:docMk/>
            <pc:sldMk cId="2478486860" sldId="318"/>
            <ac:grpSpMk id="22" creationId="{00000000-0000-0000-0000-000000000000}"/>
          </ac:grpSpMkLst>
        </pc:grpChg>
        <pc:grpChg chg="mod">
          <ac:chgData name="Manish Sharma" userId="97d895ad-8d7a-4884-8c18-743afd731b6f" providerId="ADAL" clId="{19B291BF-5110-451B-9F49-5287458FEFEA}" dt="2020-12-16T20:36:02.740" v="1542" actId="554"/>
          <ac:grpSpMkLst>
            <pc:docMk/>
            <pc:sldMk cId="2478486860" sldId="318"/>
            <ac:grpSpMk id="23" creationId="{00000000-0000-0000-0000-000000000000}"/>
          </ac:grpSpMkLst>
        </pc:grpChg>
      </pc:sldChg>
      <pc:sldChg chg="modSp mod">
        <pc:chgData name="Manish Sharma" userId="97d895ad-8d7a-4884-8c18-743afd731b6f" providerId="ADAL" clId="{19B291BF-5110-451B-9F49-5287458FEFEA}" dt="2020-12-08T22:24:33.872" v="1226" actId="20577"/>
        <pc:sldMkLst>
          <pc:docMk/>
          <pc:sldMk cId="3632372976" sldId="375"/>
        </pc:sldMkLst>
        <pc:spChg chg="mod">
          <ac:chgData name="Manish Sharma" userId="97d895ad-8d7a-4884-8c18-743afd731b6f" providerId="ADAL" clId="{19B291BF-5110-451B-9F49-5287458FEFEA}" dt="2020-12-08T22:24:33.872" v="1226" actId="20577"/>
          <ac:spMkLst>
            <pc:docMk/>
            <pc:sldMk cId="3632372976" sldId="375"/>
            <ac:spMk id="2" creationId="{00000000-0000-0000-0000-000000000000}"/>
          </ac:spMkLst>
        </pc:spChg>
      </pc:sldChg>
      <pc:sldChg chg="del">
        <pc:chgData name="Manish Sharma" userId="97d895ad-8d7a-4884-8c18-743afd731b6f" providerId="ADAL" clId="{19B291BF-5110-451B-9F49-5287458FEFEA}" dt="2020-12-09T00:40:08.814" v="1309" actId="47"/>
        <pc:sldMkLst>
          <pc:docMk/>
          <pc:sldMk cId="213803271" sldId="381"/>
        </pc:sldMkLst>
      </pc:sldChg>
      <pc:sldChg chg="addSp delSp modSp add del mod">
        <pc:chgData name="Manish Sharma" userId="97d895ad-8d7a-4884-8c18-743afd731b6f" providerId="ADAL" clId="{19B291BF-5110-451B-9F49-5287458FEFEA}" dt="2021-01-12T23:53:05.029" v="3774" actId="207"/>
        <pc:sldMkLst>
          <pc:docMk/>
          <pc:sldMk cId="2829381692" sldId="393"/>
        </pc:sldMkLst>
        <pc:spChg chg="del">
          <ac:chgData name="Manish Sharma" userId="97d895ad-8d7a-4884-8c18-743afd731b6f" providerId="ADAL" clId="{19B291BF-5110-451B-9F49-5287458FEFEA}" dt="2020-12-01T23:38:30.450" v="468" actId="478"/>
          <ac:spMkLst>
            <pc:docMk/>
            <pc:sldMk cId="2829381692" sldId="393"/>
            <ac:spMk id="29" creationId="{575BDCD8-211A-4D95-8930-187CA4BAED05}"/>
          </ac:spMkLst>
        </pc:spChg>
        <pc:spChg chg="add mod">
          <ac:chgData name="Manish Sharma" userId="97d895ad-8d7a-4884-8c18-743afd731b6f" providerId="ADAL" clId="{19B291BF-5110-451B-9F49-5287458FEFEA}" dt="2020-12-16T20:44:20.201" v="1580"/>
          <ac:spMkLst>
            <pc:docMk/>
            <pc:sldMk cId="2829381692" sldId="393"/>
            <ac:spMk id="29" creationId="{66940962-46BA-46FC-BC9A-94B6193619C8}"/>
          </ac:spMkLst>
        </pc:spChg>
        <pc:spChg chg="add del mod">
          <ac:chgData name="Manish Sharma" userId="97d895ad-8d7a-4884-8c18-743afd731b6f" providerId="ADAL" clId="{19B291BF-5110-451B-9F49-5287458FEFEA}" dt="2021-01-06T19:49:55.105" v="3224" actId="478"/>
          <ac:spMkLst>
            <pc:docMk/>
            <pc:sldMk cId="2829381692" sldId="393"/>
            <ac:spMk id="33" creationId="{FC38DE32-F3E5-4F49-9C60-0D1AA35AE0EC}"/>
          </ac:spMkLst>
        </pc:spChg>
        <pc:spChg chg="add del mod">
          <ac:chgData name="Manish Sharma" userId="97d895ad-8d7a-4884-8c18-743afd731b6f" providerId="ADAL" clId="{19B291BF-5110-451B-9F49-5287458FEFEA}" dt="2020-12-16T20:44:19.779" v="1579" actId="478"/>
          <ac:spMkLst>
            <pc:docMk/>
            <pc:sldMk cId="2829381692" sldId="393"/>
            <ac:spMk id="39" creationId="{4EE05904-79B6-414D-B615-F72D1E67C8EB}"/>
          </ac:spMkLst>
        </pc:spChg>
        <pc:graphicFrameChg chg="add mod ord modGraphic">
          <ac:chgData name="Manish Sharma" userId="97d895ad-8d7a-4884-8c18-743afd731b6f" providerId="ADAL" clId="{19B291BF-5110-451B-9F49-5287458FEFEA}" dt="2021-01-12T23:53:05.029" v="3774" actId="207"/>
          <ac:graphicFrameMkLst>
            <pc:docMk/>
            <pc:sldMk cId="2829381692" sldId="393"/>
            <ac:graphicFrameMk id="34" creationId="{032C8542-C784-4517-A19E-A7CEE9460860}"/>
          </ac:graphicFrameMkLst>
        </pc:graphicFrameChg>
      </pc:sldChg>
      <pc:sldChg chg="addSp delSp modSp mod setBg">
        <pc:chgData name="Manish Sharma" userId="97d895ad-8d7a-4884-8c18-743afd731b6f" providerId="ADAL" clId="{19B291BF-5110-451B-9F49-5287458FEFEA}" dt="2021-01-12T23:44:01.840" v="3760" actId="20577"/>
        <pc:sldMkLst>
          <pc:docMk/>
          <pc:sldMk cId="3705176354" sldId="428"/>
        </pc:sldMkLst>
        <pc:spChg chg="mod">
          <ac:chgData name="Manish Sharma" userId="97d895ad-8d7a-4884-8c18-743afd731b6f" providerId="ADAL" clId="{19B291BF-5110-451B-9F49-5287458FEFEA}" dt="2021-01-12T23:43:47.346" v="3754" actId="20577"/>
          <ac:spMkLst>
            <pc:docMk/>
            <pc:sldMk cId="3705176354" sldId="428"/>
            <ac:spMk id="2" creationId="{00000000-0000-0000-0000-000000000000}"/>
          </ac:spMkLst>
        </pc:spChg>
        <pc:spChg chg="mod">
          <ac:chgData name="Manish Sharma" userId="97d895ad-8d7a-4884-8c18-743afd731b6f" providerId="ADAL" clId="{19B291BF-5110-451B-9F49-5287458FEFEA}" dt="2021-01-04T18:23:19.082" v="2639" actId="1076"/>
          <ac:spMkLst>
            <pc:docMk/>
            <pc:sldMk cId="3705176354" sldId="428"/>
            <ac:spMk id="4" creationId="{1D54A381-9ED5-4626-82D3-1EFCE1DF6AEC}"/>
          </ac:spMkLst>
        </pc:spChg>
        <pc:spChg chg="mod">
          <ac:chgData name="Manish Sharma" userId="97d895ad-8d7a-4884-8c18-743afd731b6f" providerId="ADAL" clId="{19B291BF-5110-451B-9F49-5287458FEFEA}" dt="2021-01-04T18:23:19.082" v="2639" actId="1076"/>
          <ac:spMkLst>
            <pc:docMk/>
            <pc:sldMk cId="3705176354" sldId="428"/>
            <ac:spMk id="5" creationId="{652FCEF2-0D6A-496F-BCD0-5EA40A62DBD2}"/>
          </ac:spMkLst>
        </pc:spChg>
        <pc:spChg chg="add del">
          <ac:chgData name="Manish Sharma" userId="97d895ad-8d7a-4884-8c18-743afd731b6f" providerId="ADAL" clId="{19B291BF-5110-451B-9F49-5287458FEFEA}" dt="2020-12-21T02:12:08.010" v="1726" actId="478"/>
          <ac:spMkLst>
            <pc:docMk/>
            <pc:sldMk cId="3705176354" sldId="428"/>
            <ac:spMk id="6" creationId="{69E562DA-C48A-476A-B66B-FFB26B39EB2F}"/>
          </ac:spMkLst>
        </pc:spChg>
        <pc:spChg chg="add del mod">
          <ac:chgData name="Manish Sharma" userId="97d895ad-8d7a-4884-8c18-743afd731b6f" providerId="ADAL" clId="{19B291BF-5110-451B-9F49-5287458FEFEA}" dt="2020-12-21T02:13:40.461" v="1762" actId="478"/>
          <ac:spMkLst>
            <pc:docMk/>
            <pc:sldMk cId="3705176354" sldId="428"/>
            <ac:spMk id="7" creationId="{572B377C-5B9E-4335-9AB7-5648F070EE21}"/>
          </ac:spMkLst>
        </pc:spChg>
        <pc:spChg chg="add del mod">
          <ac:chgData name="Manish Sharma" userId="97d895ad-8d7a-4884-8c18-743afd731b6f" providerId="ADAL" clId="{19B291BF-5110-451B-9F49-5287458FEFEA}" dt="2020-12-21T02:15:44.211" v="1780" actId="478"/>
          <ac:spMkLst>
            <pc:docMk/>
            <pc:sldMk cId="3705176354" sldId="428"/>
            <ac:spMk id="12" creationId="{6E1C55F6-78D7-46D8-808F-9B039EB84162}"/>
          </ac:spMkLst>
        </pc:spChg>
        <pc:spChg chg="mod">
          <ac:chgData name="Manish Sharma" userId="97d895ad-8d7a-4884-8c18-743afd731b6f" providerId="ADAL" clId="{19B291BF-5110-451B-9F49-5287458FEFEA}" dt="2021-01-04T18:23:19.082" v="2639" actId="1076"/>
          <ac:spMkLst>
            <pc:docMk/>
            <pc:sldMk cId="3705176354" sldId="428"/>
            <ac:spMk id="16" creationId="{00000000-0000-0000-0000-000000000000}"/>
          </ac:spMkLst>
        </pc:spChg>
        <pc:spChg chg="mod">
          <ac:chgData name="Manish Sharma" userId="97d895ad-8d7a-4884-8c18-743afd731b6f" providerId="ADAL" clId="{19B291BF-5110-451B-9F49-5287458FEFEA}" dt="2021-01-04T18:23:19.082" v="2639" actId="1076"/>
          <ac:spMkLst>
            <pc:docMk/>
            <pc:sldMk cId="3705176354" sldId="428"/>
            <ac:spMk id="18" creationId="{00000000-0000-0000-0000-000000000000}"/>
          </ac:spMkLst>
        </pc:spChg>
        <pc:spChg chg="mod">
          <ac:chgData name="Manish Sharma" userId="97d895ad-8d7a-4884-8c18-743afd731b6f" providerId="ADAL" clId="{19B291BF-5110-451B-9F49-5287458FEFEA}" dt="2021-01-04T18:23:19.082" v="2639" actId="1076"/>
          <ac:spMkLst>
            <pc:docMk/>
            <pc:sldMk cId="3705176354" sldId="428"/>
            <ac:spMk id="20" creationId="{00000000-0000-0000-0000-000000000000}"/>
          </ac:spMkLst>
        </pc:spChg>
        <pc:spChg chg="mod">
          <ac:chgData name="Manish Sharma" userId="97d895ad-8d7a-4884-8c18-743afd731b6f" providerId="ADAL" clId="{19B291BF-5110-451B-9F49-5287458FEFEA}" dt="2021-01-05T18:12:45.925" v="3101" actId="20577"/>
          <ac:spMkLst>
            <pc:docMk/>
            <pc:sldMk cId="3705176354" sldId="428"/>
            <ac:spMk id="21" creationId="{00000000-0000-0000-0000-000000000000}"/>
          </ac:spMkLst>
        </pc:spChg>
        <pc:spChg chg="del mod">
          <ac:chgData name="Manish Sharma" userId="97d895ad-8d7a-4884-8c18-743afd731b6f" providerId="ADAL" clId="{19B291BF-5110-451B-9F49-5287458FEFEA}" dt="2020-12-21T02:09:58.988" v="1712" actId="478"/>
          <ac:spMkLst>
            <pc:docMk/>
            <pc:sldMk cId="3705176354" sldId="428"/>
            <ac:spMk id="65" creationId="{032C717A-A2C2-4B22-8D41-0A1A3571E2BF}"/>
          </ac:spMkLst>
        </pc:spChg>
        <pc:spChg chg="del mod">
          <ac:chgData name="Manish Sharma" userId="97d895ad-8d7a-4884-8c18-743afd731b6f" providerId="ADAL" clId="{19B291BF-5110-451B-9F49-5287458FEFEA}" dt="2020-12-21T02:09:56.469" v="1711" actId="478"/>
          <ac:spMkLst>
            <pc:docMk/>
            <pc:sldMk cId="3705176354" sldId="428"/>
            <ac:spMk id="66" creationId="{E425BF68-6200-46D0-A81D-B4B7016B24D0}"/>
          </ac:spMkLst>
        </pc:spChg>
        <pc:spChg chg="del mod">
          <ac:chgData name="Manish Sharma" userId="97d895ad-8d7a-4884-8c18-743afd731b6f" providerId="ADAL" clId="{19B291BF-5110-451B-9F49-5287458FEFEA}" dt="2020-12-21T02:09:53.583" v="1710" actId="478"/>
          <ac:spMkLst>
            <pc:docMk/>
            <pc:sldMk cId="3705176354" sldId="428"/>
            <ac:spMk id="67" creationId="{AC571585-D301-4BF0-94F6-56A320C191FE}"/>
          </ac:spMkLst>
        </pc:spChg>
        <pc:spChg chg="mod topLvl">
          <ac:chgData name="Manish Sharma" userId="97d895ad-8d7a-4884-8c18-743afd731b6f" providerId="ADAL" clId="{19B291BF-5110-451B-9F49-5287458FEFEA}" dt="2020-12-21T02:23:12.710" v="1992" actId="1076"/>
          <ac:spMkLst>
            <pc:docMk/>
            <pc:sldMk cId="3705176354" sldId="428"/>
            <ac:spMk id="68" creationId="{0DE5C00C-1CFA-4ADA-BD77-BEBBB9E488A6}"/>
          </ac:spMkLst>
        </pc:spChg>
        <pc:spChg chg="mod topLvl">
          <ac:chgData name="Manish Sharma" userId="97d895ad-8d7a-4884-8c18-743afd731b6f" providerId="ADAL" clId="{19B291BF-5110-451B-9F49-5287458FEFEA}" dt="2020-12-21T02:23:12.710" v="1992" actId="1076"/>
          <ac:spMkLst>
            <pc:docMk/>
            <pc:sldMk cId="3705176354" sldId="428"/>
            <ac:spMk id="69" creationId="{FE257919-6236-409D-8ED6-3467B4EC50F8}"/>
          </ac:spMkLst>
        </pc:spChg>
        <pc:spChg chg="mod topLvl">
          <ac:chgData name="Manish Sharma" userId="97d895ad-8d7a-4884-8c18-743afd731b6f" providerId="ADAL" clId="{19B291BF-5110-451B-9F49-5287458FEFEA}" dt="2020-12-21T02:23:12.710" v="1992" actId="1076"/>
          <ac:spMkLst>
            <pc:docMk/>
            <pc:sldMk cId="3705176354" sldId="428"/>
            <ac:spMk id="70" creationId="{73BAC5A6-42FE-428D-85AD-C009E6A7C6D6}"/>
          </ac:spMkLst>
        </pc:spChg>
        <pc:spChg chg="mod topLvl">
          <ac:chgData name="Manish Sharma" userId="97d895ad-8d7a-4884-8c18-743afd731b6f" providerId="ADAL" clId="{19B291BF-5110-451B-9F49-5287458FEFEA}" dt="2020-12-21T02:23:12.710" v="1992" actId="1076"/>
          <ac:spMkLst>
            <pc:docMk/>
            <pc:sldMk cId="3705176354" sldId="428"/>
            <ac:spMk id="71" creationId="{6E0CF4A8-2350-4C7B-9806-728BDF34FA83}"/>
          </ac:spMkLst>
        </pc:spChg>
        <pc:spChg chg="mod topLvl">
          <ac:chgData name="Manish Sharma" userId="97d895ad-8d7a-4884-8c18-743afd731b6f" providerId="ADAL" clId="{19B291BF-5110-451B-9F49-5287458FEFEA}" dt="2020-12-21T02:23:12.710" v="1992" actId="1076"/>
          <ac:spMkLst>
            <pc:docMk/>
            <pc:sldMk cId="3705176354" sldId="428"/>
            <ac:spMk id="72" creationId="{7569089E-8416-4627-AB18-8ABBDE562D6E}"/>
          </ac:spMkLst>
        </pc:spChg>
        <pc:spChg chg="del">
          <ac:chgData name="Manish Sharma" userId="97d895ad-8d7a-4884-8c18-743afd731b6f" providerId="ADAL" clId="{19B291BF-5110-451B-9F49-5287458FEFEA}" dt="2020-12-16T19:22:04.369" v="1480" actId="478"/>
          <ac:spMkLst>
            <pc:docMk/>
            <pc:sldMk cId="3705176354" sldId="428"/>
            <ac:spMk id="72" creationId="{8C396EFB-EF42-486F-A655-1FCCF78B11D9}"/>
          </ac:spMkLst>
        </pc:spChg>
        <pc:spChg chg="mod">
          <ac:chgData name="Manish Sharma" userId="97d895ad-8d7a-4884-8c18-743afd731b6f" providerId="ADAL" clId="{19B291BF-5110-451B-9F49-5287458FEFEA}" dt="2021-01-04T18:18:00.455" v="2576" actId="555"/>
          <ac:spMkLst>
            <pc:docMk/>
            <pc:sldMk cId="3705176354" sldId="428"/>
            <ac:spMk id="73" creationId="{4C88BB89-4068-499B-8F3F-29D9CFDEB8D9}"/>
          </ac:spMkLst>
        </pc:spChg>
        <pc:spChg chg="mod">
          <ac:chgData name="Manish Sharma" userId="97d895ad-8d7a-4884-8c18-743afd731b6f" providerId="ADAL" clId="{19B291BF-5110-451B-9F49-5287458FEFEA}" dt="2021-01-04T18:18:00.455" v="2576" actId="555"/>
          <ac:spMkLst>
            <pc:docMk/>
            <pc:sldMk cId="3705176354" sldId="428"/>
            <ac:spMk id="74" creationId="{0331598C-AB42-4ED3-AD29-91628B8360D4}"/>
          </ac:spMkLst>
        </pc:spChg>
        <pc:spChg chg="mod">
          <ac:chgData name="Manish Sharma" userId="97d895ad-8d7a-4884-8c18-743afd731b6f" providerId="ADAL" clId="{19B291BF-5110-451B-9F49-5287458FEFEA}" dt="2021-01-04T18:18:00.455" v="2576" actId="555"/>
          <ac:spMkLst>
            <pc:docMk/>
            <pc:sldMk cId="3705176354" sldId="428"/>
            <ac:spMk id="75" creationId="{C3667D43-2D3C-46D6-BEB3-58980BA9DA59}"/>
          </ac:spMkLst>
        </pc:spChg>
        <pc:spChg chg="add del mod">
          <ac:chgData name="Manish Sharma" userId="97d895ad-8d7a-4884-8c18-743afd731b6f" providerId="ADAL" clId="{19B291BF-5110-451B-9F49-5287458FEFEA}" dt="2020-12-21T02:12:45.264" v="1759" actId="478"/>
          <ac:spMkLst>
            <pc:docMk/>
            <pc:sldMk cId="3705176354" sldId="428"/>
            <ac:spMk id="76" creationId="{4AB7210D-A980-40BF-807E-A4A353717B7F}"/>
          </ac:spMkLst>
        </pc:spChg>
        <pc:spChg chg="add mod">
          <ac:chgData name="Manish Sharma" userId="97d895ad-8d7a-4884-8c18-743afd731b6f" providerId="ADAL" clId="{19B291BF-5110-451B-9F49-5287458FEFEA}" dt="2020-12-01T23:23:33.714" v="341"/>
          <ac:spMkLst>
            <pc:docMk/>
            <pc:sldMk cId="3705176354" sldId="428"/>
            <ac:spMk id="76" creationId="{928EE9CA-5535-46DE-BED0-F2B33337DE93}"/>
          </ac:spMkLst>
        </pc:spChg>
        <pc:spChg chg="mod">
          <ac:chgData name="Manish Sharma" userId="97d895ad-8d7a-4884-8c18-743afd731b6f" providerId="ADAL" clId="{19B291BF-5110-451B-9F49-5287458FEFEA}" dt="2021-01-04T18:18:00.455" v="2576" actId="555"/>
          <ac:spMkLst>
            <pc:docMk/>
            <pc:sldMk cId="3705176354" sldId="428"/>
            <ac:spMk id="78" creationId="{00000000-0000-0000-0000-000000000000}"/>
          </ac:spMkLst>
        </pc:spChg>
        <pc:spChg chg="add mod">
          <ac:chgData name="Manish Sharma" userId="97d895ad-8d7a-4884-8c18-743afd731b6f" providerId="ADAL" clId="{19B291BF-5110-451B-9F49-5287458FEFEA}" dt="2020-12-21T02:23:12.710" v="1992" actId="1076"/>
          <ac:spMkLst>
            <pc:docMk/>
            <pc:sldMk cId="3705176354" sldId="428"/>
            <ac:spMk id="79" creationId="{B2E8358F-7350-42BF-83CF-9701FFAB1DF5}"/>
          </ac:spMkLst>
        </pc:spChg>
        <pc:spChg chg="add mod">
          <ac:chgData name="Manish Sharma" userId="97d895ad-8d7a-4884-8c18-743afd731b6f" providerId="ADAL" clId="{19B291BF-5110-451B-9F49-5287458FEFEA}" dt="2020-12-01T23:23:56.833" v="343" actId="1076"/>
          <ac:spMkLst>
            <pc:docMk/>
            <pc:sldMk cId="3705176354" sldId="428"/>
            <ac:spMk id="79" creationId="{D2F5148D-F34C-4849-AEA7-EE8D1EF96982}"/>
          </ac:spMkLst>
        </pc:spChg>
        <pc:spChg chg="mod">
          <ac:chgData name="Manish Sharma" userId="97d895ad-8d7a-4884-8c18-743afd731b6f" providerId="ADAL" clId="{19B291BF-5110-451B-9F49-5287458FEFEA}" dt="2021-01-04T21:15:12.586" v="2789" actId="1038"/>
          <ac:spMkLst>
            <pc:docMk/>
            <pc:sldMk cId="3705176354" sldId="428"/>
            <ac:spMk id="84" creationId="{A388D719-1B83-48DC-9D30-302F128003A0}"/>
          </ac:spMkLst>
        </pc:spChg>
        <pc:spChg chg="mod">
          <ac:chgData name="Manish Sharma" userId="97d895ad-8d7a-4884-8c18-743afd731b6f" providerId="ADAL" clId="{19B291BF-5110-451B-9F49-5287458FEFEA}" dt="2021-01-04T21:15:12.586" v="2789" actId="1038"/>
          <ac:spMkLst>
            <pc:docMk/>
            <pc:sldMk cId="3705176354" sldId="428"/>
            <ac:spMk id="85" creationId="{371E0832-7415-42B0-A85D-53D1A21EE250}"/>
          </ac:spMkLst>
        </pc:spChg>
        <pc:spChg chg="add mod">
          <ac:chgData name="Manish Sharma" userId="97d895ad-8d7a-4884-8c18-743afd731b6f" providerId="ADAL" clId="{19B291BF-5110-451B-9F49-5287458FEFEA}" dt="2020-12-01T23:24:19.687" v="345" actId="14100"/>
          <ac:spMkLst>
            <pc:docMk/>
            <pc:sldMk cId="3705176354" sldId="428"/>
            <ac:spMk id="85" creationId="{CAA82D74-1D1A-41BE-923C-0BC9FDA651E3}"/>
          </ac:spMkLst>
        </pc:spChg>
        <pc:spChg chg="mod">
          <ac:chgData name="Manish Sharma" userId="97d895ad-8d7a-4884-8c18-743afd731b6f" providerId="ADAL" clId="{19B291BF-5110-451B-9F49-5287458FEFEA}" dt="2021-01-04T21:15:12.586" v="2789" actId="1038"/>
          <ac:spMkLst>
            <pc:docMk/>
            <pc:sldMk cId="3705176354" sldId="428"/>
            <ac:spMk id="87" creationId="{04299B5C-AC1C-4226-A087-111F46F92233}"/>
          </ac:spMkLst>
        </pc:spChg>
        <pc:spChg chg="mod">
          <ac:chgData name="Manish Sharma" userId="97d895ad-8d7a-4884-8c18-743afd731b6f" providerId="ADAL" clId="{19B291BF-5110-451B-9F49-5287458FEFEA}" dt="2020-12-21T02:22:38.790" v="1972" actId="1037"/>
          <ac:spMkLst>
            <pc:docMk/>
            <pc:sldMk cId="3705176354" sldId="428"/>
            <ac:spMk id="88" creationId="{3C0634D5-D906-42A9-8CE6-628CECA1B18B}"/>
          </ac:spMkLst>
        </pc:spChg>
        <pc:spChg chg="mod">
          <ac:chgData name="Manish Sharma" userId="97d895ad-8d7a-4884-8c18-743afd731b6f" providerId="ADAL" clId="{19B291BF-5110-451B-9F49-5287458FEFEA}" dt="2021-01-04T21:15:12.586" v="2789" actId="1038"/>
          <ac:spMkLst>
            <pc:docMk/>
            <pc:sldMk cId="3705176354" sldId="428"/>
            <ac:spMk id="88" creationId="{63020B2E-DD6C-490A-9927-812881A44779}"/>
          </ac:spMkLst>
        </pc:spChg>
        <pc:spChg chg="mod">
          <ac:chgData name="Manish Sharma" userId="97d895ad-8d7a-4884-8c18-743afd731b6f" providerId="ADAL" clId="{19B291BF-5110-451B-9F49-5287458FEFEA}" dt="2020-12-21T02:19:11.953" v="1868" actId="14100"/>
          <ac:spMkLst>
            <pc:docMk/>
            <pc:sldMk cId="3705176354" sldId="428"/>
            <ac:spMk id="89" creationId="{9D026880-3550-41C7-AF34-4CACF1DD2863}"/>
          </ac:spMkLst>
        </pc:spChg>
        <pc:spChg chg="add mod">
          <ac:chgData name="Manish Sharma" userId="97d895ad-8d7a-4884-8c18-743afd731b6f" providerId="ADAL" clId="{19B291BF-5110-451B-9F49-5287458FEFEA}" dt="2020-12-01T23:25:32.841" v="406" actId="1035"/>
          <ac:spMkLst>
            <pc:docMk/>
            <pc:sldMk cId="3705176354" sldId="428"/>
            <ac:spMk id="91" creationId="{16D1D087-216F-4792-9256-99E3BE85D84B}"/>
          </ac:spMkLst>
        </pc:spChg>
        <pc:spChg chg="mod">
          <ac:chgData name="Manish Sharma" userId="97d895ad-8d7a-4884-8c18-743afd731b6f" providerId="ADAL" clId="{19B291BF-5110-451B-9F49-5287458FEFEA}" dt="2020-12-21T02:19:11.953" v="1868" actId="14100"/>
          <ac:spMkLst>
            <pc:docMk/>
            <pc:sldMk cId="3705176354" sldId="428"/>
            <ac:spMk id="91" creationId="{6C089970-5869-4785-9919-A9CC29F529A2}"/>
          </ac:spMkLst>
        </pc:spChg>
        <pc:spChg chg="mod">
          <ac:chgData name="Manish Sharma" userId="97d895ad-8d7a-4884-8c18-743afd731b6f" providerId="ADAL" clId="{19B291BF-5110-451B-9F49-5287458FEFEA}" dt="2021-01-04T18:17:45.059" v="2575" actId="1036"/>
          <ac:spMkLst>
            <pc:docMk/>
            <pc:sldMk cId="3705176354" sldId="428"/>
            <ac:spMk id="91" creationId="{A6049AE1-06B9-42FC-B4F8-375216D6F560}"/>
          </ac:spMkLst>
        </pc:spChg>
        <pc:spChg chg="mod">
          <ac:chgData name="Manish Sharma" userId="97d895ad-8d7a-4884-8c18-743afd731b6f" providerId="ADAL" clId="{19B291BF-5110-451B-9F49-5287458FEFEA}" dt="2021-01-04T18:17:45.059" v="2575" actId="1036"/>
          <ac:spMkLst>
            <pc:docMk/>
            <pc:sldMk cId="3705176354" sldId="428"/>
            <ac:spMk id="92" creationId="{C3FDCA06-52FA-4954-B281-7C51C528EA9B}"/>
          </ac:spMkLst>
        </pc:spChg>
        <pc:spChg chg="mod">
          <ac:chgData name="Manish Sharma" userId="97d895ad-8d7a-4884-8c18-743afd731b6f" providerId="ADAL" clId="{19B291BF-5110-451B-9F49-5287458FEFEA}" dt="2021-01-04T18:17:45.059" v="2575" actId="1036"/>
          <ac:spMkLst>
            <pc:docMk/>
            <pc:sldMk cId="3705176354" sldId="428"/>
            <ac:spMk id="93" creationId="{5F56B65C-67F9-489B-A098-B124FF2145A3}"/>
          </ac:spMkLst>
        </pc:spChg>
        <pc:spChg chg="mod">
          <ac:chgData name="Manish Sharma" userId="97d895ad-8d7a-4884-8c18-743afd731b6f" providerId="ADAL" clId="{19B291BF-5110-451B-9F49-5287458FEFEA}" dt="2021-01-04T18:17:45.059" v="2575" actId="1036"/>
          <ac:spMkLst>
            <pc:docMk/>
            <pc:sldMk cId="3705176354" sldId="428"/>
            <ac:spMk id="94" creationId="{7F2AD2B2-91D7-44DF-9FC2-042DB759ACE0}"/>
          </ac:spMkLst>
        </pc:spChg>
        <pc:spChg chg="mod">
          <ac:chgData name="Manish Sharma" userId="97d895ad-8d7a-4884-8c18-743afd731b6f" providerId="ADAL" clId="{19B291BF-5110-451B-9F49-5287458FEFEA}" dt="2021-01-04T18:17:45.059" v="2575" actId="1036"/>
          <ac:spMkLst>
            <pc:docMk/>
            <pc:sldMk cId="3705176354" sldId="428"/>
            <ac:spMk id="95" creationId="{AF1F0F33-694E-43CB-91D3-A8F9C08318BB}"/>
          </ac:spMkLst>
        </pc:spChg>
        <pc:spChg chg="mod">
          <ac:chgData name="Manish Sharma" userId="97d895ad-8d7a-4884-8c18-743afd731b6f" providerId="ADAL" clId="{19B291BF-5110-451B-9F49-5287458FEFEA}" dt="2020-12-21T02:27:30.094" v="2158" actId="1076"/>
          <ac:spMkLst>
            <pc:docMk/>
            <pc:sldMk cId="3705176354" sldId="428"/>
            <ac:spMk id="96" creationId="{00000000-0000-0000-0000-000000000000}"/>
          </ac:spMkLst>
        </pc:spChg>
        <pc:spChg chg="add del mod">
          <ac:chgData name="Manish Sharma" userId="97d895ad-8d7a-4884-8c18-743afd731b6f" providerId="ADAL" clId="{19B291BF-5110-451B-9F49-5287458FEFEA}" dt="2020-12-17T16:55:42.467" v="1679" actId="478"/>
          <ac:spMkLst>
            <pc:docMk/>
            <pc:sldMk cId="3705176354" sldId="428"/>
            <ac:spMk id="97" creationId="{0FF1F089-817A-4F5C-8CF2-897F16EE65E4}"/>
          </ac:spMkLst>
        </pc:spChg>
        <pc:spChg chg="mod">
          <ac:chgData name="Manish Sharma" userId="97d895ad-8d7a-4884-8c18-743afd731b6f" providerId="ADAL" clId="{19B291BF-5110-451B-9F49-5287458FEFEA}" dt="2020-12-21T02:19:11.953" v="1868" actId="14100"/>
          <ac:spMkLst>
            <pc:docMk/>
            <pc:sldMk cId="3705176354" sldId="428"/>
            <ac:spMk id="97" creationId="{2E4029A2-4801-4388-B05F-24CA09FCDEC3}"/>
          </ac:spMkLst>
        </pc:spChg>
        <pc:spChg chg="mod">
          <ac:chgData name="Manish Sharma" userId="97d895ad-8d7a-4884-8c18-743afd731b6f" providerId="ADAL" clId="{19B291BF-5110-451B-9F49-5287458FEFEA}" dt="2021-01-04T18:18:10.161" v="2591" actId="1037"/>
          <ac:spMkLst>
            <pc:docMk/>
            <pc:sldMk cId="3705176354" sldId="428"/>
            <ac:spMk id="97" creationId="{7C21A660-643E-44B8-B01F-D8DB987AB5C3}"/>
          </ac:spMkLst>
        </pc:spChg>
        <pc:spChg chg="mod">
          <ac:chgData name="Manish Sharma" userId="97d895ad-8d7a-4884-8c18-743afd731b6f" providerId="ADAL" clId="{19B291BF-5110-451B-9F49-5287458FEFEA}" dt="2021-01-04T18:17:45.059" v="2575" actId="1036"/>
          <ac:spMkLst>
            <pc:docMk/>
            <pc:sldMk cId="3705176354" sldId="428"/>
            <ac:spMk id="99" creationId="{4D151429-C104-459B-8972-32296F270073}"/>
          </ac:spMkLst>
        </pc:spChg>
        <pc:spChg chg="mod">
          <ac:chgData name="Manish Sharma" userId="97d895ad-8d7a-4884-8c18-743afd731b6f" providerId="ADAL" clId="{19B291BF-5110-451B-9F49-5287458FEFEA}" dt="2021-01-04T18:17:45.059" v="2575" actId="1036"/>
          <ac:spMkLst>
            <pc:docMk/>
            <pc:sldMk cId="3705176354" sldId="428"/>
            <ac:spMk id="100" creationId="{2E786153-2EA6-418A-8C49-2B4015ACB2F6}"/>
          </ac:spMkLst>
        </pc:spChg>
        <pc:spChg chg="mod">
          <ac:chgData name="Manish Sharma" userId="97d895ad-8d7a-4884-8c18-743afd731b6f" providerId="ADAL" clId="{19B291BF-5110-451B-9F49-5287458FEFEA}" dt="2021-01-04T18:17:45.059" v="2575" actId="1036"/>
          <ac:spMkLst>
            <pc:docMk/>
            <pc:sldMk cId="3705176354" sldId="428"/>
            <ac:spMk id="101" creationId="{314903FF-CA35-4851-8F29-22A4479BFA98}"/>
          </ac:spMkLst>
        </pc:spChg>
        <pc:spChg chg="mod">
          <ac:chgData name="Manish Sharma" userId="97d895ad-8d7a-4884-8c18-743afd731b6f" providerId="ADAL" clId="{19B291BF-5110-451B-9F49-5287458FEFEA}" dt="2021-01-04T18:18:00.455" v="2576" actId="555"/>
          <ac:spMkLst>
            <pc:docMk/>
            <pc:sldMk cId="3705176354" sldId="428"/>
            <ac:spMk id="103" creationId="{00000000-0000-0000-0000-000000000000}"/>
          </ac:spMkLst>
        </pc:spChg>
        <pc:spChg chg="mod">
          <ac:chgData name="Manish Sharma" userId="97d895ad-8d7a-4884-8c18-743afd731b6f" providerId="ADAL" clId="{19B291BF-5110-451B-9F49-5287458FEFEA}" dt="2021-01-04T18:17:45.059" v="2575" actId="1036"/>
          <ac:spMkLst>
            <pc:docMk/>
            <pc:sldMk cId="3705176354" sldId="428"/>
            <ac:spMk id="104" creationId="{6F6AFF24-81B5-4B31-9A0A-82F87F3CFF69}"/>
          </ac:spMkLst>
        </pc:spChg>
        <pc:spChg chg="mod">
          <ac:chgData name="Manish Sharma" userId="97d895ad-8d7a-4884-8c18-743afd731b6f" providerId="ADAL" clId="{19B291BF-5110-451B-9F49-5287458FEFEA}" dt="2021-01-04T18:17:45.059" v="2575" actId="1036"/>
          <ac:spMkLst>
            <pc:docMk/>
            <pc:sldMk cId="3705176354" sldId="428"/>
            <ac:spMk id="105" creationId="{F4A9ED15-5A04-4769-9A27-6F4E83001AE1}"/>
          </ac:spMkLst>
        </pc:spChg>
        <pc:spChg chg="mod">
          <ac:chgData name="Manish Sharma" userId="97d895ad-8d7a-4884-8c18-743afd731b6f" providerId="ADAL" clId="{19B291BF-5110-451B-9F49-5287458FEFEA}" dt="2021-01-04T18:18:16.684" v="2597" actId="1037"/>
          <ac:spMkLst>
            <pc:docMk/>
            <pc:sldMk cId="3705176354" sldId="428"/>
            <ac:spMk id="106" creationId="{6586313B-868D-477F-8E64-7611B5A769B8}"/>
          </ac:spMkLst>
        </pc:spChg>
        <pc:spChg chg="mod">
          <ac:chgData name="Manish Sharma" userId="97d895ad-8d7a-4884-8c18-743afd731b6f" providerId="ADAL" clId="{19B291BF-5110-451B-9F49-5287458FEFEA}" dt="2020-12-21T02:17:14.360" v="1806" actId="1076"/>
          <ac:spMkLst>
            <pc:docMk/>
            <pc:sldMk cId="3705176354" sldId="428"/>
            <ac:spMk id="108" creationId="{00000000-0000-0000-0000-000000000000}"/>
          </ac:spMkLst>
        </pc:spChg>
        <pc:spChg chg="mod">
          <ac:chgData name="Manish Sharma" userId="97d895ad-8d7a-4884-8c18-743afd731b6f" providerId="ADAL" clId="{19B291BF-5110-451B-9F49-5287458FEFEA}" dt="2021-01-04T18:17:45.059" v="2575" actId="1036"/>
          <ac:spMkLst>
            <pc:docMk/>
            <pc:sldMk cId="3705176354" sldId="428"/>
            <ac:spMk id="109" creationId="{F349C7DF-AC0A-49D4-9F64-6AC146FB6064}"/>
          </ac:spMkLst>
        </pc:spChg>
        <pc:spChg chg="mod">
          <ac:chgData name="Manish Sharma" userId="97d895ad-8d7a-4884-8c18-743afd731b6f" providerId="ADAL" clId="{19B291BF-5110-451B-9F49-5287458FEFEA}" dt="2021-01-04T18:17:45.059" v="2575" actId="1036"/>
          <ac:spMkLst>
            <pc:docMk/>
            <pc:sldMk cId="3705176354" sldId="428"/>
            <ac:spMk id="110" creationId="{DC136857-AFB9-4C9F-AAD9-61343700741A}"/>
          </ac:spMkLst>
        </pc:spChg>
        <pc:spChg chg="mod">
          <ac:chgData name="Manish Sharma" userId="97d895ad-8d7a-4884-8c18-743afd731b6f" providerId="ADAL" clId="{19B291BF-5110-451B-9F49-5287458FEFEA}" dt="2021-01-04T18:17:45.059" v="2575" actId="1036"/>
          <ac:spMkLst>
            <pc:docMk/>
            <pc:sldMk cId="3705176354" sldId="428"/>
            <ac:spMk id="111" creationId="{CD54F57B-29CB-4496-B3D6-6F35A8D84E7E}"/>
          </ac:spMkLst>
        </pc:spChg>
        <pc:spChg chg="mod">
          <ac:chgData name="Manish Sharma" userId="97d895ad-8d7a-4884-8c18-743afd731b6f" providerId="ADAL" clId="{19B291BF-5110-451B-9F49-5287458FEFEA}" dt="2021-01-04T18:17:45.059" v="2575" actId="1036"/>
          <ac:spMkLst>
            <pc:docMk/>
            <pc:sldMk cId="3705176354" sldId="428"/>
            <ac:spMk id="112" creationId="{D7563DF6-DA6E-4B84-AA04-2F6CE31D5C1F}"/>
          </ac:spMkLst>
        </pc:spChg>
        <pc:spChg chg="mod">
          <ac:chgData name="Manish Sharma" userId="97d895ad-8d7a-4884-8c18-743afd731b6f" providerId="ADAL" clId="{19B291BF-5110-451B-9F49-5287458FEFEA}" dt="2021-01-04T18:17:45.059" v="2575" actId="1036"/>
          <ac:spMkLst>
            <pc:docMk/>
            <pc:sldMk cId="3705176354" sldId="428"/>
            <ac:spMk id="113" creationId="{531355B4-FA13-4C23-BFA2-AD773D18807F}"/>
          </ac:spMkLst>
        </pc:spChg>
        <pc:spChg chg="mod">
          <ac:chgData name="Manish Sharma" userId="97d895ad-8d7a-4884-8c18-743afd731b6f" providerId="ADAL" clId="{19B291BF-5110-451B-9F49-5287458FEFEA}" dt="2020-12-21T02:19:11.953" v="1868" actId="14100"/>
          <ac:spMkLst>
            <pc:docMk/>
            <pc:sldMk cId="3705176354" sldId="428"/>
            <ac:spMk id="113" creationId="{BC6E6B39-598C-4486-9D2F-D1CA1F4ED985}"/>
          </ac:spMkLst>
        </pc:spChg>
        <pc:spChg chg="mod">
          <ac:chgData name="Manish Sharma" userId="97d895ad-8d7a-4884-8c18-743afd731b6f" providerId="ADAL" clId="{19B291BF-5110-451B-9F49-5287458FEFEA}" dt="2021-01-04T18:24:01.315" v="2648" actId="1076"/>
          <ac:spMkLst>
            <pc:docMk/>
            <pc:sldMk cId="3705176354" sldId="428"/>
            <ac:spMk id="114" creationId="{00000000-0000-0000-0000-000000000000}"/>
          </ac:spMkLst>
        </pc:spChg>
        <pc:spChg chg="mod">
          <ac:chgData name="Manish Sharma" userId="97d895ad-8d7a-4884-8c18-743afd731b6f" providerId="ADAL" clId="{19B291BF-5110-451B-9F49-5287458FEFEA}" dt="2021-01-04T18:24:01.315" v="2648" actId="1076"/>
          <ac:spMkLst>
            <pc:docMk/>
            <pc:sldMk cId="3705176354" sldId="428"/>
            <ac:spMk id="115" creationId="{00000000-0000-0000-0000-000000000000}"/>
          </ac:spMkLst>
        </pc:spChg>
        <pc:spChg chg="mod">
          <ac:chgData name="Manish Sharma" userId="97d895ad-8d7a-4884-8c18-743afd731b6f" providerId="ADAL" clId="{19B291BF-5110-451B-9F49-5287458FEFEA}" dt="2021-01-12T23:44:01.840" v="3760" actId="20577"/>
          <ac:spMkLst>
            <pc:docMk/>
            <pc:sldMk cId="3705176354" sldId="428"/>
            <ac:spMk id="116" creationId="{00000000-0000-0000-0000-000000000000}"/>
          </ac:spMkLst>
        </pc:spChg>
        <pc:spChg chg="mod">
          <ac:chgData name="Manish Sharma" userId="97d895ad-8d7a-4884-8c18-743afd731b6f" providerId="ADAL" clId="{19B291BF-5110-451B-9F49-5287458FEFEA}" dt="2021-01-04T18:52:26.413" v="2719" actId="13926"/>
          <ac:spMkLst>
            <pc:docMk/>
            <pc:sldMk cId="3705176354" sldId="428"/>
            <ac:spMk id="117" creationId="{00000000-0000-0000-0000-000000000000}"/>
          </ac:spMkLst>
        </pc:spChg>
        <pc:spChg chg="mod">
          <ac:chgData name="Manish Sharma" userId="97d895ad-8d7a-4884-8c18-743afd731b6f" providerId="ADAL" clId="{19B291BF-5110-451B-9F49-5287458FEFEA}" dt="2021-01-04T18:23:19.082" v="2639" actId="1076"/>
          <ac:spMkLst>
            <pc:docMk/>
            <pc:sldMk cId="3705176354" sldId="428"/>
            <ac:spMk id="118" creationId="{00000000-0000-0000-0000-000000000000}"/>
          </ac:spMkLst>
        </pc:spChg>
        <pc:spChg chg="mod">
          <ac:chgData name="Manish Sharma" userId="97d895ad-8d7a-4884-8c18-743afd731b6f" providerId="ADAL" clId="{19B291BF-5110-451B-9F49-5287458FEFEA}" dt="2021-01-04T18:18:23.809" v="2607" actId="1038"/>
          <ac:spMkLst>
            <pc:docMk/>
            <pc:sldMk cId="3705176354" sldId="428"/>
            <ac:spMk id="119" creationId="{6395CE94-62A2-4FF5-8F88-5E4FA17C8B56}"/>
          </ac:spMkLst>
        </pc:spChg>
        <pc:spChg chg="mod">
          <ac:chgData name="Manish Sharma" userId="97d895ad-8d7a-4884-8c18-743afd731b6f" providerId="ADAL" clId="{19B291BF-5110-451B-9F49-5287458FEFEA}" dt="2021-01-04T19:50:35.719" v="2753" actId="1038"/>
          <ac:spMkLst>
            <pc:docMk/>
            <pc:sldMk cId="3705176354" sldId="428"/>
            <ac:spMk id="121" creationId="{7BCD9C1F-6A12-41E0-B91B-4A27CAC5897F}"/>
          </ac:spMkLst>
        </pc:spChg>
        <pc:spChg chg="mod">
          <ac:chgData name="Manish Sharma" userId="97d895ad-8d7a-4884-8c18-743afd731b6f" providerId="ADAL" clId="{19B291BF-5110-451B-9F49-5287458FEFEA}" dt="2021-01-04T19:50:35.719" v="2753" actId="1038"/>
          <ac:spMkLst>
            <pc:docMk/>
            <pc:sldMk cId="3705176354" sldId="428"/>
            <ac:spMk id="122" creationId="{C2F6AA92-8C00-44E3-98F1-B4B497695915}"/>
          </ac:spMkLst>
        </pc:spChg>
        <pc:spChg chg="mod">
          <ac:chgData name="Manish Sharma" userId="97d895ad-8d7a-4884-8c18-743afd731b6f" providerId="ADAL" clId="{19B291BF-5110-451B-9F49-5287458FEFEA}" dt="2021-01-04T18:23:19.082" v="2639" actId="1076"/>
          <ac:spMkLst>
            <pc:docMk/>
            <pc:sldMk cId="3705176354" sldId="428"/>
            <ac:spMk id="123" creationId="{00000000-0000-0000-0000-000000000000}"/>
          </ac:spMkLst>
        </pc:spChg>
        <pc:spChg chg="mod">
          <ac:chgData name="Manish Sharma" userId="97d895ad-8d7a-4884-8c18-743afd731b6f" providerId="ADAL" clId="{19B291BF-5110-451B-9F49-5287458FEFEA}" dt="2021-01-04T18:24:01.315" v="2648" actId="1076"/>
          <ac:spMkLst>
            <pc:docMk/>
            <pc:sldMk cId="3705176354" sldId="428"/>
            <ac:spMk id="124" creationId="{00000000-0000-0000-0000-000000000000}"/>
          </ac:spMkLst>
        </pc:spChg>
        <pc:spChg chg="mod">
          <ac:chgData name="Manish Sharma" userId="97d895ad-8d7a-4884-8c18-743afd731b6f" providerId="ADAL" clId="{19B291BF-5110-451B-9F49-5287458FEFEA}" dt="2021-01-04T18:24:01.315" v="2648" actId="1076"/>
          <ac:spMkLst>
            <pc:docMk/>
            <pc:sldMk cId="3705176354" sldId="428"/>
            <ac:spMk id="125" creationId="{00000000-0000-0000-0000-000000000000}"/>
          </ac:spMkLst>
        </pc:spChg>
        <pc:spChg chg="mod">
          <ac:chgData name="Manish Sharma" userId="97d895ad-8d7a-4884-8c18-743afd731b6f" providerId="ADAL" clId="{19B291BF-5110-451B-9F49-5287458FEFEA}" dt="2021-01-04T18:24:01.315" v="2648" actId="1076"/>
          <ac:spMkLst>
            <pc:docMk/>
            <pc:sldMk cId="3705176354" sldId="428"/>
            <ac:spMk id="126" creationId="{00000000-0000-0000-0000-000000000000}"/>
          </ac:spMkLst>
        </pc:spChg>
        <pc:spChg chg="mod">
          <ac:chgData name="Manish Sharma" userId="97d895ad-8d7a-4884-8c18-743afd731b6f" providerId="ADAL" clId="{19B291BF-5110-451B-9F49-5287458FEFEA}" dt="2021-01-04T18:24:01.315" v="2648" actId="1076"/>
          <ac:spMkLst>
            <pc:docMk/>
            <pc:sldMk cId="3705176354" sldId="428"/>
            <ac:spMk id="127" creationId="{00000000-0000-0000-0000-000000000000}"/>
          </ac:spMkLst>
        </pc:spChg>
        <pc:spChg chg="mod">
          <ac:chgData name="Manish Sharma" userId="97d895ad-8d7a-4884-8c18-743afd731b6f" providerId="ADAL" clId="{19B291BF-5110-451B-9F49-5287458FEFEA}" dt="2021-01-04T19:50:35.719" v="2753" actId="1038"/>
          <ac:spMkLst>
            <pc:docMk/>
            <pc:sldMk cId="3705176354" sldId="428"/>
            <ac:spMk id="128" creationId="{B082A60A-ACA1-4C76-9CBD-B1A5A6C0AA4E}"/>
          </ac:spMkLst>
        </pc:spChg>
        <pc:spChg chg="mod">
          <ac:chgData name="Manish Sharma" userId="97d895ad-8d7a-4884-8c18-743afd731b6f" providerId="ADAL" clId="{19B291BF-5110-451B-9F49-5287458FEFEA}" dt="2020-12-21T02:19:11.953" v="1868" actId="14100"/>
          <ac:spMkLst>
            <pc:docMk/>
            <pc:sldMk cId="3705176354" sldId="428"/>
            <ac:spMk id="128" creationId="{BB8A3A34-A4A7-4391-8D45-962FD1604F14}"/>
          </ac:spMkLst>
        </pc:spChg>
        <pc:spChg chg="mod">
          <ac:chgData name="Manish Sharma" userId="97d895ad-8d7a-4884-8c18-743afd731b6f" providerId="ADAL" clId="{19B291BF-5110-451B-9F49-5287458FEFEA}" dt="2021-01-04T19:50:35.719" v="2753" actId="1038"/>
          <ac:spMkLst>
            <pc:docMk/>
            <pc:sldMk cId="3705176354" sldId="428"/>
            <ac:spMk id="129" creationId="{7CA00871-7C0B-4EC1-A6FF-90E9DC8180C5}"/>
          </ac:spMkLst>
        </pc:spChg>
        <pc:spChg chg="mod">
          <ac:chgData name="Manish Sharma" userId="97d895ad-8d7a-4884-8c18-743afd731b6f" providerId="ADAL" clId="{19B291BF-5110-451B-9F49-5287458FEFEA}" dt="2021-01-04T19:50:35.719" v="2753" actId="1038"/>
          <ac:spMkLst>
            <pc:docMk/>
            <pc:sldMk cId="3705176354" sldId="428"/>
            <ac:spMk id="130" creationId="{DBCF71C1-3010-4A05-BEF1-B0761D7BFA83}"/>
          </ac:spMkLst>
        </pc:spChg>
        <pc:spChg chg="mod">
          <ac:chgData name="Manish Sharma" userId="97d895ad-8d7a-4884-8c18-743afd731b6f" providerId="ADAL" clId="{19B291BF-5110-451B-9F49-5287458FEFEA}" dt="2021-01-04T18:24:01.315" v="2648" actId="1076"/>
          <ac:spMkLst>
            <pc:docMk/>
            <pc:sldMk cId="3705176354" sldId="428"/>
            <ac:spMk id="131" creationId="{00000000-0000-0000-0000-000000000000}"/>
          </ac:spMkLst>
        </pc:spChg>
        <pc:spChg chg="mod">
          <ac:chgData name="Manish Sharma" userId="97d895ad-8d7a-4884-8c18-743afd731b6f" providerId="ADAL" clId="{19B291BF-5110-451B-9F49-5287458FEFEA}" dt="2020-12-21T02:22:28.703" v="1957" actId="1038"/>
          <ac:spMkLst>
            <pc:docMk/>
            <pc:sldMk cId="3705176354" sldId="428"/>
            <ac:spMk id="132" creationId="{29795B84-035C-4D19-9B32-A0F6B36DF9A1}"/>
          </ac:spMkLst>
        </pc:spChg>
        <pc:spChg chg="mod">
          <ac:chgData name="Manish Sharma" userId="97d895ad-8d7a-4884-8c18-743afd731b6f" providerId="ADAL" clId="{19B291BF-5110-451B-9F49-5287458FEFEA}" dt="2021-01-04T19:50:35.719" v="2753" actId="1038"/>
          <ac:spMkLst>
            <pc:docMk/>
            <pc:sldMk cId="3705176354" sldId="428"/>
            <ac:spMk id="132" creationId="{D6CAFD05-ACE3-4F96-992A-AE41FB7D2659}"/>
          </ac:spMkLst>
        </pc:spChg>
        <pc:spChg chg="mod">
          <ac:chgData name="Manish Sharma" userId="97d895ad-8d7a-4884-8c18-743afd731b6f" providerId="ADAL" clId="{19B291BF-5110-451B-9F49-5287458FEFEA}" dt="2021-01-04T18:24:01.315" v="2648" actId="1076"/>
          <ac:spMkLst>
            <pc:docMk/>
            <pc:sldMk cId="3705176354" sldId="428"/>
            <ac:spMk id="133" creationId="{00000000-0000-0000-0000-000000000000}"/>
          </ac:spMkLst>
        </pc:spChg>
        <pc:spChg chg="mod">
          <ac:chgData name="Manish Sharma" userId="97d895ad-8d7a-4884-8c18-743afd731b6f" providerId="ADAL" clId="{19B291BF-5110-451B-9F49-5287458FEFEA}" dt="2020-12-21T02:16:53.403" v="1799" actId="1076"/>
          <ac:spMkLst>
            <pc:docMk/>
            <pc:sldMk cId="3705176354" sldId="428"/>
            <ac:spMk id="134" creationId="{58706B47-180E-4FBD-8C33-FD6C5747AF89}"/>
          </ac:spMkLst>
        </pc:spChg>
        <pc:spChg chg="mod">
          <ac:chgData name="Manish Sharma" userId="97d895ad-8d7a-4884-8c18-743afd731b6f" providerId="ADAL" clId="{19B291BF-5110-451B-9F49-5287458FEFEA}" dt="2021-01-04T18:24:10.529" v="2650" actId="1076"/>
          <ac:spMkLst>
            <pc:docMk/>
            <pc:sldMk cId="3705176354" sldId="428"/>
            <ac:spMk id="135" creationId="{00000000-0000-0000-0000-000000000000}"/>
          </ac:spMkLst>
        </pc:spChg>
        <pc:spChg chg="mod">
          <ac:chgData name="Manish Sharma" userId="97d895ad-8d7a-4884-8c18-743afd731b6f" providerId="ADAL" clId="{19B291BF-5110-451B-9F49-5287458FEFEA}" dt="2020-12-21T02:16:53.403" v="1799" actId="1076"/>
          <ac:spMkLst>
            <pc:docMk/>
            <pc:sldMk cId="3705176354" sldId="428"/>
            <ac:spMk id="136" creationId="{5E65DB36-B3DD-4CD4-B2D5-EA1966D99D8E}"/>
          </ac:spMkLst>
        </pc:spChg>
        <pc:spChg chg="mod">
          <ac:chgData name="Manish Sharma" userId="97d895ad-8d7a-4884-8c18-743afd731b6f" providerId="ADAL" clId="{19B291BF-5110-451B-9F49-5287458FEFEA}" dt="2021-01-04T18:23:19.082" v="2639" actId="1076"/>
          <ac:spMkLst>
            <pc:docMk/>
            <pc:sldMk cId="3705176354" sldId="428"/>
            <ac:spMk id="136" creationId="{8113CFE3-115F-4D11-B892-06F78805C088}"/>
          </ac:spMkLst>
        </pc:spChg>
        <pc:spChg chg="add mod">
          <ac:chgData name="Manish Sharma" userId="97d895ad-8d7a-4884-8c18-743afd731b6f" providerId="ADAL" clId="{19B291BF-5110-451B-9F49-5287458FEFEA}" dt="2020-12-01T23:26:00.682" v="447" actId="20577"/>
          <ac:spMkLst>
            <pc:docMk/>
            <pc:sldMk cId="3705176354" sldId="428"/>
            <ac:spMk id="136" creationId="{CB8E1DE0-3042-4527-B3BC-75163D3F6659}"/>
          </ac:spMkLst>
        </pc:spChg>
        <pc:spChg chg="mod">
          <ac:chgData name="Manish Sharma" userId="97d895ad-8d7a-4884-8c18-743afd731b6f" providerId="ADAL" clId="{19B291BF-5110-451B-9F49-5287458FEFEA}" dt="2020-12-21T02:16:53.403" v="1799" actId="1076"/>
          <ac:spMkLst>
            <pc:docMk/>
            <pc:sldMk cId="3705176354" sldId="428"/>
            <ac:spMk id="137" creationId="{3477D6C2-8ED3-41D9-8B6A-2824AAD963E2}"/>
          </ac:spMkLst>
        </pc:spChg>
        <pc:spChg chg="add del mod">
          <ac:chgData name="Manish Sharma" userId="97d895ad-8d7a-4884-8c18-743afd731b6f" providerId="ADAL" clId="{19B291BF-5110-451B-9F49-5287458FEFEA}" dt="2020-12-16T19:22:02.478" v="1479"/>
          <ac:spMkLst>
            <pc:docMk/>
            <pc:sldMk cId="3705176354" sldId="428"/>
            <ac:spMk id="137" creationId="{522F5519-3CDB-42A2-93CE-68B25F446FA2}"/>
          </ac:spMkLst>
        </pc:spChg>
        <pc:spChg chg="add del mod">
          <ac:chgData name="Manish Sharma" userId="97d895ad-8d7a-4884-8c18-743afd731b6f" providerId="ADAL" clId="{19B291BF-5110-451B-9F49-5287458FEFEA}" dt="2020-12-16T20:42:58.853" v="1555" actId="478"/>
          <ac:spMkLst>
            <pc:docMk/>
            <pc:sldMk cId="3705176354" sldId="428"/>
            <ac:spMk id="137" creationId="{7E198244-071A-48E3-B76D-C3524FDE242D}"/>
          </ac:spMkLst>
        </pc:spChg>
        <pc:spChg chg="mod">
          <ac:chgData name="Manish Sharma" userId="97d895ad-8d7a-4884-8c18-743afd731b6f" providerId="ADAL" clId="{19B291BF-5110-451B-9F49-5287458FEFEA}" dt="2021-01-04T18:23:19.082" v="2639" actId="1076"/>
          <ac:spMkLst>
            <pc:docMk/>
            <pc:sldMk cId="3705176354" sldId="428"/>
            <ac:spMk id="137" creationId="{CF64796D-5247-48FA-8EE5-FFB305843CF5}"/>
          </ac:spMkLst>
        </pc:spChg>
        <pc:spChg chg="mod">
          <ac:chgData name="Manish Sharma" userId="97d895ad-8d7a-4884-8c18-743afd731b6f" providerId="ADAL" clId="{19B291BF-5110-451B-9F49-5287458FEFEA}" dt="2020-12-21T02:16:53.403" v="1799" actId="1076"/>
          <ac:spMkLst>
            <pc:docMk/>
            <pc:sldMk cId="3705176354" sldId="428"/>
            <ac:spMk id="138" creationId="{46BACA6A-B910-4E91-BA7C-D1D3E577139F}"/>
          </ac:spMkLst>
        </pc:spChg>
        <pc:spChg chg="mod">
          <ac:chgData name="Manish Sharma" userId="97d895ad-8d7a-4884-8c18-743afd731b6f" providerId="ADAL" clId="{19B291BF-5110-451B-9F49-5287458FEFEA}" dt="2021-01-04T18:23:19.082" v="2639" actId="1076"/>
          <ac:spMkLst>
            <pc:docMk/>
            <pc:sldMk cId="3705176354" sldId="428"/>
            <ac:spMk id="138" creationId="{7A6F35D4-60B5-44A5-8CED-715DC7E89A45}"/>
          </ac:spMkLst>
        </pc:spChg>
        <pc:spChg chg="add del mod">
          <ac:chgData name="Manish Sharma" userId="97d895ad-8d7a-4884-8c18-743afd731b6f" providerId="ADAL" clId="{19B291BF-5110-451B-9F49-5287458FEFEA}" dt="2020-12-16T20:20:02.036" v="1521" actId="478"/>
          <ac:spMkLst>
            <pc:docMk/>
            <pc:sldMk cId="3705176354" sldId="428"/>
            <ac:spMk id="138" creationId="{F0556A29-071A-4917-90AA-9BE8ADDBDB12}"/>
          </ac:spMkLst>
        </pc:spChg>
        <pc:spChg chg="add mod">
          <ac:chgData name="Manish Sharma" userId="97d895ad-8d7a-4884-8c18-743afd731b6f" providerId="ADAL" clId="{19B291BF-5110-451B-9F49-5287458FEFEA}" dt="2020-12-16T20:42:59.061" v="1556"/>
          <ac:spMkLst>
            <pc:docMk/>
            <pc:sldMk cId="3705176354" sldId="428"/>
            <ac:spMk id="139" creationId="{603ACC26-B937-4447-9979-7C0AF008E38C}"/>
          </ac:spMkLst>
        </pc:spChg>
        <pc:spChg chg="mod">
          <ac:chgData name="Manish Sharma" userId="97d895ad-8d7a-4884-8c18-743afd731b6f" providerId="ADAL" clId="{19B291BF-5110-451B-9F49-5287458FEFEA}" dt="2021-01-04T18:37:49.172" v="2708" actId="1076"/>
          <ac:spMkLst>
            <pc:docMk/>
            <pc:sldMk cId="3705176354" sldId="428"/>
            <ac:spMk id="140" creationId="{2FCD0C83-58DE-4726-8D97-9E0B73DF567E}"/>
          </ac:spMkLst>
        </pc:spChg>
        <pc:spChg chg="mod">
          <ac:chgData name="Manish Sharma" userId="97d895ad-8d7a-4884-8c18-743afd731b6f" providerId="ADAL" clId="{19B291BF-5110-451B-9F49-5287458FEFEA}" dt="2021-01-04T18:23:19.082" v="2639" actId="1076"/>
          <ac:spMkLst>
            <pc:docMk/>
            <pc:sldMk cId="3705176354" sldId="428"/>
            <ac:spMk id="141" creationId="{1B3D99C5-1C4A-4A66-AC70-447C6EE1E005}"/>
          </ac:spMkLst>
        </pc:spChg>
        <pc:spChg chg="mod">
          <ac:chgData name="Manish Sharma" userId="97d895ad-8d7a-4884-8c18-743afd731b6f" providerId="ADAL" clId="{19B291BF-5110-451B-9F49-5287458FEFEA}" dt="2020-12-21T02:16:53.403" v="1799" actId="1076"/>
          <ac:spMkLst>
            <pc:docMk/>
            <pc:sldMk cId="3705176354" sldId="428"/>
            <ac:spMk id="141" creationId="{B3554C3C-F4CC-4847-96FF-B4ED94826FF3}"/>
          </ac:spMkLst>
        </pc:spChg>
        <pc:spChg chg="mod">
          <ac:chgData name="Manish Sharma" userId="97d895ad-8d7a-4884-8c18-743afd731b6f" providerId="ADAL" clId="{19B291BF-5110-451B-9F49-5287458FEFEA}" dt="2021-01-04T18:23:19.082" v="2639" actId="1076"/>
          <ac:spMkLst>
            <pc:docMk/>
            <pc:sldMk cId="3705176354" sldId="428"/>
            <ac:spMk id="142" creationId="{BB1FCD4A-BEC2-4277-B4F4-250C1273FA71}"/>
          </ac:spMkLst>
        </pc:spChg>
        <pc:spChg chg="mod">
          <ac:chgData name="Manish Sharma" userId="97d895ad-8d7a-4884-8c18-743afd731b6f" providerId="ADAL" clId="{19B291BF-5110-451B-9F49-5287458FEFEA}" dt="2021-01-04T18:23:19.082" v="2639" actId="1076"/>
          <ac:spMkLst>
            <pc:docMk/>
            <pc:sldMk cId="3705176354" sldId="428"/>
            <ac:spMk id="143" creationId="{BBFF1860-C32B-4C69-99CE-24503E5AF961}"/>
          </ac:spMkLst>
        </pc:spChg>
        <pc:spChg chg="mod">
          <ac:chgData name="Manish Sharma" userId="97d895ad-8d7a-4884-8c18-743afd731b6f" providerId="ADAL" clId="{19B291BF-5110-451B-9F49-5287458FEFEA}" dt="2021-01-04T21:15:12.586" v="2789" actId="1038"/>
          <ac:spMkLst>
            <pc:docMk/>
            <pc:sldMk cId="3705176354" sldId="428"/>
            <ac:spMk id="144" creationId="{35B28710-9C2B-4B7B-AD5A-3133A18881C7}"/>
          </ac:spMkLst>
        </pc:spChg>
        <pc:spChg chg="add del mod">
          <ac:chgData name="Manish Sharma" userId="97d895ad-8d7a-4884-8c18-743afd731b6f" providerId="ADAL" clId="{19B291BF-5110-451B-9F49-5287458FEFEA}" dt="2021-01-04T18:37:38.395" v="2707" actId="478"/>
          <ac:spMkLst>
            <pc:docMk/>
            <pc:sldMk cId="3705176354" sldId="428"/>
            <ac:spMk id="144" creationId="{8E3B1A48-A9F2-474B-B48E-57D343CEFD05}"/>
          </ac:spMkLst>
        </pc:spChg>
        <pc:spChg chg="mod">
          <ac:chgData name="Manish Sharma" userId="97d895ad-8d7a-4884-8c18-743afd731b6f" providerId="ADAL" clId="{19B291BF-5110-451B-9F49-5287458FEFEA}" dt="2020-12-21T02:17:04.340" v="1802" actId="1076"/>
          <ac:spMkLst>
            <pc:docMk/>
            <pc:sldMk cId="3705176354" sldId="428"/>
            <ac:spMk id="144" creationId="{EBE017DF-2619-41E0-87F0-03B59ABD731E}"/>
          </ac:spMkLst>
        </pc:spChg>
        <pc:spChg chg="mod">
          <ac:chgData name="Manish Sharma" userId="97d895ad-8d7a-4884-8c18-743afd731b6f" providerId="ADAL" clId="{19B291BF-5110-451B-9F49-5287458FEFEA}" dt="2021-01-04T21:15:58.909" v="2826" actId="1037"/>
          <ac:spMkLst>
            <pc:docMk/>
            <pc:sldMk cId="3705176354" sldId="428"/>
            <ac:spMk id="145" creationId="{3D09B25A-3A6B-41DA-8816-4A1EDF14BD11}"/>
          </ac:spMkLst>
        </pc:spChg>
        <pc:spChg chg="mod">
          <ac:chgData name="Manish Sharma" userId="97d895ad-8d7a-4884-8c18-743afd731b6f" providerId="ADAL" clId="{19B291BF-5110-451B-9F49-5287458FEFEA}" dt="2020-12-21T02:17:04.340" v="1802" actId="1076"/>
          <ac:spMkLst>
            <pc:docMk/>
            <pc:sldMk cId="3705176354" sldId="428"/>
            <ac:spMk id="145" creationId="{AFBC634D-4885-4CBD-86E4-5F5F4CBCF5C2}"/>
          </ac:spMkLst>
        </pc:spChg>
        <pc:spChg chg="mod">
          <ac:chgData name="Manish Sharma" userId="97d895ad-8d7a-4884-8c18-743afd731b6f" providerId="ADAL" clId="{19B291BF-5110-451B-9F49-5287458FEFEA}" dt="2020-12-21T02:17:04.340" v="1802" actId="1076"/>
          <ac:spMkLst>
            <pc:docMk/>
            <pc:sldMk cId="3705176354" sldId="428"/>
            <ac:spMk id="146" creationId="{C2B54CAD-0AFF-4704-A161-5732CBF5E90F}"/>
          </ac:spMkLst>
        </pc:spChg>
        <pc:spChg chg="mod">
          <ac:chgData name="Manish Sharma" userId="97d895ad-8d7a-4884-8c18-743afd731b6f" providerId="ADAL" clId="{19B291BF-5110-451B-9F49-5287458FEFEA}" dt="2021-01-04T21:15:21.995" v="2792" actId="1038"/>
          <ac:spMkLst>
            <pc:docMk/>
            <pc:sldMk cId="3705176354" sldId="428"/>
            <ac:spMk id="147" creationId="{B72F738A-E799-4BA7-9C96-4EA404B322F9}"/>
          </ac:spMkLst>
        </pc:spChg>
        <pc:spChg chg="mod">
          <ac:chgData name="Manish Sharma" userId="97d895ad-8d7a-4884-8c18-743afd731b6f" providerId="ADAL" clId="{19B291BF-5110-451B-9F49-5287458FEFEA}" dt="2020-12-21T02:17:04.340" v="1802" actId="1076"/>
          <ac:spMkLst>
            <pc:docMk/>
            <pc:sldMk cId="3705176354" sldId="428"/>
            <ac:spMk id="147" creationId="{B882654E-DB63-4793-B552-413D276A00A5}"/>
          </ac:spMkLst>
        </pc:spChg>
        <pc:spChg chg="mod">
          <ac:chgData name="Manish Sharma" userId="97d895ad-8d7a-4884-8c18-743afd731b6f" providerId="ADAL" clId="{19B291BF-5110-451B-9F49-5287458FEFEA}" dt="2021-01-04T21:15:21.995" v="2792" actId="1038"/>
          <ac:spMkLst>
            <pc:docMk/>
            <pc:sldMk cId="3705176354" sldId="428"/>
            <ac:spMk id="148" creationId="{18BAD77C-B164-4B97-A736-A07F9CE3486D}"/>
          </ac:spMkLst>
        </pc:spChg>
        <pc:spChg chg="mod">
          <ac:chgData name="Manish Sharma" userId="97d895ad-8d7a-4884-8c18-743afd731b6f" providerId="ADAL" clId="{19B291BF-5110-451B-9F49-5287458FEFEA}" dt="2020-12-21T02:17:04.340" v="1802" actId="1076"/>
          <ac:spMkLst>
            <pc:docMk/>
            <pc:sldMk cId="3705176354" sldId="428"/>
            <ac:spMk id="148" creationId="{51F9BD8B-797C-4E91-97BF-AF399BD407BE}"/>
          </ac:spMkLst>
        </pc:spChg>
        <pc:spChg chg="mod">
          <ac:chgData name="Manish Sharma" userId="97d895ad-8d7a-4884-8c18-743afd731b6f" providerId="ADAL" clId="{19B291BF-5110-451B-9F49-5287458FEFEA}" dt="2021-01-04T21:15:21.995" v="2792" actId="1038"/>
          <ac:spMkLst>
            <pc:docMk/>
            <pc:sldMk cId="3705176354" sldId="428"/>
            <ac:spMk id="149" creationId="{BDC8ECDC-87E4-4D60-94AF-ADE317BA6778}"/>
          </ac:spMkLst>
        </pc:spChg>
        <pc:spChg chg="mod">
          <ac:chgData name="Manish Sharma" userId="97d895ad-8d7a-4884-8c18-743afd731b6f" providerId="ADAL" clId="{19B291BF-5110-451B-9F49-5287458FEFEA}" dt="2020-12-21T02:17:04.340" v="1802" actId="1076"/>
          <ac:spMkLst>
            <pc:docMk/>
            <pc:sldMk cId="3705176354" sldId="428"/>
            <ac:spMk id="149" creationId="{DEFACEB1-1AC7-4F5C-A997-0AE972972612}"/>
          </ac:spMkLst>
        </pc:spChg>
        <pc:spChg chg="mod">
          <ac:chgData name="Manish Sharma" userId="97d895ad-8d7a-4884-8c18-743afd731b6f" providerId="ADAL" clId="{19B291BF-5110-451B-9F49-5287458FEFEA}" dt="2021-01-04T21:15:21.995" v="2792" actId="1038"/>
          <ac:spMkLst>
            <pc:docMk/>
            <pc:sldMk cId="3705176354" sldId="428"/>
            <ac:spMk id="150" creationId="{5F3B7A01-6D8F-4803-ADAE-8CF0CAC8B3CB}"/>
          </ac:spMkLst>
        </pc:spChg>
        <pc:spChg chg="mod">
          <ac:chgData name="Manish Sharma" userId="97d895ad-8d7a-4884-8c18-743afd731b6f" providerId="ADAL" clId="{19B291BF-5110-451B-9F49-5287458FEFEA}" dt="2021-01-04T21:15:21.995" v="2792" actId="1038"/>
          <ac:spMkLst>
            <pc:docMk/>
            <pc:sldMk cId="3705176354" sldId="428"/>
            <ac:spMk id="151" creationId="{92945A7F-B846-49F8-B49E-27ACAB34C618}"/>
          </ac:spMkLst>
        </pc:spChg>
        <pc:spChg chg="mod">
          <ac:chgData name="Manish Sharma" userId="97d895ad-8d7a-4884-8c18-743afd731b6f" providerId="ADAL" clId="{19B291BF-5110-451B-9F49-5287458FEFEA}" dt="2020-12-21T02:23:01.315" v="1990" actId="1038"/>
          <ac:spMkLst>
            <pc:docMk/>
            <pc:sldMk cId="3705176354" sldId="428"/>
            <ac:spMk id="152" creationId="{2BF048DE-4DDB-440C-BD09-2BB1D00D76A8}"/>
          </ac:spMkLst>
        </pc:spChg>
        <pc:spChg chg="mod">
          <ac:chgData name="Manish Sharma" userId="97d895ad-8d7a-4884-8c18-743afd731b6f" providerId="ADAL" clId="{19B291BF-5110-451B-9F49-5287458FEFEA}" dt="2021-01-04T21:16:06.554" v="2840" actId="1037"/>
          <ac:spMkLst>
            <pc:docMk/>
            <pc:sldMk cId="3705176354" sldId="428"/>
            <ac:spMk id="152" creationId="{C9B7238C-A008-4538-988A-95050CB35394}"/>
          </ac:spMkLst>
        </pc:spChg>
        <pc:spChg chg="mod">
          <ac:chgData name="Manish Sharma" userId="97d895ad-8d7a-4884-8c18-743afd731b6f" providerId="ADAL" clId="{19B291BF-5110-451B-9F49-5287458FEFEA}" dt="2020-12-21T02:17:27.686" v="1807" actId="1076"/>
          <ac:spMkLst>
            <pc:docMk/>
            <pc:sldMk cId="3705176354" sldId="428"/>
            <ac:spMk id="153" creationId="{AF541A14-0DB0-49F8-9962-877BCCABDBAF}"/>
          </ac:spMkLst>
        </pc:spChg>
        <pc:spChg chg="mod">
          <ac:chgData name="Manish Sharma" userId="97d895ad-8d7a-4884-8c18-743afd731b6f" providerId="ADAL" clId="{19B291BF-5110-451B-9F49-5287458FEFEA}" dt="2021-01-04T21:15:27.531" v="2794" actId="1076"/>
          <ac:spMkLst>
            <pc:docMk/>
            <pc:sldMk cId="3705176354" sldId="428"/>
            <ac:spMk id="154" creationId="{5F6419C4-2E00-461D-8785-6AF2F9079CED}"/>
          </ac:spMkLst>
        </pc:spChg>
        <pc:spChg chg="mod">
          <ac:chgData name="Manish Sharma" userId="97d895ad-8d7a-4884-8c18-743afd731b6f" providerId="ADAL" clId="{19B291BF-5110-451B-9F49-5287458FEFEA}" dt="2020-12-21T02:17:27.686" v="1807" actId="1076"/>
          <ac:spMkLst>
            <pc:docMk/>
            <pc:sldMk cId="3705176354" sldId="428"/>
            <ac:spMk id="154" creationId="{7CBFB5C2-D9B1-4B1F-B738-5965C6E42E40}"/>
          </ac:spMkLst>
        </pc:spChg>
        <pc:spChg chg="mod">
          <ac:chgData name="Manish Sharma" userId="97d895ad-8d7a-4884-8c18-743afd731b6f" providerId="ADAL" clId="{19B291BF-5110-451B-9F49-5287458FEFEA}" dt="2021-01-04T21:15:27.531" v="2794" actId="1076"/>
          <ac:spMkLst>
            <pc:docMk/>
            <pc:sldMk cId="3705176354" sldId="428"/>
            <ac:spMk id="155" creationId="{9BEEE3CF-6DDC-4869-AF96-08E2896B60CD}"/>
          </ac:spMkLst>
        </pc:spChg>
        <pc:spChg chg="mod">
          <ac:chgData name="Manish Sharma" userId="97d895ad-8d7a-4884-8c18-743afd731b6f" providerId="ADAL" clId="{19B291BF-5110-451B-9F49-5287458FEFEA}" dt="2020-12-21T02:17:27.686" v="1807" actId="1076"/>
          <ac:spMkLst>
            <pc:docMk/>
            <pc:sldMk cId="3705176354" sldId="428"/>
            <ac:spMk id="155" creationId="{9EBA8421-C710-484B-AE34-59DCEF2313B7}"/>
          </ac:spMkLst>
        </pc:spChg>
        <pc:spChg chg="mod">
          <ac:chgData name="Manish Sharma" userId="97d895ad-8d7a-4884-8c18-743afd731b6f" providerId="ADAL" clId="{19B291BF-5110-451B-9F49-5287458FEFEA}" dt="2021-01-04T21:15:27.531" v="2794" actId="1076"/>
          <ac:spMkLst>
            <pc:docMk/>
            <pc:sldMk cId="3705176354" sldId="428"/>
            <ac:spMk id="156" creationId="{D1B9524D-4D76-4CCE-B090-7788A3140673}"/>
          </ac:spMkLst>
        </pc:spChg>
        <pc:spChg chg="mod">
          <ac:chgData name="Manish Sharma" userId="97d895ad-8d7a-4884-8c18-743afd731b6f" providerId="ADAL" clId="{19B291BF-5110-451B-9F49-5287458FEFEA}" dt="2020-12-21T02:17:27.686" v="1807" actId="1076"/>
          <ac:spMkLst>
            <pc:docMk/>
            <pc:sldMk cId="3705176354" sldId="428"/>
            <ac:spMk id="156" creationId="{F5B60EF2-F66F-42EB-BE54-27E3BB69F2AE}"/>
          </ac:spMkLst>
        </pc:spChg>
        <pc:spChg chg="mod">
          <ac:chgData name="Manish Sharma" userId="97d895ad-8d7a-4884-8c18-743afd731b6f" providerId="ADAL" clId="{19B291BF-5110-451B-9F49-5287458FEFEA}" dt="2021-01-04T21:15:27.531" v="2794" actId="1076"/>
          <ac:spMkLst>
            <pc:docMk/>
            <pc:sldMk cId="3705176354" sldId="428"/>
            <ac:spMk id="157" creationId="{0EF4D660-1D42-4F50-B49C-3C10928D2B62}"/>
          </ac:spMkLst>
        </pc:spChg>
        <pc:spChg chg="mod">
          <ac:chgData name="Manish Sharma" userId="97d895ad-8d7a-4884-8c18-743afd731b6f" providerId="ADAL" clId="{19B291BF-5110-451B-9F49-5287458FEFEA}" dt="2020-12-21T02:17:27.686" v="1807" actId="1076"/>
          <ac:spMkLst>
            <pc:docMk/>
            <pc:sldMk cId="3705176354" sldId="428"/>
            <ac:spMk id="157" creationId="{A2335788-7423-4438-A550-BD942EFEC375}"/>
          </ac:spMkLst>
        </pc:spChg>
        <pc:spChg chg="mod">
          <ac:chgData name="Manish Sharma" userId="97d895ad-8d7a-4884-8c18-743afd731b6f" providerId="ADAL" clId="{19B291BF-5110-451B-9F49-5287458FEFEA}" dt="2021-01-04T21:15:27.531" v="2794" actId="1076"/>
          <ac:spMkLst>
            <pc:docMk/>
            <pc:sldMk cId="3705176354" sldId="428"/>
            <ac:spMk id="158" creationId="{892A7ADD-3E34-455B-824D-AB12F74393ED}"/>
          </ac:spMkLst>
        </pc:spChg>
        <pc:spChg chg="mod">
          <ac:chgData name="Manish Sharma" userId="97d895ad-8d7a-4884-8c18-743afd731b6f" providerId="ADAL" clId="{19B291BF-5110-451B-9F49-5287458FEFEA}" dt="2021-01-04T21:16:10.403" v="2842" actId="1038"/>
          <ac:spMkLst>
            <pc:docMk/>
            <pc:sldMk cId="3705176354" sldId="428"/>
            <ac:spMk id="159" creationId="{C42AA584-ED66-4131-B107-D939C472E75D}"/>
          </ac:spMkLst>
        </pc:spChg>
        <pc:spChg chg="add mod topLvl">
          <ac:chgData name="Manish Sharma" userId="97d895ad-8d7a-4884-8c18-743afd731b6f" providerId="ADAL" clId="{19B291BF-5110-451B-9F49-5287458FEFEA}" dt="2021-01-04T21:15:52.567" v="2803" actId="1038"/>
          <ac:spMkLst>
            <pc:docMk/>
            <pc:sldMk cId="3705176354" sldId="428"/>
            <ac:spMk id="160" creationId="{BD162B4B-B166-497E-B449-28B32A929E25}"/>
          </ac:spMkLst>
        </pc:spChg>
        <pc:spChg chg="mod topLvl">
          <ac:chgData name="Manish Sharma" userId="97d895ad-8d7a-4884-8c18-743afd731b6f" providerId="ADAL" clId="{19B291BF-5110-451B-9F49-5287458FEFEA}" dt="2021-01-04T21:14:46.713" v="2780" actId="164"/>
          <ac:spMkLst>
            <pc:docMk/>
            <pc:sldMk cId="3705176354" sldId="428"/>
            <ac:spMk id="161" creationId="{8B742B22-3CE1-4D61-8FBA-08B4473FFAC3}"/>
          </ac:spMkLst>
        </pc:spChg>
        <pc:spChg chg="mod topLvl">
          <ac:chgData name="Manish Sharma" userId="97d895ad-8d7a-4884-8c18-743afd731b6f" providerId="ADAL" clId="{19B291BF-5110-451B-9F49-5287458FEFEA}" dt="2021-01-04T21:14:46.713" v="2780" actId="164"/>
          <ac:spMkLst>
            <pc:docMk/>
            <pc:sldMk cId="3705176354" sldId="428"/>
            <ac:spMk id="162" creationId="{FC550850-167C-4476-895F-5A08E9594528}"/>
          </ac:spMkLst>
        </pc:spChg>
        <pc:spChg chg="mod topLvl">
          <ac:chgData name="Manish Sharma" userId="97d895ad-8d7a-4884-8c18-743afd731b6f" providerId="ADAL" clId="{19B291BF-5110-451B-9F49-5287458FEFEA}" dt="2021-01-04T21:14:46.713" v="2780" actId="164"/>
          <ac:spMkLst>
            <pc:docMk/>
            <pc:sldMk cId="3705176354" sldId="428"/>
            <ac:spMk id="163" creationId="{8C814ACA-C6F6-43BA-87CE-EDD8450D8D51}"/>
          </ac:spMkLst>
        </pc:spChg>
        <pc:spChg chg="add del mod topLvl">
          <ac:chgData name="Manish Sharma" userId="97d895ad-8d7a-4884-8c18-743afd731b6f" providerId="ADAL" clId="{19B291BF-5110-451B-9F49-5287458FEFEA}" dt="2021-01-04T21:14:46.713" v="2780" actId="164"/>
          <ac:spMkLst>
            <pc:docMk/>
            <pc:sldMk cId="3705176354" sldId="428"/>
            <ac:spMk id="164" creationId="{149D75D1-B81A-4E30-A07B-369F45DCF8C9}"/>
          </ac:spMkLst>
        </pc:spChg>
        <pc:spChg chg="add del mod topLvl">
          <ac:chgData name="Manish Sharma" userId="97d895ad-8d7a-4884-8c18-743afd731b6f" providerId="ADAL" clId="{19B291BF-5110-451B-9F49-5287458FEFEA}" dt="2021-01-04T21:14:46.713" v="2780" actId="164"/>
          <ac:spMkLst>
            <pc:docMk/>
            <pc:sldMk cId="3705176354" sldId="428"/>
            <ac:spMk id="165" creationId="{715AD296-B15E-4906-A172-AE19BA0906C7}"/>
          </ac:spMkLst>
        </pc:spChg>
        <pc:spChg chg="mod">
          <ac:chgData name="Manish Sharma" userId="97d895ad-8d7a-4884-8c18-743afd731b6f" providerId="ADAL" clId="{19B291BF-5110-451B-9F49-5287458FEFEA}" dt="2021-01-04T21:15:33.531" v="2796" actId="1076"/>
          <ac:spMkLst>
            <pc:docMk/>
            <pc:sldMk cId="3705176354" sldId="428"/>
            <ac:spMk id="167" creationId="{4032F69E-BF86-46D8-A96F-9DD5F5F56537}"/>
          </ac:spMkLst>
        </pc:spChg>
        <pc:spChg chg="mod">
          <ac:chgData name="Manish Sharma" userId="97d895ad-8d7a-4884-8c18-743afd731b6f" providerId="ADAL" clId="{19B291BF-5110-451B-9F49-5287458FEFEA}" dt="2020-12-28T03:32:38.914" v="2373" actId="14100"/>
          <ac:spMkLst>
            <pc:docMk/>
            <pc:sldMk cId="3705176354" sldId="428"/>
            <ac:spMk id="168" creationId="{6A2B348A-C5CB-488A-801A-795FADDF9FED}"/>
          </ac:spMkLst>
        </pc:spChg>
        <pc:spChg chg="mod">
          <ac:chgData name="Manish Sharma" userId="97d895ad-8d7a-4884-8c18-743afd731b6f" providerId="ADAL" clId="{19B291BF-5110-451B-9F49-5287458FEFEA}" dt="2021-01-04T21:15:33.531" v="2796" actId="1076"/>
          <ac:spMkLst>
            <pc:docMk/>
            <pc:sldMk cId="3705176354" sldId="428"/>
            <ac:spMk id="168" creationId="{D1879B2C-1CFD-456D-B878-FC47E5CFF120}"/>
          </ac:spMkLst>
        </pc:spChg>
        <pc:spChg chg="mod">
          <ac:chgData name="Manish Sharma" userId="97d895ad-8d7a-4884-8c18-743afd731b6f" providerId="ADAL" clId="{19B291BF-5110-451B-9F49-5287458FEFEA}" dt="2021-01-04T21:15:33.531" v="2796" actId="1076"/>
          <ac:spMkLst>
            <pc:docMk/>
            <pc:sldMk cId="3705176354" sldId="428"/>
            <ac:spMk id="169" creationId="{4C0BF0AB-F85D-4607-9F5B-F89A03E4312A}"/>
          </ac:spMkLst>
        </pc:spChg>
        <pc:spChg chg="mod">
          <ac:chgData name="Manish Sharma" userId="97d895ad-8d7a-4884-8c18-743afd731b6f" providerId="ADAL" clId="{19B291BF-5110-451B-9F49-5287458FEFEA}" dt="2021-01-04T18:03:30.419" v="2457" actId="207"/>
          <ac:spMkLst>
            <pc:docMk/>
            <pc:sldMk cId="3705176354" sldId="428"/>
            <ac:spMk id="169" creationId="{534E1361-24A2-422C-A4AD-70625E083FA7}"/>
          </ac:spMkLst>
        </pc:spChg>
        <pc:spChg chg="mod">
          <ac:chgData name="Manish Sharma" userId="97d895ad-8d7a-4884-8c18-743afd731b6f" providerId="ADAL" clId="{19B291BF-5110-451B-9F49-5287458FEFEA}" dt="2020-12-28T03:32:38.914" v="2373" actId="14100"/>
          <ac:spMkLst>
            <pc:docMk/>
            <pc:sldMk cId="3705176354" sldId="428"/>
            <ac:spMk id="170" creationId="{2CC61E6A-6B29-41E3-BEDF-F3442495DE66}"/>
          </ac:spMkLst>
        </pc:spChg>
        <pc:spChg chg="mod">
          <ac:chgData name="Manish Sharma" userId="97d895ad-8d7a-4884-8c18-743afd731b6f" providerId="ADAL" clId="{19B291BF-5110-451B-9F49-5287458FEFEA}" dt="2021-01-04T21:15:33.531" v="2796" actId="1076"/>
          <ac:spMkLst>
            <pc:docMk/>
            <pc:sldMk cId="3705176354" sldId="428"/>
            <ac:spMk id="170" creationId="{8ADBB37F-8DE9-4CEC-A93A-EEC7AEAF7796}"/>
          </ac:spMkLst>
        </pc:spChg>
        <pc:spChg chg="mod">
          <ac:chgData name="Manish Sharma" userId="97d895ad-8d7a-4884-8c18-743afd731b6f" providerId="ADAL" clId="{19B291BF-5110-451B-9F49-5287458FEFEA}" dt="2021-01-04T21:15:33.531" v="2796" actId="1076"/>
          <ac:spMkLst>
            <pc:docMk/>
            <pc:sldMk cId="3705176354" sldId="428"/>
            <ac:spMk id="171" creationId="{369A0DBA-FB70-4ACF-AFBA-0F806E590B68}"/>
          </ac:spMkLst>
        </pc:spChg>
        <pc:spChg chg="mod">
          <ac:chgData name="Manish Sharma" userId="97d895ad-8d7a-4884-8c18-743afd731b6f" providerId="ADAL" clId="{19B291BF-5110-451B-9F49-5287458FEFEA}" dt="2020-12-28T03:32:38.914" v="2373" actId="14100"/>
          <ac:spMkLst>
            <pc:docMk/>
            <pc:sldMk cId="3705176354" sldId="428"/>
            <ac:spMk id="171" creationId="{EA853928-E02E-45A5-BB93-43BAB9D2EBFA}"/>
          </ac:spMkLst>
        </pc:spChg>
        <pc:spChg chg="mod">
          <ac:chgData name="Manish Sharma" userId="97d895ad-8d7a-4884-8c18-743afd731b6f" providerId="ADAL" clId="{19B291BF-5110-451B-9F49-5287458FEFEA}" dt="2021-01-04T21:16:16.501" v="2858" actId="1038"/>
          <ac:spMkLst>
            <pc:docMk/>
            <pc:sldMk cId="3705176354" sldId="428"/>
            <ac:spMk id="172" creationId="{58AA6E8F-CA48-4671-8244-51F618D45FDC}"/>
          </ac:spMkLst>
        </pc:spChg>
        <pc:spChg chg="mod">
          <ac:chgData name="Manish Sharma" userId="97d895ad-8d7a-4884-8c18-743afd731b6f" providerId="ADAL" clId="{19B291BF-5110-451B-9F49-5287458FEFEA}" dt="2020-12-28T03:32:38.914" v="2373" actId="14100"/>
          <ac:spMkLst>
            <pc:docMk/>
            <pc:sldMk cId="3705176354" sldId="428"/>
            <ac:spMk id="172" creationId="{622ADF89-0C9B-45DF-BA08-54194311FC5C}"/>
          </ac:spMkLst>
        </pc:spChg>
        <pc:spChg chg="mod">
          <ac:chgData name="Manish Sharma" userId="97d895ad-8d7a-4884-8c18-743afd731b6f" providerId="ADAL" clId="{19B291BF-5110-451B-9F49-5287458FEFEA}" dt="2020-12-28T03:32:38.914" v="2373" actId="14100"/>
          <ac:spMkLst>
            <pc:docMk/>
            <pc:sldMk cId="3705176354" sldId="428"/>
            <ac:spMk id="173" creationId="{737A9296-D9E3-4D46-8E2F-2C9F1F023AA6}"/>
          </ac:spMkLst>
        </pc:spChg>
        <pc:spChg chg="mod">
          <ac:chgData name="Manish Sharma" userId="97d895ad-8d7a-4884-8c18-743afd731b6f" providerId="ADAL" clId="{19B291BF-5110-451B-9F49-5287458FEFEA}" dt="2021-01-04T21:15:44.979" v="2798" actId="1076"/>
          <ac:spMkLst>
            <pc:docMk/>
            <pc:sldMk cId="3705176354" sldId="428"/>
            <ac:spMk id="174" creationId="{875D4DC1-85CB-4A22-A68F-BE64923F47C9}"/>
          </ac:spMkLst>
        </pc:spChg>
        <pc:spChg chg="mod">
          <ac:chgData name="Manish Sharma" userId="97d895ad-8d7a-4884-8c18-743afd731b6f" providerId="ADAL" clId="{19B291BF-5110-451B-9F49-5287458FEFEA}" dt="2021-01-04T21:15:44.979" v="2798" actId="1076"/>
          <ac:spMkLst>
            <pc:docMk/>
            <pc:sldMk cId="3705176354" sldId="428"/>
            <ac:spMk id="175" creationId="{059B3175-C205-43D2-A4AA-0D675C5C1901}"/>
          </ac:spMkLst>
        </pc:spChg>
        <pc:spChg chg="mod">
          <ac:chgData name="Manish Sharma" userId="97d895ad-8d7a-4884-8c18-743afd731b6f" providerId="ADAL" clId="{19B291BF-5110-451B-9F49-5287458FEFEA}" dt="2021-01-04T21:15:44.979" v="2798" actId="1076"/>
          <ac:spMkLst>
            <pc:docMk/>
            <pc:sldMk cId="3705176354" sldId="428"/>
            <ac:spMk id="176" creationId="{5E6E2986-78B2-4AB7-A3A3-394331E3ADA2}"/>
          </ac:spMkLst>
        </pc:spChg>
        <pc:spChg chg="mod">
          <ac:chgData name="Manish Sharma" userId="97d895ad-8d7a-4884-8c18-743afd731b6f" providerId="ADAL" clId="{19B291BF-5110-451B-9F49-5287458FEFEA}" dt="2020-12-28T03:32:24.804" v="2371" actId="1076"/>
          <ac:spMkLst>
            <pc:docMk/>
            <pc:sldMk cId="3705176354" sldId="428"/>
            <ac:spMk id="176" creationId="{B50EB8CD-0715-4D9D-BF90-955C2C1F2606}"/>
          </ac:spMkLst>
        </pc:spChg>
        <pc:spChg chg="mod">
          <ac:chgData name="Manish Sharma" userId="97d895ad-8d7a-4884-8c18-743afd731b6f" providerId="ADAL" clId="{19B291BF-5110-451B-9F49-5287458FEFEA}" dt="2021-01-04T21:15:44.979" v="2798" actId="1076"/>
          <ac:spMkLst>
            <pc:docMk/>
            <pc:sldMk cId="3705176354" sldId="428"/>
            <ac:spMk id="177" creationId="{80073142-5B6F-472F-AB45-27660EE145F0}"/>
          </ac:spMkLst>
        </pc:spChg>
        <pc:spChg chg="mod">
          <ac:chgData name="Manish Sharma" userId="97d895ad-8d7a-4884-8c18-743afd731b6f" providerId="ADAL" clId="{19B291BF-5110-451B-9F49-5287458FEFEA}" dt="2021-01-04T18:03:37.543" v="2459" actId="207"/>
          <ac:spMkLst>
            <pc:docMk/>
            <pc:sldMk cId="3705176354" sldId="428"/>
            <ac:spMk id="177" creationId="{A1A25547-BD21-4409-99B6-8764F237F57A}"/>
          </ac:spMkLst>
        </pc:spChg>
        <pc:spChg chg="mod">
          <ac:chgData name="Manish Sharma" userId="97d895ad-8d7a-4884-8c18-743afd731b6f" providerId="ADAL" clId="{19B291BF-5110-451B-9F49-5287458FEFEA}" dt="2020-12-28T03:32:24.804" v="2371" actId="1076"/>
          <ac:spMkLst>
            <pc:docMk/>
            <pc:sldMk cId="3705176354" sldId="428"/>
            <ac:spMk id="178" creationId="{3669B22F-E04F-4A52-8D14-992AFF3D55F8}"/>
          </ac:spMkLst>
        </pc:spChg>
        <pc:spChg chg="mod">
          <ac:chgData name="Manish Sharma" userId="97d895ad-8d7a-4884-8c18-743afd731b6f" providerId="ADAL" clId="{19B291BF-5110-451B-9F49-5287458FEFEA}" dt="2021-01-04T21:15:44.979" v="2798" actId="1076"/>
          <ac:spMkLst>
            <pc:docMk/>
            <pc:sldMk cId="3705176354" sldId="428"/>
            <ac:spMk id="178" creationId="{7B8A8724-9015-4399-9F82-E343AE39B514}"/>
          </ac:spMkLst>
        </pc:spChg>
        <pc:spChg chg="mod">
          <ac:chgData name="Manish Sharma" userId="97d895ad-8d7a-4884-8c18-743afd731b6f" providerId="ADAL" clId="{19B291BF-5110-451B-9F49-5287458FEFEA}" dt="2020-12-28T03:32:24.804" v="2371" actId="1076"/>
          <ac:spMkLst>
            <pc:docMk/>
            <pc:sldMk cId="3705176354" sldId="428"/>
            <ac:spMk id="179" creationId="{93A5A247-D857-4099-9A8E-522490E96D50}"/>
          </ac:spMkLst>
        </pc:spChg>
        <pc:spChg chg="mod">
          <ac:chgData name="Manish Sharma" userId="97d895ad-8d7a-4884-8c18-743afd731b6f" providerId="ADAL" clId="{19B291BF-5110-451B-9F49-5287458FEFEA}" dt="2021-01-04T21:16:20.512" v="2861" actId="1037"/>
          <ac:spMkLst>
            <pc:docMk/>
            <pc:sldMk cId="3705176354" sldId="428"/>
            <ac:spMk id="179" creationId="{A384C1DC-5892-4E89-B096-14493C18A53F}"/>
          </ac:spMkLst>
        </pc:spChg>
        <pc:spChg chg="mod">
          <ac:chgData name="Manish Sharma" userId="97d895ad-8d7a-4884-8c18-743afd731b6f" providerId="ADAL" clId="{19B291BF-5110-451B-9F49-5287458FEFEA}" dt="2020-12-28T03:32:24.804" v="2371" actId="1076"/>
          <ac:spMkLst>
            <pc:docMk/>
            <pc:sldMk cId="3705176354" sldId="428"/>
            <ac:spMk id="180" creationId="{7C0805D5-825A-4A0E-9945-1C6765F3CD35}"/>
          </ac:spMkLst>
        </pc:spChg>
        <pc:spChg chg="mod">
          <ac:chgData name="Manish Sharma" userId="97d895ad-8d7a-4884-8c18-743afd731b6f" providerId="ADAL" clId="{19B291BF-5110-451B-9F49-5287458FEFEA}" dt="2020-12-28T03:32:24.804" v="2371" actId="1076"/>
          <ac:spMkLst>
            <pc:docMk/>
            <pc:sldMk cId="3705176354" sldId="428"/>
            <ac:spMk id="181" creationId="{AFFE3CAD-E253-484D-AEBC-B37BB091A5DB}"/>
          </ac:spMkLst>
        </pc:spChg>
        <pc:spChg chg="mod">
          <ac:chgData name="Manish Sharma" userId="97d895ad-8d7a-4884-8c18-743afd731b6f" providerId="ADAL" clId="{19B291BF-5110-451B-9F49-5287458FEFEA}" dt="2020-12-21T02:34:44.721" v="2267" actId="1035"/>
          <ac:spMkLst>
            <pc:docMk/>
            <pc:sldMk cId="3705176354" sldId="428"/>
            <ac:spMk id="184" creationId="{3E320254-22F3-4B92-B56F-7614AD43B893}"/>
          </ac:spMkLst>
        </pc:spChg>
        <pc:spChg chg="mod">
          <ac:chgData name="Manish Sharma" userId="97d895ad-8d7a-4884-8c18-743afd731b6f" providerId="ADAL" clId="{19B291BF-5110-451B-9F49-5287458FEFEA}" dt="2021-01-04T18:03:42.327" v="2461" actId="207"/>
          <ac:spMkLst>
            <pc:docMk/>
            <pc:sldMk cId="3705176354" sldId="428"/>
            <ac:spMk id="185" creationId="{5BB28E8D-20F7-4003-A364-674A8EFAC529}"/>
          </ac:spMkLst>
        </pc:spChg>
        <pc:spChg chg="mod">
          <ac:chgData name="Manish Sharma" userId="97d895ad-8d7a-4884-8c18-743afd731b6f" providerId="ADAL" clId="{19B291BF-5110-451B-9F49-5287458FEFEA}" dt="2020-12-21T02:34:44.721" v="2267" actId="1035"/>
          <ac:spMkLst>
            <pc:docMk/>
            <pc:sldMk cId="3705176354" sldId="428"/>
            <ac:spMk id="186" creationId="{448C2B6E-8E5E-40EB-8821-4A943EA7BE77}"/>
          </ac:spMkLst>
        </pc:spChg>
        <pc:spChg chg="mod">
          <ac:chgData name="Manish Sharma" userId="97d895ad-8d7a-4884-8c18-743afd731b6f" providerId="ADAL" clId="{19B291BF-5110-451B-9F49-5287458FEFEA}" dt="2020-12-21T02:34:44.721" v="2267" actId="1035"/>
          <ac:spMkLst>
            <pc:docMk/>
            <pc:sldMk cId="3705176354" sldId="428"/>
            <ac:spMk id="187" creationId="{DAB93590-F7B0-49BD-B159-69A6C99C1013}"/>
          </ac:spMkLst>
        </pc:spChg>
        <pc:spChg chg="mod">
          <ac:chgData name="Manish Sharma" userId="97d895ad-8d7a-4884-8c18-743afd731b6f" providerId="ADAL" clId="{19B291BF-5110-451B-9F49-5287458FEFEA}" dt="2020-12-21T02:34:44.721" v="2267" actId="1035"/>
          <ac:spMkLst>
            <pc:docMk/>
            <pc:sldMk cId="3705176354" sldId="428"/>
            <ac:spMk id="188" creationId="{591051CA-7809-4D15-B57B-82E885CACA85}"/>
          </ac:spMkLst>
        </pc:spChg>
        <pc:spChg chg="mod">
          <ac:chgData name="Manish Sharma" userId="97d895ad-8d7a-4884-8c18-743afd731b6f" providerId="ADAL" clId="{19B291BF-5110-451B-9F49-5287458FEFEA}" dt="2020-12-21T02:34:44.721" v="2267" actId="1035"/>
          <ac:spMkLst>
            <pc:docMk/>
            <pc:sldMk cId="3705176354" sldId="428"/>
            <ac:spMk id="189" creationId="{0CAF7036-D6D6-461C-865C-D2817BA6E786}"/>
          </ac:spMkLst>
        </pc:spChg>
        <pc:spChg chg="mod">
          <ac:chgData name="Manish Sharma" userId="97d895ad-8d7a-4884-8c18-743afd731b6f" providerId="ADAL" clId="{19B291BF-5110-451B-9F49-5287458FEFEA}" dt="2020-12-21T02:34:44.721" v="2267" actId="1035"/>
          <ac:spMkLst>
            <pc:docMk/>
            <pc:sldMk cId="3705176354" sldId="428"/>
            <ac:spMk id="192" creationId="{BEF2BDBE-3C7D-4518-A1A8-F002757BBFA3}"/>
          </ac:spMkLst>
        </pc:spChg>
        <pc:spChg chg="mod">
          <ac:chgData name="Manish Sharma" userId="97d895ad-8d7a-4884-8c18-743afd731b6f" providerId="ADAL" clId="{19B291BF-5110-451B-9F49-5287458FEFEA}" dt="2021-01-04T18:03:44.700" v="2462" actId="207"/>
          <ac:spMkLst>
            <pc:docMk/>
            <pc:sldMk cId="3705176354" sldId="428"/>
            <ac:spMk id="193" creationId="{3D5FD5FE-5C7D-4699-8ACC-3D57E92EEB91}"/>
          </ac:spMkLst>
        </pc:spChg>
        <pc:spChg chg="mod">
          <ac:chgData name="Manish Sharma" userId="97d895ad-8d7a-4884-8c18-743afd731b6f" providerId="ADAL" clId="{19B291BF-5110-451B-9F49-5287458FEFEA}" dt="2020-12-21T02:34:44.721" v="2267" actId="1035"/>
          <ac:spMkLst>
            <pc:docMk/>
            <pc:sldMk cId="3705176354" sldId="428"/>
            <ac:spMk id="194" creationId="{344DA444-5281-41AE-A1FC-1ABA91031215}"/>
          </ac:spMkLst>
        </pc:spChg>
        <pc:spChg chg="mod">
          <ac:chgData name="Manish Sharma" userId="97d895ad-8d7a-4884-8c18-743afd731b6f" providerId="ADAL" clId="{19B291BF-5110-451B-9F49-5287458FEFEA}" dt="2020-12-21T02:34:44.721" v="2267" actId="1035"/>
          <ac:spMkLst>
            <pc:docMk/>
            <pc:sldMk cId="3705176354" sldId="428"/>
            <ac:spMk id="195" creationId="{7ABB15B4-9337-490B-B745-3B5C797AB988}"/>
          </ac:spMkLst>
        </pc:spChg>
        <pc:spChg chg="mod">
          <ac:chgData name="Manish Sharma" userId="97d895ad-8d7a-4884-8c18-743afd731b6f" providerId="ADAL" clId="{19B291BF-5110-451B-9F49-5287458FEFEA}" dt="2020-12-21T02:34:44.721" v="2267" actId="1035"/>
          <ac:spMkLst>
            <pc:docMk/>
            <pc:sldMk cId="3705176354" sldId="428"/>
            <ac:spMk id="196" creationId="{2D75892C-0A59-4BB7-B65A-86C025E25EE1}"/>
          </ac:spMkLst>
        </pc:spChg>
        <pc:spChg chg="mod">
          <ac:chgData name="Manish Sharma" userId="97d895ad-8d7a-4884-8c18-743afd731b6f" providerId="ADAL" clId="{19B291BF-5110-451B-9F49-5287458FEFEA}" dt="2020-12-21T02:34:44.721" v="2267" actId="1035"/>
          <ac:spMkLst>
            <pc:docMk/>
            <pc:sldMk cId="3705176354" sldId="428"/>
            <ac:spMk id="197" creationId="{CA2C51D9-CE1C-4F21-AA83-1319D721CC10}"/>
          </ac:spMkLst>
        </pc:spChg>
        <pc:spChg chg="mod">
          <ac:chgData name="Manish Sharma" userId="97d895ad-8d7a-4884-8c18-743afd731b6f" providerId="ADAL" clId="{19B291BF-5110-451B-9F49-5287458FEFEA}" dt="2020-12-21T02:46:01.023" v="2274" actId="1036"/>
          <ac:spMkLst>
            <pc:docMk/>
            <pc:sldMk cId="3705176354" sldId="428"/>
            <ac:spMk id="200" creationId="{738AFDE1-3ECD-45B8-A7DE-686984110034}"/>
          </ac:spMkLst>
        </pc:spChg>
        <pc:spChg chg="mod">
          <ac:chgData name="Manish Sharma" userId="97d895ad-8d7a-4884-8c18-743afd731b6f" providerId="ADAL" clId="{19B291BF-5110-451B-9F49-5287458FEFEA}" dt="2020-12-21T02:46:01.023" v="2274" actId="1036"/>
          <ac:spMkLst>
            <pc:docMk/>
            <pc:sldMk cId="3705176354" sldId="428"/>
            <ac:spMk id="201" creationId="{17E96E34-74EB-4486-B711-2B7198CCBF90}"/>
          </ac:spMkLst>
        </pc:spChg>
        <pc:spChg chg="mod">
          <ac:chgData name="Manish Sharma" userId="97d895ad-8d7a-4884-8c18-743afd731b6f" providerId="ADAL" clId="{19B291BF-5110-451B-9F49-5287458FEFEA}" dt="2020-12-21T02:46:01.023" v="2274" actId="1036"/>
          <ac:spMkLst>
            <pc:docMk/>
            <pc:sldMk cId="3705176354" sldId="428"/>
            <ac:spMk id="202" creationId="{F093847B-EA57-4095-A14F-6DF1BE6D1BBA}"/>
          </ac:spMkLst>
        </pc:spChg>
        <pc:spChg chg="mod">
          <ac:chgData name="Manish Sharma" userId="97d895ad-8d7a-4884-8c18-743afd731b6f" providerId="ADAL" clId="{19B291BF-5110-451B-9F49-5287458FEFEA}" dt="2020-12-21T02:46:01.023" v="2274" actId="1036"/>
          <ac:spMkLst>
            <pc:docMk/>
            <pc:sldMk cId="3705176354" sldId="428"/>
            <ac:spMk id="203" creationId="{FC4EA22F-58E8-4BC0-A822-B5063BBD243D}"/>
          </ac:spMkLst>
        </pc:spChg>
        <pc:spChg chg="mod">
          <ac:chgData name="Manish Sharma" userId="97d895ad-8d7a-4884-8c18-743afd731b6f" providerId="ADAL" clId="{19B291BF-5110-451B-9F49-5287458FEFEA}" dt="2020-12-21T02:46:01.023" v="2274" actId="1036"/>
          <ac:spMkLst>
            <pc:docMk/>
            <pc:sldMk cId="3705176354" sldId="428"/>
            <ac:spMk id="204" creationId="{618A8300-763D-4C8F-998D-F992361E8592}"/>
          </ac:spMkLst>
        </pc:spChg>
        <pc:spChg chg="mod">
          <ac:chgData name="Manish Sharma" userId="97d895ad-8d7a-4884-8c18-743afd731b6f" providerId="ADAL" clId="{19B291BF-5110-451B-9F49-5287458FEFEA}" dt="2020-12-21T02:46:01.023" v="2274" actId="1036"/>
          <ac:spMkLst>
            <pc:docMk/>
            <pc:sldMk cId="3705176354" sldId="428"/>
            <ac:spMk id="205" creationId="{D2A30CC4-4FCE-4311-8BE5-B304F971D42E}"/>
          </ac:spMkLst>
        </pc:spChg>
        <pc:grpChg chg="add del mod">
          <ac:chgData name="Manish Sharma" userId="97d895ad-8d7a-4884-8c18-743afd731b6f" providerId="ADAL" clId="{19B291BF-5110-451B-9F49-5287458FEFEA}" dt="2021-01-04T21:14:29.086" v="2777" actId="165"/>
          <ac:grpSpMkLst>
            <pc:docMk/>
            <pc:sldMk cId="3705176354" sldId="428"/>
            <ac:grpSpMk id="3" creationId="{577BD539-C6C9-4959-9DEA-1AAC6BF94B31}"/>
          </ac:grpSpMkLst>
        </pc:grpChg>
        <pc:grpChg chg="add mod">
          <ac:chgData name="Manish Sharma" userId="97d895ad-8d7a-4884-8c18-743afd731b6f" providerId="ADAL" clId="{19B291BF-5110-451B-9F49-5287458FEFEA}" dt="2020-12-21T02:23:12.710" v="1992" actId="1076"/>
          <ac:grpSpMkLst>
            <pc:docMk/>
            <pc:sldMk cId="3705176354" sldId="428"/>
            <ac:grpSpMk id="3" creationId="{F2826511-DAB2-4DFA-8A84-A0E990D0851C}"/>
          </ac:grpSpMkLst>
        </pc:grpChg>
        <pc:grpChg chg="add mod">
          <ac:chgData name="Manish Sharma" userId="97d895ad-8d7a-4884-8c18-743afd731b6f" providerId="ADAL" clId="{19B291BF-5110-451B-9F49-5287458FEFEA}" dt="2021-01-04T21:14:46.713" v="2780" actId="164"/>
          <ac:grpSpMkLst>
            <pc:docMk/>
            <pc:sldMk cId="3705176354" sldId="428"/>
            <ac:grpSpMk id="6" creationId="{F85B3895-B254-442A-B1E7-CA3DA4D8092E}"/>
          </ac:grpSpMkLst>
        </pc:grpChg>
        <pc:grpChg chg="add del mod">
          <ac:chgData name="Manish Sharma" userId="97d895ad-8d7a-4884-8c18-743afd731b6f" providerId="ADAL" clId="{19B291BF-5110-451B-9F49-5287458FEFEA}" dt="2020-12-21T02:25:21.486" v="2059" actId="478"/>
          <ac:grpSpMkLst>
            <pc:docMk/>
            <pc:sldMk cId="3705176354" sldId="428"/>
            <ac:grpSpMk id="13" creationId="{1A885FB0-F798-4C1D-A72C-821010D6E9AB}"/>
          </ac:grpSpMkLst>
        </pc:grpChg>
        <pc:grpChg chg="add mod">
          <ac:chgData name="Manish Sharma" userId="97d895ad-8d7a-4884-8c18-743afd731b6f" providerId="ADAL" clId="{19B291BF-5110-451B-9F49-5287458FEFEA}" dt="2020-12-21T02:24:50.640" v="2036" actId="164"/>
          <ac:grpSpMkLst>
            <pc:docMk/>
            <pc:sldMk cId="3705176354" sldId="428"/>
            <ac:grpSpMk id="15" creationId="{CC7F0BD0-8235-4D8A-BA1F-D95AF77214D3}"/>
          </ac:grpSpMkLst>
        </pc:grpChg>
        <pc:grpChg chg="add del mod topLvl">
          <ac:chgData name="Manish Sharma" userId="97d895ad-8d7a-4884-8c18-743afd731b6f" providerId="ADAL" clId="{19B291BF-5110-451B-9F49-5287458FEFEA}" dt="2021-01-04T18:07:11.098" v="2519" actId="165"/>
          <ac:grpSpMkLst>
            <pc:docMk/>
            <pc:sldMk cId="3705176354" sldId="428"/>
            <ac:grpSpMk id="17" creationId="{A32214D1-46B4-490A-90A0-546597DCB89B}"/>
          </ac:grpSpMkLst>
        </pc:grpChg>
        <pc:grpChg chg="add del mod">
          <ac:chgData name="Manish Sharma" userId="97d895ad-8d7a-4884-8c18-743afd731b6f" providerId="ADAL" clId="{19B291BF-5110-451B-9F49-5287458FEFEA}" dt="2021-01-04T18:07:06.146" v="2518" actId="165"/>
          <ac:grpSpMkLst>
            <pc:docMk/>
            <pc:sldMk cId="3705176354" sldId="428"/>
            <ac:grpSpMk id="19" creationId="{690AA13B-AD80-43CB-A628-AE2CB56B3DBC}"/>
          </ac:grpSpMkLst>
        </pc:grpChg>
        <pc:grpChg chg="add del mod">
          <ac:chgData name="Manish Sharma" userId="97d895ad-8d7a-4884-8c18-743afd731b6f" providerId="ADAL" clId="{19B291BF-5110-451B-9F49-5287458FEFEA}" dt="2020-12-21T02:10:31.947" v="1720" actId="165"/>
          <ac:grpSpMkLst>
            <pc:docMk/>
            <pc:sldMk cId="3705176354" sldId="428"/>
            <ac:grpSpMk id="64" creationId="{1F7428DA-AED4-4728-A0E5-7B898DB82243}"/>
          </ac:grpSpMkLst>
        </pc:grpChg>
        <pc:grpChg chg="del">
          <ac:chgData name="Manish Sharma" userId="97d895ad-8d7a-4884-8c18-743afd731b6f" providerId="ADAL" clId="{19B291BF-5110-451B-9F49-5287458FEFEA}" dt="2020-12-21T02:10:05.665" v="1714" actId="478"/>
          <ac:grpSpMkLst>
            <pc:docMk/>
            <pc:sldMk cId="3705176354" sldId="428"/>
            <ac:grpSpMk id="80" creationId="{00000000-0000-0000-0000-000000000000}"/>
          </ac:grpSpMkLst>
        </pc:grpChg>
        <pc:grpChg chg="add mod">
          <ac:chgData name="Manish Sharma" userId="97d895ad-8d7a-4884-8c18-743afd731b6f" providerId="ADAL" clId="{19B291BF-5110-451B-9F49-5287458FEFEA}" dt="2021-01-04T21:15:12.586" v="2789" actId="1038"/>
          <ac:grpSpMkLst>
            <pc:docMk/>
            <pc:sldMk cId="3705176354" sldId="428"/>
            <ac:grpSpMk id="83" creationId="{CE60CB9D-B0E5-4644-9B04-223ACEC0F5DA}"/>
          </ac:grpSpMkLst>
        </pc:grpChg>
        <pc:grpChg chg="add del mod">
          <ac:chgData name="Manish Sharma" userId="97d895ad-8d7a-4884-8c18-743afd731b6f" providerId="ADAL" clId="{19B291BF-5110-451B-9F49-5287458FEFEA}" dt="2020-12-21T02:25:56.284" v="2064" actId="478"/>
          <ac:grpSpMkLst>
            <pc:docMk/>
            <pc:sldMk cId="3705176354" sldId="428"/>
            <ac:grpSpMk id="85" creationId="{3E37B347-4C30-4F0E-92DF-FFC552C4552A}"/>
          </ac:grpSpMkLst>
        </pc:grpChg>
        <pc:grpChg chg="mod">
          <ac:chgData name="Manish Sharma" userId="97d895ad-8d7a-4884-8c18-743afd731b6f" providerId="ADAL" clId="{19B291BF-5110-451B-9F49-5287458FEFEA}" dt="2021-01-04T18:24:01.315" v="2648" actId="1076"/>
          <ac:grpSpMkLst>
            <pc:docMk/>
            <pc:sldMk cId="3705176354" sldId="428"/>
            <ac:grpSpMk id="86" creationId="{00000000-0000-0000-0000-000000000000}"/>
          </ac:grpSpMkLst>
        </pc:grpChg>
        <pc:grpChg chg="mod">
          <ac:chgData name="Manish Sharma" userId="97d895ad-8d7a-4884-8c18-743afd731b6f" providerId="ADAL" clId="{19B291BF-5110-451B-9F49-5287458FEFEA}" dt="2020-12-21T02:19:11.953" v="1868" actId="14100"/>
          <ac:grpSpMkLst>
            <pc:docMk/>
            <pc:sldMk cId="3705176354" sldId="428"/>
            <ac:grpSpMk id="87" creationId="{B239F2D5-F8A5-4DC9-860F-437CE0D28A44}"/>
          </ac:grpSpMkLst>
        </pc:grpChg>
        <pc:grpChg chg="add del mod">
          <ac:chgData name="Manish Sharma" userId="97d895ad-8d7a-4884-8c18-743afd731b6f" providerId="ADAL" clId="{19B291BF-5110-451B-9F49-5287458FEFEA}" dt="2021-01-04T21:14:50.875" v="2781" actId="478"/>
          <ac:grpSpMkLst>
            <pc:docMk/>
            <pc:sldMk cId="3705176354" sldId="428"/>
            <ac:grpSpMk id="89" creationId="{105EEFB7-65D1-4614-A78F-31F0FEC4B714}"/>
          </ac:grpSpMkLst>
        </pc:grpChg>
        <pc:grpChg chg="del">
          <ac:chgData name="Manish Sharma" userId="97d895ad-8d7a-4884-8c18-743afd731b6f" providerId="ADAL" clId="{19B291BF-5110-451B-9F49-5287458FEFEA}" dt="2020-12-21T02:16:39.616" v="1797" actId="478"/>
          <ac:grpSpMkLst>
            <pc:docMk/>
            <pc:sldMk cId="3705176354" sldId="428"/>
            <ac:grpSpMk id="92" creationId="{00000000-0000-0000-0000-000000000000}"/>
          </ac:grpSpMkLst>
        </pc:grpChg>
        <pc:grpChg chg="del">
          <ac:chgData name="Manish Sharma" userId="97d895ad-8d7a-4884-8c18-743afd731b6f" providerId="ADAL" clId="{19B291BF-5110-451B-9F49-5287458FEFEA}" dt="2020-12-21T02:16:56.550" v="1800" actId="478"/>
          <ac:grpSpMkLst>
            <pc:docMk/>
            <pc:sldMk cId="3705176354" sldId="428"/>
            <ac:grpSpMk id="98" creationId="{00000000-0000-0000-0000-000000000000}"/>
          </ac:grpSpMkLst>
        </pc:grpChg>
        <pc:grpChg chg="add del mod">
          <ac:chgData name="Manish Sharma" userId="97d895ad-8d7a-4884-8c18-743afd731b6f" providerId="ADAL" clId="{19B291BF-5110-451B-9F49-5287458FEFEA}" dt="2021-01-04T21:14:53.718" v="2782" actId="478"/>
          <ac:grpSpMkLst>
            <pc:docMk/>
            <pc:sldMk cId="3705176354" sldId="428"/>
            <ac:grpSpMk id="98" creationId="{53BC9E4A-D30A-49B3-A6C4-44AC95263693}"/>
          </ac:grpSpMkLst>
        </pc:grpChg>
        <pc:grpChg chg="del">
          <ac:chgData name="Manish Sharma" userId="97d895ad-8d7a-4884-8c18-743afd731b6f" providerId="ADAL" clId="{19B291BF-5110-451B-9F49-5287458FEFEA}" dt="2020-12-21T02:17:06.740" v="1803" actId="478"/>
          <ac:grpSpMkLst>
            <pc:docMk/>
            <pc:sldMk cId="3705176354" sldId="428"/>
            <ac:grpSpMk id="104" creationId="{00000000-0000-0000-0000-000000000000}"/>
          </ac:grpSpMkLst>
        </pc:grpChg>
        <pc:grpChg chg="add del mod">
          <ac:chgData name="Manish Sharma" userId="97d895ad-8d7a-4884-8c18-743afd731b6f" providerId="ADAL" clId="{19B291BF-5110-451B-9F49-5287458FEFEA}" dt="2021-01-04T21:14:55.038" v="2783" actId="478"/>
          <ac:grpSpMkLst>
            <pc:docMk/>
            <pc:sldMk cId="3705176354" sldId="428"/>
            <ac:grpSpMk id="107" creationId="{5CA512AE-651E-4638-9D59-1D75726058FE}"/>
          </ac:grpSpMkLst>
        </pc:grpChg>
        <pc:grpChg chg="del">
          <ac:chgData name="Manish Sharma" userId="97d895ad-8d7a-4884-8c18-743afd731b6f" providerId="ADAL" clId="{19B291BF-5110-451B-9F49-5287458FEFEA}" dt="2020-12-21T02:16:31.050" v="1794" actId="478"/>
          <ac:grpSpMkLst>
            <pc:docMk/>
            <pc:sldMk cId="3705176354" sldId="428"/>
            <ac:grpSpMk id="109" creationId="{00000000-0000-0000-0000-000000000000}"/>
          </ac:grpSpMkLst>
        </pc:grpChg>
        <pc:grpChg chg="del">
          <ac:chgData name="Manish Sharma" userId="97d895ad-8d7a-4884-8c18-743afd731b6f" providerId="ADAL" clId="{19B291BF-5110-451B-9F49-5287458FEFEA}" dt="2020-12-21T02:31:42.003" v="2224" actId="478"/>
          <ac:grpSpMkLst>
            <pc:docMk/>
            <pc:sldMk cId="3705176354" sldId="428"/>
            <ac:grpSpMk id="119" creationId="{00000000-0000-0000-0000-000000000000}"/>
          </ac:grpSpMkLst>
        </pc:grpChg>
        <pc:grpChg chg="add del mod">
          <ac:chgData name="Manish Sharma" userId="97d895ad-8d7a-4884-8c18-743afd731b6f" providerId="ADAL" clId="{19B291BF-5110-451B-9F49-5287458FEFEA}" dt="2021-01-04T21:14:56.491" v="2784" actId="478"/>
          <ac:grpSpMkLst>
            <pc:docMk/>
            <pc:sldMk cId="3705176354" sldId="428"/>
            <ac:grpSpMk id="120" creationId="{A806030F-DAB8-4A27-A372-8A4C1AC39A88}"/>
          </ac:grpSpMkLst>
        </pc:grpChg>
        <pc:grpChg chg="add del mod">
          <ac:chgData name="Manish Sharma" userId="97d895ad-8d7a-4884-8c18-743afd731b6f" providerId="ADAL" clId="{19B291BF-5110-451B-9F49-5287458FEFEA}" dt="2020-12-21T02:25:58.827" v="2065" actId="478"/>
          <ac:grpSpMkLst>
            <pc:docMk/>
            <pc:sldMk cId="3705176354" sldId="428"/>
            <ac:grpSpMk id="129" creationId="{A3F30564-4FC9-4403-A5DF-8B3059DAFB41}"/>
          </ac:grpSpMkLst>
        </pc:grpChg>
        <pc:grpChg chg="mod">
          <ac:chgData name="Manish Sharma" userId="97d895ad-8d7a-4884-8c18-743afd731b6f" providerId="ADAL" clId="{19B291BF-5110-451B-9F49-5287458FEFEA}" dt="2020-12-21T02:16:53.403" v="1799" actId="1076"/>
          <ac:grpSpMkLst>
            <pc:docMk/>
            <pc:sldMk cId="3705176354" sldId="428"/>
            <ac:grpSpMk id="130" creationId="{A9AD4807-E067-49DD-9BA5-82A67EAEBD4B}"/>
          </ac:grpSpMkLst>
        </pc:grpChg>
        <pc:grpChg chg="add del mod">
          <ac:chgData name="Manish Sharma" userId="97d895ad-8d7a-4884-8c18-743afd731b6f" providerId="ADAL" clId="{19B291BF-5110-451B-9F49-5287458FEFEA}" dt="2021-01-04T21:14:58.408" v="2785" actId="478"/>
          <ac:grpSpMkLst>
            <pc:docMk/>
            <pc:sldMk cId="3705176354" sldId="428"/>
            <ac:grpSpMk id="134" creationId="{AEBD7C79-2ACE-4C29-A1AF-5012B973796C}"/>
          </ac:grpSpMkLst>
        </pc:grpChg>
        <pc:grpChg chg="add del mod">
          <ac:chgData name="Manish Sharma" userId="97d895ad-8d7a-4884-8c18-743afd731b6f" providerId="ADAL" clId="{19B291BF-5110-451B-9F49-5287458FEFEA}" dt="2020-12-21T02:26:03.120" v="2066" actId="478"/>
          <ac:grpSpMkLst>
            <pc:docMk/>
            <pc:sldMk cId="3705176354" sldId="428"/>
            <ac:grpSpMk id="142" creationId="{275AC14D-45A5-480B-A04B-8B1E594AE548}"/>
          </ac:grpSpMkLst>
        </pc:grpChg>
        <pc:grpChg chg="mod">
          <ac:chgData name="Manish Sharma" userId="97d895ad-8d7a-4884-8c18-743afd731b6f" providerId="ADAL" clId="{19B291BF-5110-451B-9F49-5287458FEFEA}" dt="2020-12-21T02:17:04.340" v="1802" actId="1076"/>
          <ac:grpSpMkLst>
            <pc:docMk/>
            <pc:sldMk cId="3705176354" sldId="428"/>
            <ac:grpSpMk id="143" creationId="{F93589EB-6BAF-4EA7-898D-41EC0799C171}"/>
          </ac:grpSpMkLst>
        </pc:grpChg>
        <pc:grpChg chg="add mod">
          <ac:chgData name="Manish Sharma" userId="97d895ad-8d7a-4884-8c18-743afd731b6f" providerId="ADAL" clId="{19B291BF-5110-451B-9F49-5287458FEFEA}" dt="2021-01-04T21:15:21.995" v="2792" actId="1038"/>
          <ac:grpSpMkLst>
            <pc:docMk/>
            <pc:sldMk cId="3705176354" sldId="428"/>
            <ac:grpSpMk id="146" creationId="{CF67339C-7CFD-4993-B0E6-DF09F6300EF3}"/>
          </ac:grpSpMkLst>
        </pc:grpChg>
        <pc:grpChg chg="add del mod">
          <ac:chgData name="Manish Sharma" userId="97d895ad-8d7a-4884-8c18-743afd731b6f" providerId="ADAL" clId="{19B291BF-5110-451B-9F49-5287458FEFEA}" dt="2020-12-21T02:26:05.561" v="2067" actId="478"/>
          <ac:grpSpMkLst>
            <pc:docMk/>
            <pc:sldMk cId="3705176354" sldId="428"/>
            <ac:grpSpMk id="150" creationId="{4A319F34-89C6-4BEA-A348-2A2B8466E87E}"/>
          </ac:grpSpMkLst>
        </pc:grpChg>
        <pc:grpChg chg="mod">
          <ac:chgData name="Manish Sharma" userId="97d895ad-8d7a-4884-8c18-743afd731b6f" providerId="ADAL" clId="{19B291BF-5110-451B-9F49-5287458FEFEA}" dt="2020-12-21T02:17:27.686" v="1807" actId="1076"/>
          <ac:grpSpMkLst>
            <pc:docMk/>
            <pc:sldMk cId="3705176354" sldId="428"/>
            <ac:grpSpMk id="151" creationId="{BE312EFA-E3CD-4DF5-ACF8-71FDFD9C2535}"/>
          </ac:grpSpMkLst>
        </pc:grpChg>
        <pc:grpChg chg="add mod">
          <ac:chgData name="Manish Sharma" userId="97d895ad-8d7a-4884-8c18-743afd731b6f" providerId="ADAL" clId="{19B291BF-5110-451B-9F49-5287458FEFEA}" dt="2021-01-04T21:15:27.531" v="2794" actId="1076"/>
          <ac:grpSpMkLst>
            <pc:docMk/>
            <pc:sldMk cId="3705176354" sldId="428"/>
            <ac:grpSpMk id="153" creationId="{F66C0781-F151-4658-A265-64A9CEF27CE0}"/>
          </ac:grpSpMkLst>
        </pc:grpChg>
        <pc:grpChg chg="add del mod">
          <ac:chgData name="Manish Sharma" userId="97d895ad-8d7a-4884-8c18-743afd731b6f" providerId="ADAL" clId="{19B291BF-5110-451B-9F49-5287458FEFEA}" dt="2020-12-21T02:23:20.832" v="1995" actId="165"/>
          <ac:grpSpMkLst>
            <pc:docMk/>
            <pc:sldMk cId="3705176354" sldId="428"/>
            <ac:grpSpMk id="158" creationId="{3A112A17-26A0-438E-9567-646991148F6A}"/>
          </ac:grpSpMkLst>
        </pc:grpChg>
        <pc:grpChg chg="del mod topLvl">
          <ac:chgData name="Manish Sharma" userId="97d895ad-8d7a-4884-8c18-743afd731b6f" providerId="ADAL" clId="{19B291BF-5110-451B-9F49-5287458FEFEA}" dt="2020-12-21T02:23:29.563" v="1996" actId="165"/>
          <ac:grpSpMkLst>
            <pc:docMk/>
            <pc:sldMk cId="3705176354" sldId="428"/>
            <ac:grpSpMk id="159" creationId="{E76AF6F1-FFC2-4920-A22D-2C918BAADB8B}"/>
          </ac:grpSpMkLst>
        </pc:grpChg>
        <pc:grpChg chg="add del mod">
          <ac:chgData name="Manish Sharma" userId="97d895ad-8d7a-4884-8c18-743afd731b6f" providerId="ADAL" clId="{19B291BF-5110-451B-9F49-5287458FEFEA}" dt="2021-01-04T18:14:16.463" v="2545" actId="478"/>
          <ac:grpSpMkLst>
            <pc:docMk/>
            <pc:sldMk cId="3705176354" sldId="428"/>
            <ac:grpSpMk id="166" creationId="{16B70BDB-3DEB-4FE4-8754-063628AD0104}"/>
          </ac:grpSpMkLst>
        </pc:grpChg>
        <pc:grpChg chg="add mod">
          <ac:chgData name="Manish Sharma" userId="97d895ad-8d7a-4884-8c18-743afd731b6f" providerId="ADAL" clId="{19B291BF-5110-451B-9F49-5287458FEFEA}" dt="2021-01-04T21:15:33.531" v="2796" actId="1076"/>
          <ac:grpSpMkLst>
            <pc:docMk/>
            <pc:sldMk cId="3705176354" sldId="428"/>
            <ac:grpSpMk id="166" creationId="{A0EB516D-FAFC-4019-8C76-9C318707778A}"/>
          </ac:grpSpMkLst>
        </pc:grpChg>
        <pc:grpChg chg="mod">
          <ac:chgData name="Manish Sharma" userId="97d895ad-8d7a-4884-8c18-743afd731b6f" providerId="ADAL" clId="{19B291BF-5110-451B-9F49-5287458FEFEA}" dt="2020-12-28T03:32:38.914" v="2373" actId="14100"/>
          <ac:grpSpMkLst>
            <pc:docMk/>
            <pc:sldMk cId="3705176354" sldId="428"/>
            <ac:grpSpMk id="167" creationId="{7A48F8A2-DFFA-469A-B358-08F24150AB80}"/>
          </ac:grpSpMkLst>
        </pc:grpChg>
        <pc:grpChg chg="add mod">
          <ac:chgData name="Manish Sharma" userId="97d895ad-8d7a-4884-8c18-743afd731b6f" providerId="ADAL" clId="{19B291BF-5110-451B-9F49-5287458FEFEA}" dt="2021-01-04T21:15:44.979" v="2798" actId="1076"/>
          <ac:grpSpMkLst>
            <pc:docMk/>
            <pc:sldMk cId="3705176354" sldId="428"/>
            <ac:grpSpMk id="173" creationId="{BAF3D340-73E8-4E89-AD11-9F3919AA29B1}"/>
          </ac:grpSpMkLst>
        </pc:grpChg>
        <pc:grpChg chg="add del mod">
          <ac:chgData name="Manish Sharma" userId="97d895ad-8d7a-4884-8c18-743afd731b6f" providerId="ADAL" clId="{19B291BF-5110-451B-9F49-5287458FEFEA}" dt="2021-01-04T18:14:39.302" v="2549" actId="478"/>
          <ac:grpSpMkLst>
            <pc:docMk/>
            <pc:sldMk cId="3705176354" sldId="428"/>
            <ac:grpSpMk id="174" creationId="{909A8254-1772-4FA4-9DDB-EEF008354767}"/>
          </ac:grpSpMkLst>
        </pc:grpChg>
        <pc:grpChg chg="mod">
          <ac:chgData name="Manish Sharma" userId="97d895ad-8d7a-4884-8c18-743afd731b6f" providerId="ADAL" clId="{19B291BF-5110-451B-9F49-5287458FEFEA}" dt="2020-12-28T03:32:24.804" v="2371" actId="1076"/>
          <ac:grpSpMkLst>
            <pc:docMk/>
            <pc:sldMk cId="3705176354" sldId="428"/>
            <ac:grpSpMk id="175" creationId="{1E62F02D-ACBE-431A-ABF7-B89C06762A37}"/>
          </ac:grpSpMkLst>
        </pc:grpChg>
        <pc:grpChg chg="add del mod">
          <ac:chgData name="Manish Sharma" userId="97d895ad-8d7a-4884-8c18-743afd731b6f" providerId="ADAL" clId="{19B291BF-5110-451B-9F49-5287458FEFEA}" dt="2021-01-04T18:14:51.774" v="2552" actId="478"/>
          <ac:grpSpMkLst>
            <pc:docMk/>
            <pc:sldMk cId="3705176354" sldId="428"/>
            <ac:grpSpMk id="182" creationId="{AAFD48A8-BBC7-4751-AFF4-231677C52F46}"/>
          </ac:grpSpMkLst>
        </pc:grpChg>
        <pc:grpChg chg="mod">
          <ac:chgData name="Manish Sharma" userId="97d895ad-8d7a-4884-8c18-743afd731b6f" providerId="ADAL" clId="{19B291BF-5110-451B-9F49-5287458FEFEA}" dt="2020-12-21T02:34:44.721" v="2267" actId="1035"/>
          <ac:grpSpMkLst>
            <pc:docMk/>
            <pc:sldMk cId="3705176354" sldId="428"/>
            <ac:grpSpMk id="183" creationId="{372B0C5E-0FBE-4254-A4BC-F824FC91239A}"/>
          </ac:grpSpMkLst>
        </pc:grpChg>
        <pc:grpChg chg="add del mod">
          <ac:chgData name="Manish Sharma" userId="97d895ad-8d7a-4884-8c18-743afd731b6f" providerId="ADAL" clId="{19B291BF-5110-451B-9F49-5287458FEFEA}" dt="2021-01-04T18:15:18.518" v="2557" actId="478"/>
          <ac:grpSpMkLst>
            <pc:docMk/>
            <pc:sldMk cId="3705176354" sldId="428"/>
            <ac:grpSpMk id="190" creationId="{8EF4563C-C73D-40A2-95FB-83587EEB0275}"/>
          </ac:grpSpMkLst>
        </pc:grpChg>
        <pc:grpChg chg="mod">
          <ac:chgData name="Manish Sharma" userId="97d895ad-8d7a-4884-8c18-743afd731b6f" providerId="ADAL" clId="{19B291BF-5110-451B-9F49-5287458FEFEA}" dt="2020-12-21T02:34:44.721" v="2267" actId="1035"/>
          <ac:grpSpMkLst>
            <pc:docMk/>
            <pc:sldMk cId="3705176354" sldId="428"/>
            <ac:grpSpMk id="191" creationId="{52448DB5-275A-4896-BAC2-3893A5C60608}"/>
          </ac:grpSpMkLst>
        </pc:grpChg>
        <pc:grpChg chg="add del mod">
          <ac:chgData name="Manish Sharma" userId="97d895ad-8d7a-4884-8c18-743afd731b6f" providerId="ADAL" clId="{19B291BF-5110-451B-9F49-5287458FEFEA}" dt="2021-01-04T18:16:05.332" v="2564" actId="478"/>
          <ac:grpSpMkLst>
            <pc:docMk/>
            <pc:sldMk cId="3705176354" sldId="428"/>
            <ac:grpSpMk id="198" creationId="{129FF26E-6F65-40DF-9361-C14425B1FF61}"/>
          </ac:grpSpMkLst>
        </pc:grpChg>
        <pc:grpChg chg="mod">
          <ac:chgData name="Manish Sharma" userId="97d895ad-8d7a-4884-8c18-743afd731b6f" providerId="ADAL" clId="{19B291BF-5110-451B-9F49-5287458FEFEA}" dt="2020-12-21T02:46:01.023" v="2274" actId="1036"/>
          <ac:grpSpMkLst>
            <pc:docMk/>
            <pc:sldMk cId="3705176354" sldId="428"/>
            <ac:grpSpMk id="199" creationId="{05DCD4B3-0E98-4B47-B45B-55805874E6C6}"/>
          </ac:grpSpMkLst>
        </pc:grpChg>
      </pc:sldChg>
      <pc:sldChg chg="addSp delSp modSp mod">
        <pc:chgData name="Manish Sharma" userId="97d895ad-8d7a-4884-8c18-743afd731b6f" providerId="ADAL" clId="{19B291BF-5110-451B-9F49-5287458FEFEA}" dt="2021-01-06T19:48:37.723" v="3223" actId="478"/>
        <pc:sldMkLst>
          <pc:docMk/>
          <pc:sldMk cId="3785293199" sldId="445"/>
        </pc:sldMkLst>
        <pc:spChg chg="del mod">
          <ac:chgData name="Manish Sharma" userId="97d895ad-8d7a-4884-8c18-743afd731b6f" providerId="ADAL" clId="{19B291BF-5110-451B-9F49-5287458FEFEA}" dt="2020-12-16T20:44:15.516" v="1577" actId="478"/>
          <ac:spMkLst>
            <pc:docMk/>
            <pc:sldMk cId="3785293199" sldId="445"/>
            <ac:spMk id="43" creationId="{B3E94366-F647-4D91-AEAD-99C15F6E6E4A}"/>
          </ac:spMkLst>
        </pc:spChg>
        <pc:spChg chg="add del mod">
          <ac:chgData name="Manish Sharma" userId="97d895ad-8d7a-4884-8c18-743afd731b6f" providerId="ADAL" clId="{19B291BF-5110-451B-9F49-5287458FEFEA}" dt="2021-01-06T19:48:37.723" v="3223" actId="478"/>
          <ac:spMkLst>
            <pc:docMk/>
            <pc:sldMk cId="3785293199" sldId="445"/>
            <ac:spMk id="48" creationId="{4BE94707-814F-47DF-AFB6-B5F2CCCD6499}"/>
          </ac:spMkLst>
        </pc:spChg>
        <pc:spChg chg="add mod">
          <ac:chgData name="Manish Sharma" userId="97d895ad-8d7a-4884-8c18-743afd731b6f" providerId="ADAL" clId="{19B291BF-5110-451B-9F49-5287458FEFEA}" dt="2020-12-16T20:44:15.881" v="1578"/>
          <ac:spMkLst>
            <pc:docMk/>
            <pc:sldMk cId="3785293199" sldId="445"/>
            <ac:spMk id="49" creationId="{1662C8A9-0A60-41C3-B776-33ED7F8B1AED}"/>
          </ac:spMkLst>
        </pc:spChg>
      </pc:sldChg>
      <pc:sldChg chg="addSp delSp modSp mod">
        <pc:chgData name="Manish Sharma" userId="97d895ad-8d7a-4884-8c18-743afd731b6f" providerId="ADAL" clId="{19B291BF-5110-451B-9F49-5287458FEFEA}" dt="2021-01-04T21:24:15.248" v="2996" actId="1036"/>
        <pc:sldMkLst>
          <pc:docMk/>
          <pc:sldMk cId="2762800380" sldId="448"/>
        </pc:sldMkLst>
        <pc:spChg chg="mod">
          <ac:chgData name="Manish Sharma" userId="97d895ad-8d7a-4884-8c18-743afd731b6f" providerId="ADAL" clId="{19B291BF-5110-451B-9F49-5287458FEFEA}" dt="2020-12-08T20:06:43.570" v="1150" actId="20577"/>
          <ac:spMkLst>
            <pc:docMk/>
            <pc:sldMk cId="2762800380" sldId="448"/>
            <ac:spMk id="2" creationId="{00000000-0000-0000-0000-000000000000}"/>
          </ac:spMkLst>
        </pc:spChg>
        <pc:spChg chg="mod">
          <ac:chgData name="Manish Sharma" userId="97d895ad-8d7a-4884-8c18-743afd731b6f" providerId="ADAL" clId="{19B291BF-5110-451B-9F49-5287458FEFEA}" dt="2021-01-04T21:24:05.504" v="2993" actId="1076"/>
          <ac:spMkLst>
            <pc:docMk/>
            <pc:sldMk cId="2762800380" sldId="448"/>
            <ac:spMk id="19" creationId="{8D9A2195-E46A-4A5C-BD11-87B61401C498}"/>
          </ac:spMkLst>
        </pc:spChg>
        <pc:spChg chg="mod">
          <ac:chgData name="Manish Sharma" userId="97d895ad-8d7a-4884-8c18-743afd731b6f" providerId="ADAL" clId="{19B291BF-5110-451B-9F49-5287458FEFEA}" dt="2021-01-04T21:24:05.504" v="2993" actId="1076"/>
          <ac:spMkLst>
            <pc:docMk/>
            <pc:sldMk cId="2762800380" sldId="448"/>
            <ac:spMk id="25" creationId="{98479E5B-F689-4D6D-8521-A1EFDC70BB3F}"/>
          </ac:spMkLst>
        </pc:spChg>
        <pc:spChg chg="mod">
          <ac:chgData name="Manish Sharma" userId="97d895ad-8d7a-4884-8c18-743afd731b6f" providerId="ADAL" clId="{19B291BF-5110-451B-9F49-5287458FEFEA}" dt="2021-01-04T21:24:05.504" v="2993" actId="1076"/>
          <ac:spMkLst>
            <pc:docMk/>
            <pc:sldMk cId="2762800380" sldId="448"/>
            <ac:spMk id="26" creationId="{39CFE997-FD88-4FED-83C1-A184442AC49E}"/>
          </ac:spMkLst>
        </pc:spChg>
        <pc:spChg chg="mod">
          <ac:chgData name="Manish Sharma" userId="97d895ad-8d7a-4884-8c18-743afd731b6f" providerId="ADAL" clId="{19B291BF-5110-451B-9F49-5287458FEFEA}" dt="2021-01-04T21:24:05.504" v="2993" actId="1076"/>
          <ac:spMkLst>
            <pc:docMk/>
            <pc:sldMk cId="2762800380" sldId="448"/>
            <ac:spMk id="27" creationId="{5075653B-22EA-4D3C-933E-5DF42BF39DA4}"/>
          </ac:spMkLst>
        </pc:spChg>
        <pc:spChg chg="mod">
          <ac:chgData name="Manish Sharma" userId="97d895ad-8d7a-4884-8c18-743afd731b6f" providerId="ADAL" clId="{19B291BF-5110-451B-9F49-5287458FEFEA}" dt="2021-01-04T21:24:05.504" v="2993" actId="1076"/>
          <ac:spMkLst>
            <pc:docMk/>
            <pc:sldMk cId="2762800380" sldId="448"/>
            <ac:spMk id="28" creationId="{BEF2D58E-A318-49D7-8DEC-8DFEB2196FC5}"/>
          </ac:spMkLst>
        </pc:spChg>
        <pc:spChg chg="mod">
          <ac:chgData name="Manish Sharma" userId="97d895ad-8d7a-4884-8c18-743afd731b6f" providerId="ADAL" clId="{19B291BF-5110-451B-9F49-5287458FEFEA}" dt="2021-01-04T21:24:05.504" v="2993" actId="1076"/>
          <ac:spMkLst>
            <pc:docMk/>
            <pc:sldMk cId="2762800380" sldId="448"/>
            <ac:spMk id="29" creationId="{2B06981D-646D-4D1E-B329-DC226CDAD844}"/>
          </ac:spMkLst>
        </pc:spChg>
        <pc:spChg chg="mod">
          <ac:chgData name="Manish Sharma" userId="97d895ad-8d7a-4884-8c18-743afd731b6f" providerId="ADAL" clId="{19B291BF-5110-451B-9F49-5287458FEFEA}" dt="2021-01-04T21:24:05.504" v="2993" actId="1076"/>
          <ac:spMkLst>
            <pc:docMk/>
            <pc:sldMk cId="2762800380" sldId="448"/>
            <ac:spMk id="30" creationId="{DAECB560-4CB0-425C-8D29-0EF7EB7EDD7E}"/>
          </ac:spMkLst>
        </pc:spChg>
        <pc:spChg chg="mod">
          <ac:chgData name="Manish Sharma" userId="97d895ad-8d7a-4884-8c18-743afd731b6f" providerId="ADAL" clId="{19B291BF-5110-451B-9F49-5287458FEFEA}" dt="2021-01-04T21:24:05.504" v="2993" actId="1076"/>
          <ac:spMkLst>
            <pc:docMk/>
            <pc:sldMk cId="2762800380" sldId="448"/>
            <ac:spMk id="31" creationId="{0B437BE3-47F5-4A21-8640-7057B4E32173}"/>
          </ac:spMkLst>
        </pc:spChg>
        <pc:spChg chg="mod">
          <ac:chgData name="Manish Sharma" userId="97d895ad-8d7a-4884-8c18-743afd731b6f" providerId="ADAL" clId="{19B291BF-5110-451B-9F49-5287458FEFEA}" dt="2021-01-04T21:24:05.504" v="2993" actId="1076"/>
          <ac:spMkLst>
            <pc:docMk/>
            <pc:sldMk cId="2762800380" sldId="448"/>
            <ac:spMk id="32" creationId="{962800FD-A0F9-4E87-A188-0277A4964C7A}"/>
          </ac:spMkLst>
        </pc:spChg>
        <pc:spChg chg="mod">
          <ac:chgData name="Manish Sharma" userId="97d895ad-8d7a-4884-8c18-743afd731b6f" providerId="ADAL" clId="{19B291BF-5110-451B-9F49-5287458FEFEA}" dt="2021-01-04T21:24:05.504" v="2993" actId="1076"/>
          <ac:spMkLst>
            <pc:docMk/>
            <pc:sldMk cId="2762800380" sldId="448"/>
            <ac:spMk id="33" creationId="{7E419731-076B-4D82-8967-EC2E7DAF53F2}"/>
          </ac:spMkLst>
        </pc:spChg>
        <pc:spChg chg="mod">
          <ac:chgData name="Manish Sharma" userId="97d895ad-8d7a-4884-8c18-743afd731b6f" providerId="ADAL" clId="{19B291BF-5110-451B-9F49-5287458FEFEA}" dt="2021-01-04T21:24:05.504" v="2993" actId="1076"/>
          <ac:spMkLst>
            <pc:docMk/>
            <pc:sldMk cId="2762800380" sldId="448"/>
            <ac:spMk id="34" creationId="{5B398716-4B7D-419A-8E6E-DFD4F24B94CE}"/>
          </ac:spMkLst>
        </pc:spChg>
        <pc:spChg chg="mod">
          <ac:chgData name="Manish Sharma" userId="97d895ad-8d7a-4884-8c18-743afd731b6f" providerId="ADAL" clId="{19B291BF-5110-451B-9F49-5287458FEFEA}" dt="2021-01-04T21:24:05.504" v="2993" actId="1076"/>
          <ac:spMkLst>
            <pc:docMk/>
            <pc:sldMk cId="2762800380" sldId="448"/>
            <ac:spMk id="35" creationId="{3BDDC1DB-C18D-4527-B41C-3B641DEE2480}"/>
          </ac:spMkLst>
        </pc:spChg>
        <pc:spChg chg="add mod">
          <ac:chgData name="Manish Sharma" userId="97d895ad-8d7a-4884-8c18-743afd731b6f" providerId="ADAL" clId="{19B291BF-5110-451B-9F49-5287458FEFEA}" dt="2020-12-16T20:43:34.982" v="1563"/>
          <ac:spMkLst>
            <pc:docMk/>
            <pc:sldMk cId="2762800380" sldId="448"/>
            <ac:spMk id="36" creationId="{08C9F056-3EBD-4921-852B-9A35A05AA960}"/>
          </ac:spMkLst>
        </pc:spChg>
        <pc:spChg chg="add del mod">
          <ac:chgData name="Manish Sharma" userId="97d895ad-8d7a-4884-8c18-743afd731b6f" providerId="ADAL" clId="{19B291BF-5110-451B-9F49-5287458FEFEA}" dt="2020-12-16T19:22:12.817" v="1484" actId="478"/>
          <ac:spMkLst>
            <pc:docMk/>
            <pc:sldMk cId="2762800380" sldId="448"/>
            <ac:spMk id="36" creationId="{DFC8C419-5985-488C-AAF9-A31806CEBFCF}"/>
          </ac:spMkLst>
        </pc:spChg>
        <pc:spChg chg="add del mod">
          <ac:chgData name="Manish Sharma" userId="97d895ad-8d7a-4884-8c18-743afd731b6f" providerId="ADAL" clId="{19B291BF-5110-451B-9F49-5287458FEFEA}" dt="2020-12-16T20:43:34.676" v="1562" actId="478"/>
          <ac:spMkLst>
            <pc:docMk/>
            <pc:sldMk cId="2762800380" sldId="448"/>
            <ac:spMk id="37" creationId="{F58C1827-920F-4343-9968-F144CA5EA280}"/>
          </ac:spMkLst>
        </pc:spChg>
        <pc:spChg chg="mod">
          <ac:chgData name="Manish Sharma" userId="97d895ad-8d7a-4884-8c18-743afd731b6f" providerId="ADAL" clId="{19B291BF-5110-451B-9F49-5287458FEFEA}" dt="2021-01-04T21:13:51.551" v="2774" actId="14100"/>
          <ac:spMkLst>
            <pc:docMk/>
            <pc:sldMk cId="2762800380" sldId="448"/>
            <ac:spMk id="38" creationId="{DB1659F5-7358-41DE-8939-F8BE3F2EDE99}"/>
          </ac:spMkLst>
        </pc:spChg>
        <pc:spChg chg="mod">
          <ac:chgData name="Manish Sharma" userId="97d895ad-8d7a-4884-8c18-743afd731b6f" providerId="ADAL" clId="{19B291BF-5110-451B-9F49-5287458FEFEA}" dt="2021-01-04T21:24:05.504" v="2993" actId="1076"/>
          <ac:spMkLst>
            <pc:docMk/>
            <pc:sldMk cId="2762800380" sldId="448"/>
            <ac:spMk id="39" creationId="{F3FA9F9E-7426-4D4D-8DD2-B95B2244335A}"/>
          </ac:spMkLst>
        </pc:spChg>
        <pc:spChg chg="mod">
          <ac:chgData name="Manish Sharma" userId="97d895ad-8d7a-4884-8c18-743afd731b6f" providerId="ADAL" clId="{19B291BF-5110-451B-9F49-5287458FEFEA}" dt="2021-01-04T21:24:05.504" v="2993" actId="1076"/>
          <ac:spMkLst>
            <pc:docMk/>
            <pc:sldMk cId="2762800380" sldId="448"/>
            <ac:spMk id="40" creationId="{CE212A2F-0A41-4011-8ABF-1E9F958E1802}"/>
          </ac:spMkLst>
        </pc:spChg>
        <pc:spChg chg="mod">
          <ac:chgData name="Manish Sharma" userId="97d895ad-8d7a-4884-8c18-743afd731b6f" providerId="ADAL" clId="{19B291BF-5110-451B-9F49-5287458FEFEA}" dt="2021-01-04T19:54:31.760" v="2756" actId="478"/>
          <ac:spMkLst>
            <pc:docMk/>
            <pc:sldMk cId="2762800380" sldId="448"/>
            <ac:spMk id="41" creationId="{45964E5A-BE5E-45C2-8E43-74F4B9DD344A}"/>
          </ac:spMkLst>
        </pc:spChg>
        <pc:spChg chg="mod">
          <ac:chgData name="Manish Sharma" userId="97d895ad-8d7a-4884-8c18-743afd731b6f" providerId="ADAL" clId="{19B291BF-5110-451B-9F49-5287458FEFEA}" dt="2021-01-04T21:13:51.551" v="2774" actId="14100"/>
          <ac:spMkLst>
            <pc:docMk/>
            <pc:sldMk cId="2762800380" sldId="448"/>
            <ac:spMk id="43" creationId="{D9B6E4C8-12E1-463E-AE41-CD7DBAA99F7C}"/>
          </ac:spMkLst>
        </pc:spChg>
        <pc:spChg chg="del mod">
          <ac:chgData name="Manish Sharma" userId="97d895ad-8d7a-4884-8c18-743afd731b6f" providerId="ADAL" clId="{19B291BF-5110-451B-9F49-5287458FEFEA}" dt="2021-01-04T19:54:27.689" v="2755" actId="478"/>
          <ac:spMkLst>
            <pc:docMk/>
            <pc:sldMk cId="2762800380" sldId="448"/>
            <ac:spMk id="44" creationId="{51E3BAEC-16CE-4528-B1C9-357E4FA66480}"/>
          </ac:spMkLst>
        </pc:spChg>
        <pc:spChg chg="mod">
          <ac:chgData name="Manish Sharma" userId="97d895ad-8d7a-4884-8c18-743afd731b6f" providerId="ADAL" clId="{19B291BF-5110-451B-9F49-5287458FEFEA}" dt="2021-01-04T21:18:41.012" v="2923" actId="1037"/>
          <ac:spMkLst>
            <pc:docMk/>
            <pc:sldMk cId="2762800380" sldId="448"/>
            <ac:spMk id="44" creationId="{7FB4C6B8-69ED-4991-8122-EAADDAA182CB}"/>
          </ac:spMkLst>
        </pc:spChg>
        <pc:spChg chg="mod">
          <ac:chgData name="Manish Sharma" userId="97d895ad-8d7a-4884-8c18-743afd731b6f" providerId="ADAL" clId="{19B291BF-5110-451B-9F49-5287458FEFEA}" dt="2021-01-04T21:18:41.012" v="2923" actId="1037"/>
          <ac:spMkLst>
            <pc:docMk/>
            <pc:sldMk cId="2762800380" sldId="448"/>
            <ac:spMk id="45" creationId="{E8CE79EC-3155-4BF7-AC28-C9BAD6081F2A}"/>
          </ac:spMkLst>
        </pc:spChg>
        <pc:spChg chg="del mod">
          <ac:chgData name="Manish Sharma" userId="97d895ad-8d7a-4884-8c18-743afd731b6f" providerId="ADAL" clId="{19B291BF-5110-451B-9F49-5287458FEFEA}" dt="2021-01-04T19:54:31.760" v="2756" actId="478"/>
          <ac:spMkLst>
            <pc:docMk/>
            <pc:sldMk cId="2762800380" sldId="448"/>
            <ac:spMk id="45" creationId="{EBCBCBD1-E21B-4393-8D88-21097657E3FB}"/>
          </ac:spMkLst>
        </pc:spChg>
        <pc:spChg chg="mod">
          <ac:chgData name="Manish Sharma" userId="97d895ad-8d7a-4884-8c18-743afd731b6f" providerId="ADAL" clId="{19B291BF-5110-451B-9F49-5287458FEFEA}" dt="2021-01-04T21:18:41.012" v="2923" actId="1037"/>
          <ac:spMkLst>
            <pc:docMk/>
            <pc:sldMk cId="2762800380" sldId="448"/>
            <ac:spMk id="46" creationId="{268C7FB8-FDF4-4AFD-9F08-55268B084E52}"/>
          </ac:spMkLst>
        </pc:spChg>
        <pc:spChg chg="del">
          <ac:chgData name="Manish Sharma" userId="97d895ad-8d7a-4884-8c18-743afd731b6f" providerId="ADAL" clId="{19B291BF-5110-451B-9F49-5287458FEFEA}" dt="2021-01-04T19:54:24.663" v="2754" actId="478"/>
          <ac:spMkLst>
            <pc:docMk/>
            <pc:sldMk cId="2762800380" sldId="448"/>
            <ac:spMk id="46" creationId="{706A9863-1AD8-497E-8475-4F9C3C938702}"/>
          </ac:spMkLst>
        </pc:spChg>
        <pc:spChg chg="mod">
          <ac:chgData name="Manish Sharma" userId="97d895ad-8d7a-4884-8c18-743afd731b6f" providerId="ADAL" clId="{19B291BF-5110-451B-9F49-5287458FEFEA}" dt="2021-01-04T19:54:31.760" v="2756" actId="478"/>
          <ac:spMkLst>
            <pc:docMk/>
            <pc:sldMk cId="2762800380" sldId="448"/>
            <ac:spMk id="47" creationId="{6928B57C-8C22-45F2-AE7C-2AFDD3C368DB}"/>
          </ac:spMkLst>
        </pc:spChg>
        <pc:spChg chg="mod">
          <ac:chgData name="Manish Sharma" userId="97d895ad-8d7a-4884-8c18-743afd731b6f" providerId="ADAL" clId="{19B291BF-5110-451B-9F49-5287458FEFEA}" dt="2021-01-04T21:24:15.248" v="2996" actId="1036"/>
          <ac:spMkLst>
            <pc:docMk/>
            <pc:sldMk cId="2762800380" sldId="448"/>
            <ac:spMk id="48" creationId="{550B5241-A055-4A97-AFA6-0C804F2553E0}"/>
          </ac:spMkLst>
        </pc:spChg>
        <pc:spChg chg="mod">
          <ac:chgData name="Manish Sharma" userId="97d895ad-8d7a-4884-8c18-743afd731b6f" providerId="ADAL" clId="{19B291BF-5110-451B-9F49-5287458FEFEA}" dt="2021-01-04T21:13:51.551" v="2774" actId="14100"/>
          <ac:spMkLst>
            <pc:docMk/>
            <pc:sldMk cId="2762800380" sldId="448"/>
            <ac:spMk id="49" creationId="{BD65D22D-2BE5-437B-9D4A-E447330DBA17}"/>
          </ac:spMkLst>
        </pc:spChg>
        <pc:spChg chg="mod">
          <ac:chgData name="Manish Sharma" userId="97d895ad-8d7a-4884-8c18-743afd731b6f" providerId="ADAL" clId="{19B291BF-5110-451B-9F49-5287458FEFEA}" dt="2021-01-04T21:13:51.551" v="2774" actId="14100"/>
          <ac:spMkLst>
            <pc:docMk/>
            <pc:sldMk cId="2762800380" sldId="448"/>
            <ac:spMk id="50" creationId="{05FC945A-BDAE-4183-9456-5E162ED2ADC3}"/>
          </ac:spMkLst>
        </pc:spChg>
        <pc:spChg chg="mod">
          <ac:chgData name="Manish Sharma" userId="97d895ad-8d7a-4884-8c18-743afd731b6f" providerId="ADAL" clId="{19B291BF-5110-451B-9F49-5287458FEFEA}" dt="2021-01-04T21:13:51.551" v="2774" actId="14100"/>
          <ac:spMkLst>
            <pc:docMk/>
            <pc:sldMk cId="2762800380" sldId="448"/>
            <ac:spMk id="51" creationId="{844C787B-FBF0-4222-AEEE-46E57FA9907C}"/>
          </ac:spMkLst>
        </pc:spChg>
        <pc:spChg chg="mod">
          <ac:chgData name="Manish Sharma" userId="97d895ad-8d7a-4884-8c18-743afd731b6f" providerId="ADAL" clId="{19B291BF-5110-451B-9F49-5287458FEFEA}" dt="2021-01-04T21:13:51.551" v="2774" actId="14100"/>
          <ac:spMkLst>
            <pc:docMk/>
            <pc:sldMk cId="2762800380" sldId="448"/>
            <ac:spMk id="52" creationId="{5581A803-0D4B-4AFE-9227-63F76630FD1E}"/>
          </ac:spMkLst>
        </pc:spChg>
        <pc:spChg chg="mod">
          <ac:chgData name="Manish Sharma" userId="97d895ad-8d7a-4884-8c18-743afd731b6f" providerId="ADAL" clId="{19B291BF-5110-451B-9F49-5287458FEFEA}" dt="2021-01-04T21:18:41.012" v="2923" actId="1037"/>
          <ac:spMkLst>
            <pc:docMk/>
            <pc:sldMk cId="2762800380" sldId="448"/>
            <ac:spMk id="53" creationId="{DA9101D7-CB8E-41E4-8944-B6F8409892A9}"/>
          </ac:spMkLst>
        </pc:spChg>
        <pc:spChg chg="mod">
          <ac:chgData name="Manish Sharma" userId="97d895ad-8d7a-4884-8c18-743afd731b6f" providerId="ADAL" clId="{19B291BF-5110-451B-9F49-5287458FEFEA}" dt="2021-01-04T21:18:41.012" v="2923" actId="1037"/>
          <ac:spMkLst>
            <pc:docMk/>
            <pc:sldMk cId="2762800380" sldId="448"/>
            <ac:spMk id="54" creationId="{3326349F-9639-46B9-84CC-DEFD9B0D70D7}"/>
          </ac:spMkLst>
        </pc:spChg>
        <pc:spChg chg="mod">
          <ac:chgData name="Manish Sharma" userId="97d895ad-8d7a-4884-8c18-743afd731b6f" providerId="ADAL" clId="{19B291BF-5110-451B-9F49-5287458FEFEA}" dt="2021-01-04T21:18:41.012" v="2923" actId="1037"/>
          <ac:spMkLst>
            <pc:docMk/>
            <pc:sldMk cId="2762800380" sldId="448"/>
            <ac:spMk id="55" creationId="{F50DB3FF-A30B-493C-95E2-9257FE8D39C8}"/>
          </ac:spMkLst>
        </pc:spChg>
        <pc:spChg chg="mod">
          <ac:chgData name="Manish Sharma" userId="97d895ad-8d7a-4884-8c18-743afd731b6f" providerId="ADAL" clId="{19B291BF-5110-451B-9F49-5287458FEFEA}" dt="2021-01-04T21:23:49.532" v="2991" actId="13926"/>
          <ac:spMkLst>
            <pc:docMk/>
            <pc:sldMk cId="2762800380" sldId="448"/>
            <ac:spMk id="80" creationId="{6F5A7825-C260-4831-9B48-001AB9DF90D5}"/>
          </ac:spMkLst>
        </pc:spChg>
        <pc:grpChg chg="mod">
          <ac:chgData name="Manish Sharma" userId="97d895ad-8d7a-4884-8c18-743afd731b6f" providerId="ADAL" clId="{19B291BF-5110-451B-9F49-5287458FEFEA}" dt="2021-01-04T19:54:31.760" v="2756" actId="478"/>
          <ac:grpSpMkLst>
            <pc:docMk/>
            <pc:sldMk cId="2762800380" sldId="448"/>
            <ac:grpSpMk id="12" creationId="{2FFA7AA6-EF1B-47F4-83B4-7ADD97B76433}"/>
          </ac:grpSpMkLst>
        </pc:grpChg>
        <pc:grpChg chg="mod">
          <ac:chgData name="Manish Sharma" userId="97d895ad-8d7a-4884-8c18-743afd731b6f" providerId="ADAL" clId="{19B291BF-5110-451B-9F49-5287458FEFEA}" dt="2021-01-04T21:24:05.504" v="2993" actId="1076"/>
          <ac:grpSpMkLst>
            <pc:docMk/>
            <pc:sldMk cId="2762800380" sldId="448"/>
            <ac:grpSpMk id="20" creationId="{F8AB4BEE-7B3E-4E86-8050-ED2B58EB7558}"/>
          </ac:grpSpMkLst>
        </pc:grpChg>
        <pc:grpChg chg="mod">
          <ac:chgData name="Manish Sharma" userId="97d895ad-8d7a-4884-8c18-743afd731b6f" providerId="ADAL" clId="{19B291BF-5110-451B-9F49-5287458FEFEA}" dt="2021-01-04T21:24:05.504" v="2993" actId="1076"/>
          <ac:grpSpMkLst>
            <pc:docMk/>
            <pc:sldMk cId="2762800380" sldId="448"/>
            <ac:grpSpMk id="21" creationId="{3088A8FB-95CE-43C9-9AA7-B889D16D6DE2}"/>
          </ac:grpSpMkLst>
        </pc:grpChg>
        <pc:grpChg chg="mod">
          <ac:chgData name="Manish Sharma" userId="97d895ad-8d7a-4884-8c18-743afd731b6f" providerId="ADAL" clId="{19B291BF-5110-451B-9F49-5287458FEFEA}" dt="2021-01-04T21:24:05.504" v="2993" actId="1076"/>
          <ac:grpSpMkLst>
            <pc:docMk/>
            <pc:sldMk cId="2762800380" sldId="448"/>
            <ac:grpSpMk id="22" creationId="{AC1DF0C1-CF3A-41DE-8600-C4C3C1A52752}"/>
          </ac:grpSpMkLst>
        </pc:grpChg>
        <pc:grpChg chg="mod">
          <ac:chgData name="Manish Sharma" userId="97d895ad-8d7a-4884-8c18-743afd731b6f" providerId="ADAL" clId="{19B291BF-5110-451B-9F49-5287458FEFEA}" dt="2021-01-04T21:24:05.504" v="2993" actId="1076"/>
          <ac:grpSpMkLst>
            <pc:docMk/>
            <pc:sldMk cId="2762800380" sldId="448"/>
            <ac:grpSpMk id="23" creationId="{135C15FE-C9A1-48AB-906A-DAD730C4DFF4}"/>
          </ac:grpSpMkLst>
        </pc:grpChg>
        <pc:grpChg chg="mod">
          <ac:chgData name="Manish Sharma" userId="97d895ad-8d7a-4884-8c18-743afd731b6f" providerId="ADAL" clId="{19B291BF-5110-451B-9F49-5287458FEFEA}" dt="2021-01-04T21:24:05.504" v="2993" actId="1076"/>
          <ac:grpSpMkLst>
            <pc:docMk/>
            <pc:sldMk cId="2762800380" sldId="448"/>
            <ac:grpSpMk id="24" creationId="{2F3E4CA8-AB99-443F-91EB-26DEC74F77C6}"/>
          </ac:grpSpMkLst>
        </pc:grpChg>
        <pc:grpChg chg="add del mod">
          <ac:chgData name="Manish Sharma" userId="97d895ad-8d7a-4884-8c18-743afd731b6f" providerId="ADAL" clId="{19B291BF-5110-451B-9F49-5287458FEFEA}" dt="2021-01-04T21:16:30.691" v="2862" actId="478"/>
          <ac:grpSpMkLst>
            <pc:docMk/>
            <pc:sldMk cId="2762800380" sldId="448"/>
            <ac:grpSpMk id="37" creationId="{1C286890-DC94-4819-A6CC-DF3322E8B27D}"/>
          </ac:grpSpMkLst>
        </pc:grpChg>
        <pc:grpChg chg="del mod">
          <ac:chgData name="Manish Sharma" userId="97d895ad-8d7a-4884-8c18-743afd731b6f" providerId="ADAL" clId="{19B291BF-5110-451B-9F49-5287458FEFEA}" dt="2021-01-04T19:54:27.689" v="2755" actId="478"/>
          <ac:grpSpMkLst>
            <pc:docMk/>
            <pc:sldMk cId="2762800380" sldId="448"/>
            <ac:grpSpMk id="42" creationId="{88DAE97C-633A-4A00-9D3B-FF12DDC9AD78}"/>
          </ac:grpSpMkLst>
        </pc:grpChg>
        <pc:grpChg chg="add mod">
          <ac:chgData name="Manish Sharma" userId="97d895ad-8d7a-4884-8c18-743afd731b6f" providerId="ADAL" clId="{19B291BF-5110-451B-9F49-5287458FEFEA}" dt="2021-01-04T21:18:41.012" v="2923" actId="1037"/>
          <ac:grpSpMkLst>
            <pc:docMk/>
            <pc:sldMk cId="2762800380" sldId="448"/>
            <ac:grpSpMk id="42" creationId="{A07C4AFC-6F95-410D-9B4B-5495CCF5ABA1}"/>
          </ac:grpSpMkLst>
        </pc:grpChg>
      </pc:sldChg>
      <pc:sldChg chg="addSp delSp modSp mod">
        <pc:chgData name="Manish Sharma" userId="97d895ad-8d7a-4884-8c18-743afd731b6f" providerId="ADAL" clId="{19B291BF-5110-451B-9F49-5287458FEFEA}" dt="2021-01-04T21:26:45.847" v="3057" actId="13926"/>
        <pc:sldMkLst>
          <pc:docMk/>
          <pc:sldMk cId="780727013" sldId="452"/>
        </pc:sldMkLst>
        <pc:spChg chg="mod">
          <ac:chgData name="Manish Sharma" userId="97d895ad-8d7a-4884-8c18-743afd731b6f" providerId="ADAL" clId="{19B291BF-5110-451B-9F49-5287458FEFEA}" dt="2021-01-04T21:26:45.847" v="3057" actId="13926"/>
          <ac:spMkLst>
            <pc:docMk/>
            <pc:sldMk cId="780727013" sldId="452"/>
            <ac:spMk id="15" creationId="{7F764852-256F-49DF-B500-7AB466E1A418}"/>
          </ac:spMkLst>
        </pc:spChg>
        <pc:spChg chg="mod">
          <ac:chgData name="Manish Sharma" userId="97d895ad-8d7a-4884-8c18-743afd731b6f" providerId="ADAL" clId="{19B291BF-5110-451B-9F49-5287458FEFEA}" dt="2021-01-04T21:24:39.056" v="3000" actId="478"/>
          <ac:spMkLst>
            <pc:docMk/>
            <pc:sldMk cId="780727013" sldId="452"/>
            <ac:spMk id="26" creationId="{57104545-F8E9-434B-A0B6-77A034D113B9}"/>
          </ac:spMkLst>
        </pc:spChg>
        <pc:spChg chg="mod">
          <ac:chgData name="Manish Sharma" userId="97d895ad-8d7a-4884-8c18-743afd731b6f" providerId="ADAL" clId="{19B291BF-5110-451B-9F49-5287458FEFEA}" dt="2021-01-04T21:24:39.056" v="3000" actId="478"/>
          <ac:spMkLst>
            <pc:docMk/>
            <pc:sldMk cId="780727013" sldId="452"/>
            <ac:spMk id="28" creationId="{DE1FCFDF-848D-4479-B9CD-70D6D0FD7B86}"/>
          </ac:spMkLst>
        </pc:spChg>
        <pc:spChg chg="del mod">
          <ac:chgData name="Manish Sharma" userId="97d895ad-8d7a-4884-8c18-743afd731b6f" providerId="ADAL" clId="{19B291BF-5110-451B-9F49-5287458FEFEA}" dt="2021-01-04T21:24:36.948" v="2999" actId="478"/>
          <ac:spMkLst>
            <pc:docMk/>
            <pc:sldMk cId="780727013" sldId="452"/>
            <ac:spMk id="29" creationId="{4DA7A29A-D95C-40B8-A5EF-CBEBDD3540F4}"/>
          </ac:spMkLst>
        </pc:spChg>
        <pc:spChg chg="del mod">
          <ac:chgData name="Manish Sharma" userId="97d895ad-8d7a-4884-8c18-743afd731b6f" providerId="ADAL" clId="{19B291BF-5110-451B-9F49-5287458FEFEA}" dt="2021-01-04T21:24:39.056" v="3000" actId="478"/>
          <ac:spMkLst>
            <pc:docMk/>
            <pc:sldMk cId="780727013" sldId="452"/>
            <ac:spMk id="30" creationId="{5346693D-031F-47AA-B5A4-A8133A9642B0}"/>
          </ac:spMkLst>
        </pc:spChg>
        <pc:spChg chg="del">
          <ac:chgData name="Manish Sharma" userId="97d895ad-8d7a-4884-8c18-743afd731b6f" providerId="ADAL" clId="{19B291BF-5110-451B-9F49-5287458FEFEA}" dt="2021-01-04T21:24:33.971" v="2998" actId="478"/>
          <ac:spMkLst>
            <pc:docMk/>
            <pc:sldMk cId="780727013" sldId="452"/>
            <ac:spMk id="31" creationId="{CE2BF30C-948B-4A4B-80B6-EB64BBBBC1C2}"/>
          </ac:spMkLst>
        </pc:spChg>
        <pc:spChg chg="add mod">
          <ac:chgData name="Manish Sharma" userId="97d895ad-8d7a-4884-8c18-743afd731b6f" providerId="ADAL" clId="{19B291BF-5110-451B-9F49-5287458FEFEA}" dt="2020-12-16T20:43:39.029" v="1565"/>
          <ac:spMkLst>
            <pc:docMk/>
            <pc:sldMk cId="780727013" sldId="452"/>
            <ac:spMk id="43" creationId="{1F3A7961-8390-4217-BFAC-37A3362CE520}"/>
          </ac:spMkLst>
        </pc:spChg>
        <pc:spChg chg="add del mod">
          <ac:chgData name="Manish Sharma" userId="97d895ad-8d7a-4884-8c18-743afd731b6f" providerId="ADAL" clId="{19B291BF-5110-451B-9F49-5287458FEFEA}" dt="2020-12-16T19:22:17.268" v="1486" actId="478"/>
          <ac:spMkLst>
            <pc:docMk/>
            <pc:sldMk cId="780727013" sldId="452"/>
            <ac:spMk id="43" creationId="{AA6F74AC-3804-433B-8A93-820DC44F802B}"/>
          </ac:spMkLst>
        </pc:spChg>
        <pc:spChg chg="add del mod">
          <ac:chgData name="Manish Sharma" userId="97d895ad-8d7a-4884-8c18-743afd731b6f" providerId="ADAL" clId="{19B291BF-5110-451B-9F49-5287458FEFEA}" dt="2020-12-16T20:43:38.707" v="1564" actId="478"/>
          <ac:spMkLst>
            <pc:docMk/>
            <pc:sldMk cId="780727013" sldId="452"/>
            <ac:spMk id="50" creationId="{7CDDE94E-D568-420B-9E07-4173BD83DB89}"/>
          </ac:spMkLst>
        </pc:spChg>
        <pc:spChg chg="mod">
          <ac:chgData name="Manish Sharma" userId="97d895ad-8d7a-4884-8c18-743afd731b6f" providerId="ADAL" clId="{19B291BF-5110-451B-9F49-5287458FEFEA}" dt="2021-01-04T21:25:05.700" v="3016" actId="14100"/>
          <ac:spMkLst>
            <pc:docMk/>
            <pc:sldMk cId="780727013" sldId="452"/>
            <ac:spMk id="51" creationId="{695D1313-99E5-4E41-B05F-CE6BDA288726}"/>
          </ac:spMkLst>
        </pc:spChg>
        <pc:spChg chg="mod">
          <ac:chgData name="Manish Sharma" userId="97d895ad-8d7a-4884-8c18-743afd731b6f" providerId="ADAL" clId="{19B291BF-5110-451B-9F49-5287458FEFEA}" dt="2021-01-04T21:25:05.700" v="3016" actId="14100"/>
          <ac:spMkLst>
            <pc:docMk/>
            <pc:sldMk cId="780727013" sldId="452"/>
            <ac:spMk id="52" creationId="{D1F573C9-4418-4BB5-9BB2-E55C86992D9D}"/>
          </ac:spMkLst>
        </pc:spChg>
        <pc:spChg chg="mod">
          <ac:chgData name="Manish Sharma" userId="97d895ad-8d7a-4884-8c18-743afd731b6f" providerId="ADAL" clId="{19B291BF-5110-451B-9F49-5287458FEFEA}" dt="2021-01-04T21:25:05.700" v="3016" actId="14100"/>
          <ac:spMkLst>
            <pc:docMk/>
            <pc:sldMk cId="780727013" sldId="452"/>
            <ac:spMk id="53" creationId="{CA60976B-6AEC-485B-BA7C-7D5252B03A7D}"/>
          </ac:spMkLst>
        </pc:spChg>
        <pc:spChg chg="mod">
          <ac:chgData name="Manish Sharma" userId="97d895ad-8d7a-4884-8c18-743afd731b6f" providerId="ADAL" clId="{19B291BF-5110-451B-9F49-5287458FEFEA}" dt="2021-01-04T21:25:05.700" v="3016" actId="14100"/>
          <ac:spMkLst>
            <pc:docMk/>
            <pc:sldMk cId="780727013" sldId="452"/>
            <ac:spMk id="54" creationId="{2A91E656-C4FD-426B-9648-B0A009FEBCF5}"/>
          </ac:spMkLst>
        </pc:spChg>
        <pc:spChg chg="mod">
          <ac:chgData name="Manish Sharma" userId="97d895ad-8d7a-4884-8c18-743afd731b6f" providerId="ADAL" clId="{19B291BF-5110-451B-9F49-5287458FEFEA}" dt="2021-01-04T21:25:05.700" v="3016" actId="14100"/>
          <ac:spMkLst>
            <pc:docMk/>
            <pc:sldMk cId="780727013" sldId="452"/>
            <ac:spMk id="55" creationId="{F664CCCB-C439-4231-9DB2-948C3C0D7E34}"/>
          </ac:spMkLst>
        </pc:spChg>
        <pc:spChg chg="mod">
          <ac:chgData name="Manish Sharma" userId="97d895ad-8d7a-4884-8c18-743afd731b6f" providerId="ADAL" clId="{19B291BF-5110-451B-9F49-5287458FEFEA}" dt="2021-01-04T21:25:12.882" v="3024" actId="1038"/>
          <ac:spMkLst>
            <pc:docMk/>
            <pc:sldMk cId="780727013" sldId="452"/>
            <ac:spMk id="56" creationId="{911200D6-45AE-45B9-8BCA-34173C07E17F}"/>
          </ac:spMkLst>
        </pc:spChg>
        <pc:grpChg chg="mod">
          <ac:chgData name="Manish Sharma" userId="97d895ad-8d7a-4884-8c18-743afd731b6f" providerId="ADAL" clId="{19B291BF-5110-451B-9F49-5287458FEFEA}" dt="2021-01-04T21:24:39.056" v="3000" actId="478"/>
          <ac:grpSpMkLst>
            <pc:docMk/>
            <pc:sldMk cId="780727013" sldId="452"/>
            <ac:grpSpMk id="25" creationId="{36C41730-27C6-4116-A7A5-CD6A25361E67}"/>
          </ac:grpSpMkLst>
        </pc:grpChg>
        <pc:grpChg chg="del mod">
          <ac:chgData name="Manish Sharma" userId="97d895ad-8d7a-4884-8c18-743afd731b6f" providerId="ADAL" clId="{19B291BF-5110-451B-9F49-5287458FEFEA}" dt="2021-01-04T21:24:36.948" v="2999" actId="478"/>
          <ac:grpSpMkLst>
            <pc:docMk/>
            <pc:sldMk cId="780727013" sldId="452"/>
            <ac:grpSpMk id="27" creationId="{0665A04C-8840-44E3-95C8-BFB8019B6818}"/>
          </ac:grpSpMkLst>
        </pc:grpChg>
        <pc:grpChg chg="add mod">
          <ac:chgData name="Manish Sharma" userId="97d895ad-8d7a-4884-8c18-743afd731b6f" providerId="ADAL" clId="{19B291BF-5110-451B-9F49-5287458FEFEA}" dt="2021-01-04T21:25:05.700" v="3016" actId="14100"/>
          <ac:grpSpMkLst>
            <pc:docMk/>
            <pc:sldMk cId="780727013" sldId="452"/>
            <ac:grpSpMk id="50" creationId="{2FB16C2C-CEE8-48A1-B048-D1670F2FDB00}"/>
          </ac:grpSpMkLst>
        </pc:grpChg>
        <pc:graphicFrameChg chg="modGraphic">
          <ac:chgData name="Manish Sharma" userId="97d895ad-8d7a-4884-8c18-743afd731b6f" providerId="ADAL" clId="{19B291BF-5110-451B-9F49-5287458FEFEA}" dt="2021-01-04T21:24:26.324" v="2997" actId="13926"/>
          <ac:graphicFrameMkLst>
            <pc:docMk/>
            <pc:sldMk cId="780727013" sldId="452"/>
            <ac:graphicFrameMk id="10" creationId="{215B3BAA-C7A4-4B52-A79A-C282D5DEF2CC}"/>
          </ac:graphicFrameMkLst>
        </pc:graphicFrameChg>
      </pc:sldChg>
      <pc:sldChg chg="modSp add mod">
        <pc:chgData name="Manish Sharma" userId="97d895ad-8d7a-4884-8c18-743afd731b6f" providerId="ADAL" clId="{19B291BF-5110-451B-9F49-5287458FEFEA}" dt="2020-12-08T22:25:31.869" v="1261" actId="20577"/>
        <pc:sldMkLst>
          <pc:docMk/>
          <pc:sldMk cId="1525093603" sldId="463"/>
        </pc:sldMkLst>
        <pc:spChg chg="mod">
          <ac:chgData name="Manish Sharma" userId="97d895ad-8d7a-4884-8c18-743afd731b6f" providerId="ADAL" clId="{19B291BF-5110-451B-9F49-5287458FEFEA}" dt="2020-12-08T22:25:31.869" v="1261" actId="20577"/>
          <ac:spMkLst>
            <pc:docMk/>
            <pc:sldMk cId="1525093603" sldId="463"/>
            <ac:spMk id="2" creationId="{00000000-0000-0000-0000-000000000000}"/>
          </ac:spMkLst>
        </pc:spChg>
      </pc:sldChg>
      <pc:sldChg chg="addSp delSp modSp mod">
        <pc:chgData name="Manish Sharma" userId="97d895ad-8d7a-4884-8c18-743afd731b6f" providerId="ADAL" clId="{19B291BF-5110-451B-9F49-5287458FEFEA}" dt="2021-01-12T23:52:03.291" v="3773" actId="13926"/>
        <pc:sldMkLst>
          <pc:docMk/>
          <pc:sldMk cId="3773836689" sldId="491"/>
        </pc:sldMkLst>
        <pc:spChg chg="del mod">
          <ac:chgData name="Manish Sharma" userId="97d895ad-8d7a-4884-8c18-743afd731b6f" providerId="ADAL" clId="{19B291BF-5110-451B-9F49-5287458FEFEA}" dt="2020-12-16T20:44:24.073" v="1581" actId="478"/>
          <ac:spMkLst>
            <pc:docMk/>
            <pc:sldMk cId="3773836689" sldId="491"/>
            <ac:spMk id="6" creationId="{44284F01-71E5-49F4-B35A-F0C59FF28844}"/>
          </ac:spMkLst>
        </pc:spChg>
        <pc:spChg chg="add del mod">
          <ac:chgData name="Manish Sharma" userId="97d895ad-8d7a-4884-8c18-743afd731b6f" providerId="ADAL" clId="{19B291BF-5110-451B-9F49-5287458FEFEA}" dt="2021-01-06T19:50:22.320" v="3225" actId="478"/>
          <ac:spMkLst>
            <pc:docMk/>
            <pc:sldMk cId="3773836689" sldId="491"/>
            <ac:spMk id="7" creationId="{FAF61004-E14B-4471-835B-57411D24DD58}"/>
          </ac:spMkLst>
        </pc:spChg>
        <pc:spChg chg="add mod">
          <ac:chgData name="Manish Sharma" userId="97d895ad-8d7a-4884-8c18-743afd731b6f" providerId="ADAL" clId="{19B291BF-5110-451B-9F49-5287458FEFEA}" dt="2020-12-16T20:47:09.086" v="1592" actId="14100"/>
          <ac:spMkLst>
            <pc:docMk/>
            <pc:sldMk cId="3773836689" sldId="491"/>
            <ac:spMk id="9" creationId="{8A3FBFF3-9865-4062-AB4A-BDE35D77E929}"/>
          </ac:spMkLst>
        </pc:spChg>
        <pc:spChg chg="add del mod">
          <ac:chgData name="Manish Sharma" userId="97d895ad-8d7a-4884-8c18-743afd731b6f" providerId="ADAL" clId="{19B291BF-5110-451B-9F49-5287458FEFEA}" dt="2020-12-16T20:58:50.108" v="1635" actId="478"/>
          <ac:spMkLst>
            <pc:docMk/>
            <pc:sldMk cId="3773836689" sldId="491"/>
            <ac:spMk id="10" creationId="{BE0E0611-51F5-4966-BEB3-C061F79DA867}"/>
          </ac:spMkLst>
        </pc:spChg>
        <pc:spChg chg="add mod">
          <ac:chgData name="Manish Sharma" userId="97d895ad-8d7a-4884-8c18-743afd731b6f" providerId="ADAL" clId="{19B291BF-5110-451B-9F49-5287458FEFEA}" dt="2020-12-16T20:46:56.848" v="1590" actId="14100"/>
          <ac:spMkLst>
            <pc:docMk/>
            <pc:sldMk cId="3773836689" sldId="491"/>
            <ac:spMk id="11" creationId="{F1D6AF09-01FB-4548-A3E3-303BDFFA6F36}"/>
          </ac:spMkLst>
        </pc:spChg>
        <pc:spChg chg="add mod">
          <ac:chgData name="Manish Sharma" userId="97d895ad-8d7a-4884-8c18-743afd731b6f" providerId="ADAL" clId="{19B291BF-5110-451B-9F49-5287458FEFEA}" dt="2020-12-16T21:00:25.456" v="1659" actId="2085"/>
          <ac:spMkLst>
            <pc:docMk/>
            <pc:sldMk cId="3773836689" sldId="491"/>
            <ac:spMk id="12" creationId="{2D679B4A-F543-4E50-A2DA-B439138847F7}"/>
          </ac:spMkLst>
        </pc:spChg>
        <pc:spChg chg="add mod">
          <ac:chgData name="Manish Sharma" userId="97d895ad-8d7a-4884-8c18-743afd731b6f" providerId="ADAL" clId="{19B291BF-5110-451B-9F49-5287458FEFEA}" dt="2020-12-16T20:48:06.750" v="1594" actId="14100"/>
          <ac:spMkLst>
            <pc:docMk/>
            <pc:sldMk cId="3773836689" sldId="491"/>
            <ac:spMk id="13" creationId="{5B2361E9-4BBF-4AD6-AFAC-BF2921C88877}"/>
          </ac:spMkLst>
        </pc:spChg>
        <pc:spChg chg="add del mod">
          <ac:chgData name="Manish Sharma" userId="97d895ad-8d7a-4884-8c18-743afd731b6f" providerId="ADAL" clId="{19B291BF-5110-451B-9F49-5287458FEFEA}" dt="2020-12-16T21:00:00.981" v="1656" actId="478"/>
          <ac:spMkLst>
            <pc:docMk/>
            <pc:sldMk cId="3773836689" sldId="491"/>
            <ac:spMk id="14" creationId="{5701C1C8-A7F2-483C-B38D-05259B76B8D0}"/>
          </ac:spMkLst>
        </pc:spChg>
        <pc:spChg chg="add mod">
          <ac:chgData name="Manish Sharma" userId="97d895ad-8d7a-4884-8c18-743afd731b6f" providerId="ADAL" clId="{19B291BF-5110-451B-9F49-5287458FEFEA}" dt="2020-12-16T21:01:00.437" v="1666" actId="403"/>
          <ac:spMkLst>
            <pc:docMk/>
            <pc:sldMk cId="3773836689" sldId="491"/>
            <ac:spMk id="15" creationId="{2EDCA253-33FA-4D17-825C-808DD1C09943}"/>
          </ac:spMkLst>
        </pc:spChg>
        <pc:spChg chg="add mod">
          <ac:chgData name="Manish Sharma" userId="97d895ad-8d7a-4884-8c18-743afd731b6f" providerId="ADAL" clId="{19B291BF-5110-451B-9F49-5287458FEFEA}" dt="2020-12-16T21:00:25.456" v="1659" actId="2085"/>
          <ac:spMkLst>
            <pc:docMk/>
            <pc:sldMk cId="3773836689" sldId="491"/>
            <ac:spMk id="16" creationId="{314C6ECD-C540-435A-879D-3986B5D17831}"/>
          </ac:spMkLst>
        </pc:spChg>
        <pc:spChg chg="add mod">
          <ac:chgData name="Manish Sharma" userId="97d895ad-8d7a-4884-8c18-743afd731b6f" providerId="ADAL" clId="{19B291BF-5110-451B-9F49-5287458FEFEA}" dt="2021-01-12T23:52:03.291" v="3773" actId="13926"/>
          <ac:spMkLst>
            <pc:docMk/>
            <pc:sldMk cId="3773836689" sldId="491"/>
            <ac:spMk id="17" creationId="{AAA89AD2-C159-4535-9C05-85BD5FDE7339}"/>
          </ac:spMkLst>
        </pc:spChg>
        <pc:spChg chg="add del mod">
          <ac:chgData name="Manish Sharma" userId="97d895ad-8d7a-4884-8c18-743afd731b6f" providerId="ADAL" clId="{19B291BF-5110-451B-9F49-5287458FEFEA}" dt="2020-12-16T20:59:07.554" v="1640" actId="478"/>
          <ac:spMkLst>
            <pc:docMk/>
            <pc:sldMk cId="3773836689" sldId="491"/>
            <ac:spMk id="17" creationId="{DB584D2B-A804-4FE8-A268-969B51B3BE09}"/>
          </ac:spMkLst>
        </pc:spChg>
        <pc:spChg chg="add mod">
          <ac:chgData name="Manish Sharma" userId="97d895ad-8d7a-4884-8c18-743afd731b6f" providerId="ADAL" clId="{19B291BF-5110-451B-9F49-5287458FEFEA}" dt="2020-12-16T21:00:38.708" v="1660" actId="1076"/>
          <ac:spMkLst>
            <pc:docMk/>
            <pc:sldMk cId="3773836689" sldId="491"/>
            <ac:spMk id="18" creationId="{81FCEE3B-B79E-41C0-992D-A5919F3768BA}"/>
          </ac:spMkLst>
        </pc:spChg>
        <pc:spChg chg="add mod">
          <ac:chgData name="Manish Sharma" userId="97d895ad-8d7a-4884-8c18-743afd731b6f" providerId="ADAL" clId="{19B291BF-5110-451B-9F49-5287458FEFEA}" dt="2020-12-16T21:00:42.543" v="1661" actId="1076"/>
          <ac:spMkLst>
            <pc:docMk/>
            <pc:sldMk cId="3773836689" sldId="491"/>
            <ac:spMk id="19" creationId="{8930EAD5-CD5D-42AE-8EAF-F1C129BCFEBF}"/>
          </ac:spMkLst>
        </pc:spChg>
        <pc:spChg chg="add mod">
          <ac:chgData name="Manish Sharma" userId="97d895ad-8d7a-4884-8c18-743afd731b6f" providerId="ADAL" clId="{19B291BF-5110-451B-9F49-5287458FEFEA}" dt="2020-12-16T20:44:24.412" v="1582"/>
          <ac:spMkLst>
            <pc:docMk/>
            <pc:sldMk cId="3773836689" sldId="491"/>
            <ac:spMk id="20" creationId="{9F063BC6-EECB-4DCB-8529-CF7928664F44}"/>
          </ac:spMkLst>
        </pc:spChg>
        <pc:spChg chg="add mod">
          <ac:chgData name="Manish Sharma" userId="97d895ad-8d7a-4884-8c18-743afd731b6f" providerId="ADAL" clId="{19B291BF-5110-451B-9F49-5287458FEFEA}" dt="2020-12-16T20:48:04.056" v="1593" actId="14100"/>
          <ac:spMkLst>
            <pc:docMk/>
            <pc:sldMk cId="3773836689" sldId="491"/>
            <ac:spMk id="21" creationId="{4CF08A4B-92F5-4922-A57D-2330F35673E7}"/>
          </ac:spMkLst>
        </pc:spChg>
        <pc:spChg chg="del mod">
          <ac:chgData name="Manish Sharma" userId="97d895ad-8d7a-4884-8c18-743afd731b6f" providerId="ADAL" clId="{19B291BF-5110-451B-9F49-5287458FEFEA}" dt="2021-01-12T23:50:42.513" v="3762" actId="478"/>
          <ac:spMkLst>
            <pc:docMk/>
            <pc:sldMk cId="3773836689" sldId="491"/>
            <ac:spMk id="39" creationId="{9B3B3C2B-2D6A-454B-9637-F6BD98B02D8E}"/>
          </ac:spMkLst>
        </pc:spChg>
        <pc:picChg chg="add mod">
          <ac:chgData name="Manish Sharma" userId="97d895ad-8d7a-4884-8c18-743afd731b6f" providerId="ADAL" clId="{19B291BF-5110-451B-9F49-5287458FEFEA}" dt="2020-12-16T21:00:51.692" v="1662" actId="1076"/>
          <ac:picMkLst>
            <pc:docMk/>
            <pc:sldMk cId="3773836689" sldId="491"/>
            <ac:picMk id="8" creationId="{3CCB08BE-D856-47A3-815F-C378FF1F1A6C}"/>
          </ac:picMkLst>
        </pc:picChg>
      </pc:sldChg>
      <pc:sldChg chg="addSp delSp modSp mod">
        <pc:chgData name="Manish Sharma" userId="97d895ad-8d7a-4884-8c18-743afd731b6f" providerId="ADAL" clId="{19B291BF-5110-451B-9F49-5287458FEFEA}" dt="2021-01-05T18:19:49.036" v="3221" actId="20577"/>
        <pc:sldMkLst>
          <pc:docMk/>
          <pc:sldMk cId="467378802" sldId="492"/>
        </pc:sldMkLst>
        <pc:spChg chg="mod">
          <ac:chgData name="Manish Sharma" userId="97d895ad-8d7a-4884-8c18-743afd731b6f" providerId="ADAL" clId="{19B291BF-5110-451B-9F49-5287458FEFEA}" dt="2020-12-08T20:06:22.847" v="1141" actId="20577"/>
          <ac:spMkLst>
            <pc:docMk/>
            <pc:sldMk cId="467378802" sldId="492"/>
            <ac:spMk id="2" creationId="{00000000-0000-0000-0000-000000000000}"/>
          </ac:spMkLst>
        </pc:spChg>
        <pc:spChg chg="mod">
          <ac:chgData name="Manish Sharma" userId="97d895ad-8d7a-4884-8c18-743afd731b6f" providerId="ADAL" clId="{19B291BF-5110-451B-9F49-5287458FEFEA}" dt="2021-01-04T18:54:58.352" v="2745" actId="13926"/>
          <ac:spMkLst>
            <pc:docMk/>
            <pc:sldMk cId="467378802" sldId="492"/>
            <ac:spMk id="7" creationId="{B633BA49-44C2-41E0-8A5F-10881248D9C0}"/>
          </ac:spMkLst>
        </pc:spChg>
        <pc:spChg chg="mod">
          <ac:chgData name="Manish Sharma" userId="97d895ad-8d7a-4884-8c18-743afd731b6f" providerId="ADAL" clId="{19B291BF-5110-451B-9F49-5287458FEFEA}" dt="2021-01-04T18:53:36.410" v="2727" actId="13926"/>
          <ac:spMkLst>
            <pc:docMk/>
            <pc:sldMk cId="467378802" sldId="492"/>
            <ac:spMk id="13" creationId="{00000000-0000-0000-0000-000000000000}"/>
          </ac:spMkLst>
        </pc:spChg>
        <pc:spChg chg="add del mod">
          <ac:chgData name="Manish Sharma" userId="97d895ad-8d7a-4884-8c18-743afd731b6f" providerId="ADAL" clId="{19B291BF-5110-451B-9F49-5287458FEFEA}" dt="2020-12-16T19:22:09.069" v="1482" actId="478"/>
          <ac:spMkLst>
            <pc:docMk/>
            <pc:sldMk cId="467378802" sldId="492"/>
            <ac:spMk id="18" creationId="{64617B64-824E-4EC5-9866-DA7AE2E12A6E}"/>
          </ac:spMkLst>
        </pc:spChg>
        <pc:spChg chg="add del mod">
          <ac:chgData name="Manish Sharma" userId="97d895ad-8d7a-4884-8c18-743afd731b6f" providerId="ADAL" clId="{19B291BF-5110-451B-9F49-5287458FEFEA}" dt="2020-12-16T20:43:30.309" v="1560" actId="478"/>
          <ac:spMkLst>
            <pc:docMk/>
            <pc:sldMk cId="467378802" sldId="492"/>
            <ac:spMk id="18" creationId="{8EB810F8-FD8F-46D9-853E-F5AA1F0F57B5}"/>
          </ac:spMkLst>
        </pc:spChg>
        <pc:spChg chg="add del mod">
          <ac:chgData name="Manish Sharma" userId="97d895ad-8d7a-4884-8c18-743afd731b6f" providerId="ADAL" clId="{19B291BF-5110-451B-9F49-5287458FEFEA}" dt="2020-12-16T20:20:08.296" v="1523" actId="478"/>
          <ac:spMkLst>
            <pc:docMk/>
            <pc:sldMk cId="467378802" sldId="492"/>
            <ac:spMk id="19" creationId="{9B8A3863-2733-4645-8269-E7EC8B6CAEBB}"/>
          </ac:spMkLst>
        </pc:spChg>
        <pc:spChg chg="add mod">
          <ac:chgData name="Manish Sharma" userId="97d895ad-8d7a-4884-8c18-743afd731b6f" providerId="ADAL" clId="{19B291BF-5110-451B-9F49-5287458FEFEA}" dt="2020-12-16T20:43:30.599" v="1561"/>
          <ac:spMkLst>
            <pc:docMk/>
            <pc:sldMk cId="467378802" sldId="492"/>
            <ac:spMk id="21" creationId="{0032C7B7-C34B-44DC-9D55-AB7CE052890A}"/>
          </ac:spMkLst>
        </pc:spChg>
        <pc:graphicFrameChg chg="mod">
          <ac:chgData name="Manish Sharma" userId="97d895ad-8d7a-4884-8c18-743afd731b6f" providerId="ADAL" clId="{19B291BF-5110-451B-9F49-5287458FEFEA}" dt="2020-12-08T20:06:33.686" v="1142" actId="167"/>
          <ac:graphicFrameMkLst>
            <pc:docMk/>
            <pc:sldMk cId="467378802" sldId="492"/>
            <ac:graphicFrameMk id="17" creationId="{D55BBF1E-FA20-46EB-BBE3-B34CE16E1125}"/>
          </ac:graphicFrameMkLst>
        </pc:graphicFrameChg>
        <pc:graphicFrameChg chg="modGraphic">
          <ac:chgData name="Manish Sharma" userId="97d895ad-8d7a-4884-8c18-743afd731b6f" providerId="ADAL" clId="{19B291BF-5110-451B-9F49-5287458FEFEA}" dt="2021-01-04T18:53:13.219" v="2724" actId="13926"/>
          <ac:graphicFrameMkLst>
            <pc:docMk/>
            <pc:sldMk cId="467378802" sldId="492"/>
            <ac:graphicFrameMk id="20" creationId="{C706CF1C-16BE-40AB-AD10-3D3B1B2FD25F}"/>
          </ac:graphicFrameMkLst>
        </pc:graphicFrameChg>
        <pc:graphicFrameChg chg="modGraphic">
          <ac:chgData name="Manish Sharma" userId="97d895ad-8d7a-4884-8c18-743afd731b6f" providerId="ADAL" clId="{19B291BF-5110-451B-9F49-5287458FEFEA}" dt="2021-01-04T18:53:20.089" v="2725" actId="13926"/>
          <ac:graphicFrameMkLst>
            <pc:docMk/>
            <pc:sldMk cId="467378802" sldId="492"/>
            <ac:graphicFrameMk id="22" creationId="{25ADC611-E4BA-4F2F-9BF9-A6228171DDE2}"/>
          </ac:graphicFrameMkLst>
        </pc:graphicFrameChg>
        <pc:graphicFrameChg chg="mod modGraphic">
          <ac:chgData name="Manish Sharma" userId="97d895ad-8d7a-4884-8c18-743afd731b6f" providerId="ADAL" clId="{19B291BF-5110-451B-9F49-5287458FEFEA}" dt="2021-01-05T18:19:49.036" v="3221" actId="20577"/>
          <ac:graphicFrameMkLst>
            <pc:docMk/>
            <pc:sldMk cId="467378802" sldId="492"/>
            <ac:graphicFrameMk id="23" creationId="{00000000-0000-0000-0000-000000000000}"/>
          </ac:graphicFrameMkLst>
        </pc:graphicFrameChg>
        <pc:graphicFrameChg chg="modGraphic">
          <ac:chgData name="Manish Sharma" userId="97d895ad-8d7a-4884-8c18-743afd731b6f" providerId="ADAL" clId="{19B291BF-5110-451B-9F49-5287458FEFEA}" dt="2021-01-04T18:53:46.756" v="2728" actId="13926"/>
          <ac:graphicFrameMkLst>
            <pc:docMk/>
            <pc:sldMk cId="467378802" sldId="492"/>
            <ac:graphicFrameMk id="26" creationId="{A088A704-3458-4A85-A10E-CBFB205EDF51}"/>
          </ac:graphicFrameMkLst>
        </pc:graphicFrameChg>
      </pc:sldChg>
      <pc:sldChg chg="addSp delSp modSp mod">
        <pc:chgData name="Manish Sharma" userId="97d895ad-8d7a-4884-8c18-743afd731b6f" providerId="ADAL" clId="{19B291BF-5110-451B-9F49-5287458FEFEA}" dt="2020-12-16T20:44:09.711" v="1576"/>
        <pc:sldMkLst>
          <pc:docMk/>
          <pc:sldMk cId="1603357931" sldId="494"/>
        </pc:sldMkLst>
        <pc:spChg chg="mod">
          <ac:chgData name="Manish Sharma" userId="97d895ad-8d7a-4884-8c18-743afd731b6f" providerId="ADAL" clId="{19B291BF-5110-451B-9F49-5287458FEFEA}" dt="2020-12-08T14:39:03.193" v="645" actId="208"/>
          <ac:spMkLst>
            <pc:docMk/>
            <pc:sldMk cId="1603357931" sldId="494"/>
            <ac:spMk id="7" creationId="{00000000-0000-0000-0000-000000000000}"/>
          </ac:spMkLst>
        </pc:spChg>
        <pc:spChg chg="mod">
          <ac:chgData name="Manish Sharma" userId="97d895ad-8d7a-4884-8c18-743afd731b6f" providerId="ADAL" clId="{19B291BF-5110-451B-9F49-5287458FEFEA}" dt="2020-12-08T14:39:15.396" v="648" actId="207"/>
          <ac:spMkLst>
            <pc:docMk/>
            <pc:sldMk cId="1603357931" sldId="494"/>
            <ac:spMk id="33" creationId="{00000000-0000-0000-0000-000000000000}"/>
          </ac:spMkLst>
        </pc:spChg>
        <pc:spChg chg="mod">
          <ac:chgData name="Manish Sharma" userId="97d895ad-8d7a-4884-8c18-743afd731b6f" providerId="ADAL" clId="{19B291BF-5110-451B-9F49-5287458FEFEA}" dt="2020-12-08T14:38:39.391" v="642" actId="20577"/>
          <ac:spMkLst>
            <pc:docMk/>
            <pc:sldMk cId="1603357931" sldId="494"/>
            <ac:spMk id="63" creationId="{00000000-0000-0000-0000-000000000000}"/>
          </ac:spMkLst>
        </pc:spChg>
        <pc:spChg chg="mod">
          <ac:chgData name="Manish Sharma" userId="97d895ad-8d7a-4884-8c18-743afd731b6f" providerId="ADAL" clId="{19B291BF-5110-451B-9F49-5287458FEFEA}" dt="2020-12-08T14:37:49.217" v="599" actId="20577"/>
          <ac:spMkLst>
            <pc:docMk/>
            <pc:sldMk cId="1603357931" sldId="494"/>
            <ac:spMk id="64" creationId="{00000000-0000-0000-0000-000000000000}"/>
          </ac:spMkLst>
        </pc:spChg>
        <pc:spChg chg="mod">
          <ac:chgData name="Manish Sharma" userId="97d895ad-8d7a-4884-8c18-743afd731b6f" providerId="ADAL" clId="{19B291BF-5110-451B-9F49-5287458FEFEA}" dt="2020-12-08T14:37:34.104" v="592" actId="1076"/>
          <ac:spMkLst>
            <pc:docMk/>
            <pc:sldMk cId="1603357931" sldId="494"/>
            <ac:spMk id="77" creationId="{00000000-0000-0000-0000-000000000000}"/>
          </ac:spMkLst>
        </pc:spChg>
        <pc:spChg chg="mod">
          <ac:chgData name="Manish Sharma" userId="97d895ad-8d7a-4884-8c18-743afd731b6f" providerId="ADAL" clId="{19B291BF-5110-451B-9F49-5287458FEFEA}" dt="2020-12-08T14:38:17.396" v="634" actId="1036"/>
          <ac:spMkLst>
            <pc:docMk/>
            <pc:sldMk cId="1603357931" sldId="494"/>
            <ac:spMk id="96" creationId="{B3F42793-19D3-4083-9068-DD5942C975DF}"/>
          </ac:spMkLst>
        </pc:spChg>
        <pc:spChg chg="mod">
          <ac:chgData name="Manish Sharma" userId="97d895ad-8d7a-4884-8c18-743afd731b6f" providerId="ADAL" clId="{19B291BF-5110-451B-9F49-5287458FEFEA}" dt="2020-12-08T14:38:03.761" v="604" actId="1076"/>
          <ac:spMkLst>
            <pc:docMk/>
            <pc:sldMk cId="1603357931" sldId="494"/>
            <ac:spMk id="97" creationId="{E6A69622-26C7-49FC-9060-CC4C986E151E}"/>
          </ac:spMkLst>
        </pc:spChg>
        <pc:spChg chg="add del">
          <ac:chgData name="Manish Sharma" userId="97d895ad-8d7a-4884-8c18-743afd731b6f" providerId="ADAL" clId="{19B291BF-5110-451B-9F49-5287458FEFEA}" dt="2020-12-01T23:38:41.508" v="473" actId="478"/>
          <ac:spMkLst>
            <pc:docMk/>
            <pc:sldMk cId="1603357931" sldId="494"/>
            <ac:spMk id="104" creationId="{D11D29F8-8810-4AB2-93AB-433C9C690C50}"/>
          </ac:spMkLst>
        </pc:spChg>
        <pc:spChg chg="add mod">
          <ac:chgData name="Manish Sharma" userId="97d895ad-8d7a-4884-8c18-743afd731b6f" providerId="ADAL" clId="{19B291BF-5110-451B-9F49-5287458FEFEA}" dt="2020-12-16T20:44:09.711" v="1576"/>
          <ac:spMkLst>
            <pc:docMk/>
            <pc:sldMk cId="1603357931" sldId="494"/>
            <ac:spMk id="104" creationId="{DE362A19-8381-496F-9B3B-F3334676AA07}"/>
          </ac:spMkLst>
        </pc:spChg>
        <pc:spChg chg="add del mod">
          <ac:chgData name="Manish Sharma" userId="97d895ad-8d7a-4884-8c18-743afd731b6f" providerId="ADAL" clId="{19B291BF-5110-451B-9F49-5287458FEFEA}" dt="2020-12-16T20:44:09.414" v="1575" actId="478"/>
          <ac:spMkLst>
            <pc:docMk/>
            <pc:sldMk cId="1603357931" sldId="494"/>
            <ac:spMk id="106" creationId="{A7B7D56A-4537-4CB7-9D7C-1BBA61889572}"/>
          </ac:spMkLst>
        </pc:spChg>
        <pc:spChg chg="mod">
          <ac:chgData name="Manish Sharma" userId="97d895ad-8d7a-4884-8c18-743afd731b6f" providerId="ADAL" clId="{19B291BF-5110-451B-9F49-5287458FEFEA}" dt="2020-12-08T14:37:28.622" v="590" actId="1076"/>
          <ac:spMkLst>
            <pc:docMk/>
            <pc:sldMk cId="1603357931" sldId="494"/>
            <ac:spMk id="107" creationId="{69D5FFE5-5678-493C-9C50-1696DBE0C492}"/>
          </ac:spMkLst>
        </pc:spChg>
        <pc:spChg chg="mod">
          <ac:chgData name="Manish Sharma" userId="97d895ad-8d7a-4884-8c18-743afd731b6f" providerId="ADAL" clId="{19B291BF-5110-451B-9F49-5287458FEFEA}" dt="2020-12-08T14:37:28.622" v="590" actId="1076"/>
          <ac:spMkLst>
            <pc:docMk/>
            <pc:sldMk cId="1603357931" sldId="494"/>
            <ac:spMk id="108" creationId="{856F0F34-5B2A-497E-AFCB-E6C94B6DE85F}"/>
          </ac:spMkLst>
        </pc:spChg>
        <pc:spChg chg="mod">
          <ac:chgData name="Manish Sharma" userId="97d895ad-8d7a-4884-8c18-743afd731b6f" providerId="ADAL" clId="{19B291BF-5110-451B-9F49-5287458FEFEA}" dt="2020-12-08T14:37:28.622" v="590" actId="1076"/>
          <ac:spMkLst>
            <pc:docMk/>
            <pc:sldMk cId="1603357931" sldId="494"/>
            <ac:spMk id="109" creationId="{76F3E46E-05F1-4BC1-AA1A-69A43E727465}"/>
          </ac:spMkLst>
        </pc:spChg>
        <pc:spChg chg="mod">
          <ac:chgData name="Manish Sharma" userId="97d895ad-8d7a-4884-8c18-743afd731b6f" providerId="ADAL" clId="{19B291BF-5110-451B-9F49-5287458FEFEA}" dt="2020-12-08T14:37:28.622" v="590" actId="1076"/>
          <ac:spMkLst>
            <pc:docMk/>
            <pc:sldMk cId="1603357931" sldId="494"/>
            <ac:spMk id="110" creationId="{76050A02-295C-40B6-A47C-48AC33CB77E1}"/>
          </ac:spMkLst>
        </pc:spChg>
        <pc:spChg chg="mod">
          <ac:chgData name="Manish Sharma" userId="97d895ad-8d7a-4884-8c18-743afd731b6f" providerId="ADAL" clId="{19B291BF-5110-451B-9F49-5287458FEFEA}" dt="2020-12-08T14:37:28.622" v="590" actId="1076"/>
          <ac:spMkLst>
            <pc:docMk/>
            <pc:sldMk cId="1603357931" sldId="494"/>
            <ac:spMk id="118" creationId="{FEF7C3AE-909B-4FE3-9B32-29EEC608A92A}"/>
          </ac:spMkLst>
        </pc:spChg>
        <pc:spChg chg="mod">
          <ac:chgData name="Manish Sharma" userId="97d895ad-8d7a-4884-8c18-743afd731b6f" providerId="ADAL" clId="{19B291BF-5110-451B-9F49-5287458FEFEA}" dt="2020-12-08T14:39:29.075" v="650" actId="208"/>
          <ac:spMkLst>
            <pc:docMk/>
            <pc:sldMk cId="1603357931" sldId="494"/>
            <ac:spMk id="126" creationId="{0A182F45-470D-4A59-B728-E8FCF6876681}"/>
          </ac:spMkLst>
        </pc:spChg>
        <pc:spChg chg="mod">
          <ac:chgData name="Manish Sharma" userId="97d895ad-8d7a-4884-8c18-743afd731b6f" providerId="ADAL" clId="{19B291BF-5110-451B-9F49-5287458FEFEA}" dt="2020-12-08T14:38:35.132" v="641" actId="20577"/>
          <ac:spMkLst>
            <pc:docMk/>
            <pc:sldMk cId="1603357931" sldId="494"/>
            <ac:spMk id="131" creationId="{9CEF88A0-D6AD-43DE-B77A-FDF4DBCDC5BA}"/>
          </ac:spMkLst>
        </pc:spChg>
        <pc:spChg chg="mod">
          <ac:chgData name="Manish Sharma" userId="97d895ad-8d7a-4884-8c18-743afd731b6f" providerId="ADAL" clId="{19B291BF-5110-451B-9F49-5287458FEFEA}" dt="2020-12-08T14:39:23.677" v="649" actId="208"/>
          <ac:spMkLst>
            <pc:docMk/>
            <pc:sldMk cId="1603357931" sldId="494"/>
            <ac:spMk id="132" creationId="{07D8E15C-1CFC-4C6E-9A6D-647D2BFDB667}"/>
          </ac:spMkLst>
        </pc:spChg>
        <pc:spChg chg="mod">
          <ac:chgData name="Manish Sharma" userId="97d895ad-8d7a-4884-8c18-743afd731b6f" providerId="ADAL" clId="{19B291BF-5110-451B-9F49-5287458FEFEA}" dt="2020-12-08T14:37:28.622" v="590" actId="1076"/>
          <ac:spMkLst>
            <pc:docMk/>
            <pc:sldMk cId="1603357931" sldId="494"/>
            <ac:spMk id="133" creationId="{1863DB6D-532A-48D5-A4E2-2DF5FBA9808C}"/>
          </ac:spMkLst>
        </pc:spChg>
        <pc:spChg chg="mod">
          <ac:chgData name="Manish Sharma" userId="97d895ad-8d7a-4884-8c18-743afd731b6f" providerId="ADAL" clId="{19B291BF-5110-451B-9F49-5287458FEFEA}" dt="2020-12-08T14:37:28.622" v="590" actId="1076"/>
          <ac:spMkLst>
            <pc:docMk/>
            <pc:sldMk cId="1603357931" sldId="494"/>
            <ac:spMk id="134" creationId="{5C605DEF-B46C-4D58-BF02-CEBB4910C6F7}"/>
          </ac:spMkLst>
        </pc:spChg>
        <pc:spChg chg="mod">
          <ac:chgData name="Manish Sharma" userId="97d895ad-8d7a-4884-8c18-743afd731b6f" providerId="ADAL" clId="{19B291BF-5110-451B-9F49-5287458FEFEA}" dt="2020-12-08T14:37:28.622" v="590" actId="1076"/>
          <ac:spMkLst>
            <pc:docMk/>
            <pc:sldMk cId="1603357931" sldId="494"/>
            <ac:spMk id="135" creationId="{6538C82F-DCF7-4B52-958C-385FBD8A14FA}"/>
          </ac:spMkLst>
        </pc:spChg>
        <pc:spChg chg="mod">
          <ac:chgData name="Manish Sharma" userId="97d895ad-8d7a-4884-8c18-743afd731b6f" providerId="ADAL" clId="{19B291BF-5110-451B-9F49-5287458FEFEA}" dt="2020-12-08T14:39:37.033" v="652" actId="207"/>
          <ac:spMkLst>
            <pc:docMk/>
            <pc:sldMk cId="1603357931" sldId="494"/>
            <ac:spMk id="137" creationId="{6CEFD653-343D-4EFD-92CF-AE3220B70017}"/>
          </ac:spMkLst>
        </pc:spChg>
        <pc:spChg chg="mod">
          <ac:chgData name="Manish Sharma" userId="97d895ad-8d7a-4884-8c18-743afd731b6f" providerId="ADAL" clId="{19B291BF-5110-451B-9F49-5287458FEFEA}" dt="2020-12-08T14:39:32.112" v="651" actId="208"/>
          <ac:spMkLst>
            <pc:docMk/>
            <pc:sldMk cId="1603357931" sldId="494"/>
            <ac:spMk id="138" creationId="{7E04118D-1538-4B9D-A040-C79C7E870F56}"/>
          </ac:spMkLst>
        </pc:spChg>
        <pc:spChg chg="mod">
          <ac:chgData name="Manish Sharma" userId="97d895ad-8d7a-4884-8c18-743afd731b6f" providerId="ADAL" clId="{19B291BF-5110-451B-9F49-5287458FEFEA}" dt="2020-12-08T14:39:32.112" v="651" actId="208"/>
          <ac:spMkLst>
            <pc:docMk/>
            <pc:sldMk cId="1603357931" sldId="494"/>
            <ac:spMk id="139" creationId="{F02A0F5D-F2B7-4235-B932-8130BA0AF169}"/>
          </ac:spMkLst>
        </pc:spChg>
        <pc:spChg chg="mod">
          <ac:chgData name="Manish Sharma" userId="97d895ad-8d7a-4884-8c18-743afd731b6f" providerId="ADAL" clId="{19B291BF-5110-451B-9F49-5287458FEFEA}" dt="2020-12-08T14:39:42.169" v="653" actId="207"/>
          <ac:spMkLst>
            <pc:docMk/>
            <pc:sldMk cId="1603357931" sldId="494"/>
            <ac:spMk id="140" creationId="{D8F35EAE-0760-417A-BEF2-4F8F784A6962}"/>
          </ac:spMkLst>
        </pc:spChg>
        <pc:grpChg chg="mod">
          <ac:chgData name="Manish Sharma" userId="97d895ad-8d7a-4884-8c18-743afd731b6f" providerId="ADAL" clId="{19B291BF-5110-451B-9F49-5287458FEFEA}" dt="2020-12-08T14:39:00.319" v="644" actId="208"/>
          <ac:grpSpMkLst>
            <pc:docMk/>
            <pc:sldMk cId="1603357931" sldId="494"/>
            <ac:grpSpMk id="4" creationId="{4C378A7C-EADD-4B88-953F-F2564BDF23DF}"/>
          </ac:grpSpMkLst>
        </pc:grpChg>
        <pc:grpChg chg="add del mod">
          <ac:chgData name="Manish Sharma" userId="97d895ad-8d7a-4884-8c18-743afd731b6f" providerId="ADAL" clId="{19B291BF-5110-451B-9F49-5287458FEFEA}" dt="2020-12-08T14:37:39.455" v="594" actId="478"/>
          <ac:grpSpMkLst>
            <pc:docMk/>
            <pc:sldMk cId="1603357931" sldId="494"/>
            <ac:grpSpMk id="104" creationId="{0C6BD958-A298-4419-8FA3-9BC7F0C37EF4}"/>
          </ac:grpSpMkLst>
        </pc:grpChg>
        <pc:grpChg chg="add del mod">
          <ac:chgData name="Manish Sharma" userId="97d895ad-8d7a-4884-8c18-743afd731b6f" providerId="ADAL" clId="{19B291BF-5110-451B-9F49-5287458FEFEA}" dt="2020-12-08T14:37:37.014" v="593" actId="478"/>
          <ac:grpSpMkLst>
            <pc:docMk/>
            <pc:sldMk cId="1603357931" sldId="494"/>
            <ac:grpSpMk id="113" creationId="{E32A9F77-A789-4509-AA5D-D7D080E85805}"/>
          </ac:grpSpMkLst>
        </pc:grpChg>
      </pc:sldChg>
      <pc:sldChg chg="addSp delSp modSp mod">
        <pc:chgData name="Manish Sharma" userId="97d895ad-8d7a-4884-8c18-743afd731b6f" providerId="ADAL" clId="{19B291BF-5110-451B-9F49-5287458FEFEA}" dt="2020-12-16T20:43:54.580" v="1571"/>
        <pc:sldMkLst>
          <pc:docMk/>
          <pc:sldMk cId="1144498750" sldId="502"/>
        </pc:sldMkLst>
        <pc:spChg chg="add del mod">
          <ac:chgData name="Manish Sharma" userId="97d895ad-8d7a-4884-8c18-743afd731b6f" providerId="ADAL" clId="{19B291BF-5110-451B-9F49-5287458FEFEA}" dt="2020-12-16T20:43:54.211" v="1570" actId="478"/>
          <ac:spMkLst>
            <pc:docMk/>
            <pc:sldMk cId="1144498750" sldId="502"/>
            <ac:spMk id="9" creationId="{8A0CCFE2-C440-47E4-923D-0F5338D4FBDA}"/>
          </ac:spMkLst>
        </pc:spChg>
        <pc:spChg chg="del">
          <ac:chgData name="Manish Sharma" userId="97d895ad-8d7a-4884-8c18-743afd731b6f" providerId="ADAL" clId="{19B291BF-5110-451B-9F49-5287458FEFEA}" dt="2020-12-01T23:38:46.188" v="474" actId="478"/>
          <ac:spMkLst>
            <pc:docMk/>
            <pc:sldMk cId="1144498750" sldId="502"/>
            <ac:spMk id="9" creationId="{FFE9C167-4803-4AA5-81E9-85D429579A93}"/>
          </ac:spMkLst>
        </pc:spChg>
        <pc:spChg chg="add mod">
          <ac:chgData name="Manish Sharma" userId="97d895ad-8d7a-4884-8c18-743afd731b6f" providerId="ADAL" clId="{19B291BF-5110-451B-9F49-5287458FEFEA}" dt="2020-12-16T20:43:54.580" v="1571"/>
          <ac:spMkLst>
            <pc:docMk/>
            <pc:sldMk cId="1144498750" sldId="502"/>
            <ac:spMk id="10" creationId="{C88DCAC4-6EC4-4059-9811-81AEA1A66B32}"/>
          </ac:spMkLst>
        </pc:spChg>
        <pc:spChg chg="add del mod">
          <ac:chgData name="Manish Sharma" userId="97d895ad-8d7a-4884-8c18-743afd731b6f" providerId="ADAL" clId="{19B291BF-5110-451B-9F49-5287458FEFEA}" dt="2020-12-16T19:22:28.628" v="1492" actId="478"/>
          <ac:spMkLst>
            <pc:docMk/>
            <pc:sldMk cId="1144498750" sldId="502"/>
            <ac:spMk id="10" creationId="{CCFC06AB-8318-45FC-8AE1-C57ACDD7C9E1}"/>
          </ac:spMkLst>
        </pc:spChg>
      </pc:sldChg>
      <pc:sldChg chg="addSp delSp modSp add mod">
        <pc:chgData name="Manish Sharma" userId="97d895ad-8d7a-4884-8c18-743afd731b6f" providerId="ADAL" clId="{19B291BF-5110-451B-9F49-5287458FEFEA}" dt="2020-12-16T20:44:03.741" v="1573"/>
        <pc:sldMkLst>
          <pc:docMk/>
          <pc:sldMk cId="1146825991" sldId="503"/>
        </pc:sldMkLst>
        <pc:spChg chg="add del mod">
          <ac:chgData name="Manish Sharma" userId="97d895ad-8d7a-4884-8c18-743afd731b6f" providerId="ADAL" clId="{19B291BF-5110-451B-9F49-5287458FEFEA}" dt="2020-12-01T23:42:09.645" v="582" actId="478"/>
          <ac:spMkLst>
            <pc:docMk/>
            <pc:sldMk cId="1146825991" sldId="503"/>
            <ac:spMk id="8" creationId="{34F0FFC9-78D6-4259-A08E-E4E8F45E00A2}"/>
          </ac:spMkLst>
        </pc:spChg>
        <pc:spChg chg="add mod">
          <ac:chgData name="Manish Sharma" userId="97d895ad-8d7a-4884-8c18-743afd731b6f" providerId="ADAL" clId="{19B291BF-5110-451B-9F49-5287458FEFEA}" dt="2020-12-01T23:42:12.204" v="583" actId="1076"/>
          <ac:spMkLst>
            <pc:docMk/>
            <pc:sldMk cId="1146825991" sldId="503"/>
            <ac:spMk id="10" creationId="{94BCC92F-29DD-45C2-9BAD-9BF4B73964B1}"/>
          </ac:spMkLst>
        </pc:spChg>
        <pc:spChg chg="add mod">
          <ac:chgData name="Manish Sharma" userId="97d895ad-8d7a-4884-8c18-743afd731b6f" providerId="ADAL" clId="{19B291BF-5110-451B-9F49-5287458FEFEA}" dt="2020-12-16T20:44:03.741" v="1573"/>
          <ac:spMkLst>
            <pc:docMk/>
            <pc:sldMk cId="1146825991" sldId="503"/>
            <ac:spMk id="11" creationId="{DE076D04-EC0E-448D-81C7-F12C67641293}"/>
          </ac:spMkLst>
        </pc:spChg>
      </pc:sldChg>
      <pc:sldChg chg="addSp delSp modSp add mod">
        <pc:chgData name="Manish Sharma" userId="97d895ad-8d7a-4884-8c18-743afd731b6f" providerId="ADAL" clId="{19B291BF-5110-451B-9F49-5287458FEFEA}" dt="2020-12-16T20:44:05.799" v="1574"/>
        <pc:sldMkLst>
          <pc:docMk/>
          <pc:sldMk cId="1618758624" sldId="504"/>
        </pc:sldMkLst>
        <pc:spChg chg="add mod">
          <ac:chgData name="Manish Sharma" userId="97d895ad-8d7a-4884-8c18-743afd731b6f" providerId="ADAL" clId="{19B291BF-5110-451B-9F49-5287458FEFEA}" dt="2020-12-16T20:44:05.799" v="1574"/>
          <ac:spMkLst>
            <pc:docMk/>
            <pc:sldMk cId="1618758624" sldId="504"/>
            <ac:spMk id="9" creationId="{5854C508-D203-4A9C-8362-F50B4274F45E}"/>
          </ac:spMkLst>
        </pc:spChg>
        <pc:spChg chg="add del mod">
          <ac:chgData name="Manish Sharma" userId="97d895ad-8d7a-4884-8c18-743afd731b6f" providerId="ADAL" clId="{19B291BF-5110-451B-9F49-5287458FEFEA}" dt="2020-12-01T23:42:14.787" v="584" actId="478"/>
          <ac:spMkLst>
            <pc:docMk/>
            <pc:sldMk cId="1618758624" sldId="504"/>
            <ac:spMk id="9" creationId="{DBC6639D-DB07-4299-8CD8-A0BBE47B6D6F}"/>
          </ac:spMkLst>
        </pc:spChg>
        <pc:spChg chg="add mod">
          <ac:chgData name="Manish Sharma" userId="97d895ad-8d7a-4884-8c18-743afd731b6f" providerId="ADAL" clId="{19B291BF-5110-451B-9F49-5287458FEFEA}" dt="2020-12-16T19:23:04.409" v="1499"/>
          <ac:spMkLst>
            <pc:docMk/>
            <pc:sldMk cId="1618758624" sldId="504"/>
            <ac:spMk id="11" creationId="{CA5BF84C-1ED3-44EC-BFC6-239FBAB373B8}"/>
          </ac:spMkLst>
        </pc:spChg>
      </pc:sldChg>
      <pc:sldChg chg="addSp delSp modSp add mod">
        <pc:chgData name="Manish Sharma" userId="97d895ad-8d7a-4884-8c18-743afd731b6f" providerId="ADAL" clId="{19B291BF-5110-451B-9F49-5287458FEFEA}" dt="2020-12-16T20:44:00.065" v="1572"/>
        <pc:sldMkLst>
          <pc:docMk/>
          <pc:sldMk cId="1190348094" sldId="505"/>
        </pc:sldMkLst>
        <pc:spChg chg="add mod">
          <ac:chgData name="Manish Sharma" userId="97d895ad-8d7a-4884-8c18-743afd731b6f" providerId="ADAL" clId="{19B291BF-5110-451B-9F49-5287458FEFEA}" dt="2020-12-16T19:22:48.936" v="1498" actId="20577"/>
          <ac:spMkLst>
            <pc:docMk/>
            <pc:sldMk cId="1190348094" sldId="505"/>
            <ac:spMk id="7" creationId="{CA10F29C-3FDB-4413-A75D-AE918BF41174}"/>
          </ac:spMkLst>
        </pc:spChg>
        <pc:spChg chg="add del mod">
          <ac:chgData name="Manish Sharma" userId="97d895ad-8d7a-4884-8c18-743afd731b6f" providerId="ADAL" clId="{19B291BF-5110-451B-9F49-5287458FEFEA}" dt="2020-12-16T19:22:42.044" v="1496" actId="478"/>
          <ac:spMkLst>
            <pc:docMk/>
            <pc:sldMk cId="1190348094" sldId="505"/>
            <ac:spMk id="9" creationId="{46052A2A-2D98-40C4-8322-14C4FBF491CB}"/>
          </ac:spMkLst>
        </pc:spChg>
        <pc:spChg chg="add mod">
          <ac:chgData name="Manish Sharma" userId="97d895ad-8d7a-4884-8c18-743afd731b6f" providerId="ADAL" clId="{19B291BF-5110-451B-9F49-5287458FEFEA}" dt="2020-12-16T20:44:00.065" v="1572"/>
          <ac:spMkLst>
            <pc:docMk/>
            <pc:sldMk cId="1190348094" sldId="505"/>
            <ac:spMk id="9" creationId="{9607441B-22F5-45ED-B13B-A5F721DDEFEC}"/>
          </ac:spMkLst>
        </pc:spChg>
      </pc:sldChg>
      <pc:sldChg chg="del">
        <pc:chgData name="Manish Sharma" userId="97d895ad-8d7a-4884-8c18-743afd731b6f" providerId="ADAL" clId="{19B291BF-5110-451B-9F49-5287458FEFEA}" dt="2020-12-01T23:39:45.923" v="493" actId="18676"/>
        <pc:sldMkLst>
          <pc:docMk/>
          <pc:sldMk cId="3744032214" sldId="515"/>
        </pc:sldMkLst>
      </pc:sldChg>
      <pc:sldChg chg="del">
        <pc:chgData name="Manish Sharma" userId="97d895ad-8d7a-4884-8c18-743afd731b6f" providerId="ADAL" clId="{19B291BF-5110-451B-9F49-5287458FEFEA}" dt="2020-12-01T23:39:45.923" v="493" actId="18676"/>
        <pc:sldMkLst>
          <pc:docMk/>
          <pc:sldMk cId="3136490012" sldId="516"/>
        </pc:sldMkLst>
      </pc:sldChg>
      <pc:sldChg chg="del">
        <pc:chgData name="Manish Sharma" userId="97d895ad-8d7a-4884-8c18-743afd731b6f" providerId="ADAL" clId="{19B291BF-5110-451B-9F49-5287458FEFEA}" dt="2020-12-01T23:39:45.923" v="493" actId="18676"/>
        <pc:sldMkLst>
          <pc:docMk/>
          <pc:sldMk cId="4175953297" sldId="517"/>
        </pc:sldMkLst>
      </pc:sldChg>
      <pc:sldChg chg="del">
        <pc:chgData name="Manish Sharma" userId="97d895ad-8d7a-4884-8c18-743afd731b6f" providerId="ADAL" clId="{19B291BF-5110-451B-9F49-5287458FEFEA}" dt="2020-12-01T23:39:45.923" v="493" actId="18676"/>
        <pc:sldMkLst>
          <pc:docMk/>
          <pc:sldMk cId="3550771503" sldId="519"/>
        </pc:sldMkLst>
      </pc:sldChg>
      <pc:sldChg chg="del">
        <pc:chgData name="Manish Sharma" userId="97d895ad-8d7a-4884-8c18-743afd731b6f" providerId="ADAL" clId="{19B291BF-5110-451B-9F49-5287458FEFEA}" dt="2020-12-01T23:39:45.923" v="493" actId="18676"/>
        <pc:sldMkLst>
          <pc:docMk/>
          <pc:sldMk cId="518674020" sldId="520"/>
        </pc:sldMkLst>
      </pc:sldChg>
      <pc:sldChg chg="addSp delSp modSp mod modClrScheme chgLayout">
        <pc:chgData name="Manish Sharma" userId="97d895ad-8d7a-4884-8c18-743afd731b6f" providerId="ADAL" clId="{19B291BF-5110-451B-9F49-5287458FEFEA}" dt="2021-01-13T16:56:52.561" v="4038" actId="20578"/>
        <pc:sldMkLst>
          <pc:docMk/>
          <pc:sldMk cId="1691118265" sldId="524"/>
        </pc:sldMkLst>
        <pc:spChg chg="add mod">
          <ac:chgData name="Manish Sharma" userId="97d895ad-8d7a-4884-8c18-743afd731b6f" providerId="ADAL" clId="{19B291BF-5110-451B-9F49-5287458FEFEA}" dt="2021-01-13T15:00:48.454" v="4031"/>
          <ac:spMkLst>
            <pc:docMk/>
            <pc:sldMk cId="1691118265" sldId="524"/>
            <ac:spMk id="10" creationId="{2BF96B0C-AE7C-40D4-9B0F-D00660686B31}"/>
          </ac:spMkLst>
        </pc:spChg>
        <pc:spChg chg="del">
          <ac:chgData name="Manish Sharma" userId="97d895ad-8d7a-4884-8c18-743afd731b6f" providerId="ADAL" clId="{19B291BF-5110-451B-9F49-5287458FEFEA}" dt="2021-01-12T20:58:22.810" v="3719" actId="478"/>
          <ac:spMkLst>
            <pc:docMk/>
            <pc:sldMk cId="1691118265" sldId="524"/>
            <ac:spMk id="10" creationId="{9F095EDC-63B9-475A-83C6-056997846135}"/>
          </ac:spMkLst>
        </pc:spChg>
        <pc:spChg chg="add del mod">
          <ac:chgData name="Manish Sharma" userId="97d895ad-8d7a-4884-8c18-743afd731b6f" providerId="ADAL" clId="{19B291BF-5110-451B-9F49-5287458FEFEA}" dt="2020-12-08T14:41:45.878" v="655"/>
          <ac:spMkLst>
            <pc:docMk/>
            <pc:sldMk cId="1691118265" sldId="524"/>
            <ac:spMk id="10" creationId="{D49A2886-D64F-44FE-BEF5-CE3C6D222E67}"/>
          </ac:spMkLst>
        </pc:spChg>
        <pc:spChg chg="add del mod">
          <ac:chgData name="Manish Sharma" userId="97d895ad-8d7a-4884-8c18-743afd731b6f" providerId="ADAL" clId="{19B291BF-5110-451B-9F49-5287458FEFEA}" dt="2020-12-21T02:06:47.601" v="1694" actId="478"/>
          <ac:spMkLst>
            <pc:docMk/>
            <pc:sldMk cId="1691118265" sldId="524"/>
            <ac:spMk id="11" creationId="{E9B8E99A-FAA5-4C51-84C4-5C4BD2B817B4}"/>
          </ac:spMkLst>
        </pc:spChg>
        <pc:spChg chg="add del mod">
          <ac:chgData name="Manish Sharma" userId="97d895ad-8d7a-4884-8c18-743afd731b6f" providerId="ADAL" clId="{19B291BF-5110-451B-9F49-5287458FEFEA}" dt="2020-12-08T14:44:41.108" v="669" actId="478"/>
          <ac:spMkLst>
            <pc:docMk/>
            <pc:sldMk cId="1691118265" sldId="524"/>
            <ac:spMk id="11" creationId="{F3DAE613-BD9A-46D0-96CF-694D1A5F272F}"/>
          </ac:spMkLst>
        </pc:spChg>
        <pc:spChg chg="del mod">
          <ac:chgData name="Manish Sharma" userId="97d895ad-8d7a-4884-8c18-743afd731b6f" providerId="ADAL" clId="{19B291BF-5110-451B-9F49-5287458FEFEA}" dt="2020-12-16T20:19:25.462" v="1517" actId="478"/>
          <ac:spMkLst>
            <pc:docMk/>
            <pc:sldMk cId="1691118265" sldId="524"/>
            <ac:spMk id="12" creationId="{94E8B28D-E870-44F3-8810-72116EA7E81B}"/>
          </ac:spMkLst>
        </pc:spChg>
        <pc:spChg chg="add del mod">
          <ac:chgData name="Manish Sharma" userId="97d895ad-8d7a-4884-8c18-743afd731b6f" providerId="ADAL" clId="{19B291BF-5110-451B-9F49-5287458FEFEA}" dt="2020-12-08T14:46:54.914" v="693" actId="478"/>
          <ac:spMkLst>
            <pc:docMk/>
            <pc:sldMk cId="1691118265" sldId="524"/>
            <ac:spMk id="13" creationId="{FA5A5D4E-2B36-4E29-B60B-B381CCCF33D1}"/>
          </ac:spMkLst>
        </pc:spChg>
        <pc:spChg chg="mod">
          <ac:chgData name="Manish Sharma" userId="97d895ad-8d7a-4884-8c18-743afd731b6f" providerId="ADAL" clId="{19B291BF-5110-451B-9F49-5287458FEFEA}" dt="2021-01-13T16:56:52.561" v="4038" actId="20578"/>
          <ac:spMkLst>
            <pc:docMk/>
            <pc:sldMk cId="1691118265" sldId="524"/>
            <ac:spMk id="14" creationId="{C1C0AD37-CCF3-468A-98B5-F34CF1C88E45}"/>
          </ac:spMkLst>
        </pc:spChg>
        <pc:spChg chg="add del mod">
          <ac:chgData name="Manish Sharma" userId="97d895ad-8d7a-4884-8c18-743afd731b6f" providerId="ADAL" clId="{19B291BF-5110-451B-9F49-5287458FEFEA}" dt="2020-12-08T14:48:49.147" v="706" actId="478"/>
          <ac:spMkLst>
            <pc:docMk/>
            <pc:sldMk cId="1691118265" sldId="524"/>
            <ac:spMk id="15" creationId="{3B5CA25A-613D-4D83-95D0-A9FE0730E9E4}"/>
          </ac:spMkLst>
        </pc:spChg>
        <pc:spChg chg="add mod">
          <ac:chgData name="Manish Sharma" userId="97d895ad-8d7a-4884-8c18-743afd731b6f" providerId="ADAL" clId="{19B291BF-5110-451B-9F49-5287458FEFEA}" dt="2021-01-04T21:38:43.833" v="3095" actId="20577"/>
          <ac:spMkLst>
            <pc:docMk/>
            <pc:sldMk cId="1691118265" sldId="524"/>
            <ac:spMk id="16" creationId="{6B0F3529-D812-4B77-8109-49759024D19A}"/>
          </ac:spMkLst>
        </pc:spChg>
        <pc:spChg chg="add mod">
          <ac:chgData name="Manish Sharma" userId="97d895ad-8d7a-4884-8c18-743afd731b6f" providerId="ADAL" clId="{19B291BF-5110-451B-9F49-5287458FEFEA}" dt="2021-01-04T21:37:46.828" v="3084" actId="692"/>
          <ac:spMkLst>
            <pc:docMk/>
            <pc:sldMk cId="1691118265" sldId="524"/>
            <ac:spMk id="17" creationId="{E0885982-6F6C-4336-BF1B-C4CB8B4470C0}"/>
          </ac:spMkLst>
        </pc:spChg>
        <pc:spChg chg="mod ord">
          <ac:chgData name="Manish Sharma" userId="97d895ad-8d7a-4884-8c18-743afd731b6f" providerId="ADAL" clId="{19B291BF-5110-451B-9F49-5287458FEFEA}" dt="2021-01-13T00:44:32.344" v="4023" actId="13926"/>
          <ac:spMkLst>
            <pc:docMk/>
            <pc:sldMk cId="1691118265" sldId="524"/>
            <ac:spMk id="18" creationId="{AEFE1B7A-8C89-49E9-99B9-C28FF04F35A2}"/>
          </ac:spMkLst>
        </pc:spChg>
      </pc:sldChg>
      <pc:sldChg chg="modSp add mod ord">
        <pc:chgData name="Manish Sharma" userId="97d895ad-8d7a-4884-8c18-743afd731b6f" providerId="ADAL" clId="{19B291BF-5110-451B-9F49-5287458FEFEA}" dt="2021-01-06T19:51:47.118" v="3228" actId="20577"/>
        <pc:sldMkLst>
          <pc:docMk/>
          <pc:sldMk cId="2264986902" sldId="542"/>
        </pc:sldMkLst>
        <pc:graphicFrameChg chg="modGraphic">
          <ac:chgData name="Manish Sharma" userId="97d895ad-8d7a-4884-8c18-743afd731b6f" providerId="ADAL" clId="{19B291BF-5110-451B-9F49-5287458FEFEA}" dt="2021-01-06T19:51:47.118" v="3228" actId="20577"/>
          <ac:graphicFrameMkLst>
            <pc:docMk/>
            <pc:sldMk cId="2264986902" sldId="542"/>
            <ac:graphicFrameMk id="26" creationId="{40995E85-CF80-4FF4-853C-77A2FD40977D}"/>
          </ac:graphicFrameMkLst>
        </pc:graphicFrameChg>
      </pc:sldChg>
      <pc:sldChg chg="add">
        <pc:chgData name="Manish Sharma" userId="97d895ad-8d7a-4884-8c18-743afd731b6f" providerId="ADAL" clId="{19B291BF-5110-451B-9F49-5287458FEFEA}" dt="2020-12-08T22:19:23.899" v="1159"/>
        <pc:sldMkLst>
          <pc:docMk/>
          <pc:sldMk cId="429389162" sldId="543"/>
        </pc:sldMkLst>
      </pc:sldChg>
      <pc:sldChg chg="add">
        <pc:chgData name="Manish Sharma" userId="97d895ad-8d7a-4884-8c18-743afd731b6f" providerId="ADAL" clId="{19B291BF-5110-451B-9F49-5287458FEFEA}" dt="2020-12-08T22:19:23.899" v="1159"/>
        <pc:sldMkLst>
          <pc:docMk/>
          <pc:sldMk cId="629517220" sldId="544"/>
        </pc:sldMkLst>
      </pc:sldChg>
      <pc:sldChg chg="modSp del mod">
        <pc:chgData name="Manish Sharma" userId="97d895ad-8d7a-4884-8c18-743afd731b6f" providerId="ADAL" clId="{19B291BF-5110-451B-9F49-5287458FEFEA}" dt="2020-12-08T22:26:20.485" v="1264" actId="47"/>
        <pc:sldMkLst>
          <pc:docMk/>
          <pc:sldMk cId="1594510925" sldId="547"/>
        </pc:sldMkLst>
        <pc:spChg chg="mod">
          <ac:chgData name="Manish Sharma" userId="97d895ad-8d7a-4884-8c18-743afd731b6f" providerId="ADAL" clId="{19B291BF-5110-451B-9F49-5287458FEFEA}" dt="2020-12-01T23:39:22.632" v="492" actId="20577"/>
          <ac:spMkLst>
            <pc:docMk/>
            <pc:sldMk cId="1594510925" sldId="547"/>
            <ac:spMk id="3" creationId="{F3F0F3C1-61E5-4AFB-A5D4-02BC32B7CD88}"/>
          </ac:spMkLst>
        </pc:spChg>
        <pc:spChg chg="mod">
          <ac:chgData name="Manish Sharma" userId="97d895ad-8d7a-4884-8c18-743afd731b6f" providerId="ADAL" clId="{19B291BF-5110-451B-9F49-5287458FEFEA}" dt="2020-12-01T23:39:17.623" v="486" actId="20577"/>
          <ac:spMkLst>
            <pc:docMk/>
            <pc:sldMk cId="1594510925" sldId="547"/>
            <ac:spMk id="20" creationId="{00000000-0000-0000-0000-000000000000}"/>
          </ac:spMkLst>
        </pc:spChg>
      </pc:sldChg>
      <pc:sldChg chg="del">
        <pc:chgData name="Manish Sharma" userId="97d895ad-8d7a-4884-8c18-743afd731b6f" providerId="ADAL" clId="{19B291BF-5110-451B-9F49-5287458FEFEA}" dt="2020-12-01T23:39:45.923" v="493" actId="18676"/>
        <pc:sldMkLst>
          <pc:docMk/>
          <pc:sldMk cId="3030357612" sldId="548"/>
        </pc:sldMkLst>
      </pc:sldChg>
      <pc:sldChg chg="addSp delSp modSp mod ord">
        <pc:chgData name="Manish Sharma" userId="97d895ad-8d7a-4884-8c18-743afd731b6f" providerId="ADAL" clId="{19B291BF-5110-451B-9F49-5287458FEFEA}" dt="2021-01-13T15:00:59.931" v="4035"/>
        <pc:sldMkLst>
          <pc:docMk/>
          <pc:sldMk cId="395464561" sldId="549"/>
        </pc:sldMkLst>
        <pc:spChg chg="del mod">
          <ac:chgData name="Manish Sharma" userId="97d895ad-8d7a-4884-8c18-743afd731b6f" providerId="ADAL" clId="{19B291BF-5110-451B-9F49-5287458FEFEA}" dt="2020-12-08T22:20:10.560" v="1174" actId="478"/>
          <ac:spMkLst>
            <pc:docMk/>
            <pc:sldMk cId="395464561" sldId="549"/>
            <ac:spMk id="2" creationId="{000F93BD-1633-45C3-B844-70B135096D8F}"/>
          </ac:spMkLst>
        </pc:spChg>
        <pc:spChg chg="del">
          <ac:chgData name="Manish Sharma" userId="97d895ad-8d7a-4884-8c18-743afd731b6f" providerId="ADAL" clId="{19B291BF-5110-451B-9F49-5287458FEFEA}" dt="2020-12-08T22:19:52.903" v="1165" actId="478"/>
          <ac:spMkLst>
            <pc:docMk/>
            <pc:sldMk cId="395464561" sldId="549"/>
            <ac:spMk id="3" creationId="{F3F0F3C1-61E5-4AFB-A5D4-02BC32B7CD88}"/>
          </ac:spMkLst>
        </pc:spChg>
        <pc:spChg chg="add mod">
          <ac:chgData name="Manish Sharma" userId="97d895ad-8d7a-4884-8c18-743afd731b6f" providerId="ADAL" clId="{19B291BF-5110-451B-9F49-5287458FEFEA}" dt="2021-01-13T15:00:59.931" v="4035"/>
          <ac:spMkLst>
            <pc:docMk/>
            <pc:sldMk cId="395464561" sldId="549"/>
            <ac:spMk id="8" creationId="{1B5EDB10-B144-4C63-A5FB-A2F6D24875CF}"/>
          </ac:spMkLst>
        </pc:spChg>
        <pc:spChg chg="mod">
          <ac:chgData name="Manish Sharma" userId="97d895ad-8d7a-4884-8c18-743afd731b6f" providerId="ADAL" clId="{19B291BF-5110-451B-9F49-5287458FEFEA}" dt="2020-12-09T00:41:54.025" v="1352" actId="6549"/>
          <ac:spMkLst>
            <pc:docMk/>
            <pc:sldMk cId="395464561" sldId="549"/>
            <ac:spMk id="10" creationId="{00000000-0000-0000-0000-000000000000}"/>
          </ac:spMkLst>
        </pc:spChg>
        <pc:spChg chg="mod">
          <ac:chgData name="Manish Sharma" userId="97d895ad-8d7a-4884-8c18-743afd731b6f" providerId="ADAL" clId="{19B291BF-5110-451B-9F49-5287458FEFEA}" dt="2020-12-09T00:42:01.073" v="1369" actId="1035"/>
          <ac:spMkLst>
            <pc:docMk/>
            <pc:sldMk cId="395464561" sldId="549"/>
            <ac:spMk id="12" creationId="{00000000-0000-0000-0000-000000000000}"/>
          </ac:spMkLst>
        </pc:spChg>
        <pc:spChg chg="mod">
          <ac:chgData name="Manish Sharma" userId="97d895ad-8d7a-4884-8c18-743afd731b6f" providerId="ADAL" clId="{19B291BF-5110-451B-9F49-5287458FEFEA}" dt="2020-12-08T22:19:41.417" v="1160" actId="21"/>
          <ac:spMkLst>
            <pc:docMk/>
            <pc:sldMk cId="395464561" sldId="549"/>
            <ac:spMk id="20" creationId="{00000000-0000-0000-0000-000000000000}"/>
          </ac:spMkLst>
        </pc:spChg>
        <pc:grpChg chg="add mod">
          <ac:chgData name="Manish Sharma" userId="97d895ad-8d7a-4884-8c18-743afd731b6f" providerId="ADAL" clId="{19B291BF-5110-451B-9F49-5287458FEFEA}" dt="2020-12-09T00:42:01.073" v="1369" actId="1035"/>
          <ac:grpSpMkLst>
            <pc:docMk/>
            <pc:sldMk cId="395464561" sldId="549"/>
            <ac:grpSpMk id="4" creationId="{799663EF-C321-40A8-9C46-190794F63765}"/>
          </ac:grpSpMkLst>
        </pc:grpChg>
        <pc:picChg chg="mod">
          <ac:chgData name="Manish Sharma" userId="97d895ad-8d7a-4884-8c18-743afd731b6f" providerId="ADAL" clId="{19B291BF-5110-451B-9F49-5287458FEFEA}" dt="2020-12-09T00:42:01.073" v="1369" actId="1035"/>
          <ac:picMkLst>
            <pc:docMk/>
            <pc:sldMk cId="395464561" sldId="549"/>
            <ac:picMk id="11" creationId="{00000000-0000-0000-0000-000000000000}"/>
          </ac:picMkLst>
        </pc:picChg>
      </pc:sldChg>
      <pc:sldChg chg="addSp modSp mod modClrScheme chgLayout">
        <pc:chgData name="Manish Sharma" userId="97d895ad-8d7a-4884-8c18-743afd731b6f" providerId="ADAL" clId="{19B291BF-5110-451B-9F49-5287458FEFEA}" dt="2021-01-13T15:01:05.451" v="4037"/>
        <pc:sldMkLst>
          <pc:docMk/>
          <pc:sldMk cId="1000069384" sldId="550"/>
        </pc:sldMkLst>
        <pc:spChg chg="mod">
          <ac:chgData name="Manish Sharma" userId="97d895ad-8d7a-4884-8c18-743afd731b6f" providerId="ADAL" clId="{19B291BF-5110-451B-9F49-5287458FEFEA}" dt="2020-12-09T00:42:28.494" v="1381" actId="20577"/>
          <ac:spMkLst>
            <pc:docMk/>
            <pc:sldMk cId="1000069384" sldId="550"/>
            <ac:spMk id="3" creationId="{F3F0F3C1-61E5-4AFB-A5D4-02BC32B7CD88}"/>
          </ac:spMkLst>
        </pc:spChg>
        <pc:spChg chg="mod ord">
          <ac:chgData name="Manish Sharma" userId="97d895ad-8d7a-4884-8c18-743afd731b6f" providerId="ADAL" clId="{19B291BF-5110-451B-9F49-5287458FEFEA}" dt="2021-01-13T00:34:22.360" v="3945" actId="700"/>
          <ac:spMkLst>
            <pc:docMk/>
            <pc:sldMk cId="1000069384" sldId="550"/>
            <ac:spMk id="9" creationId="{00000000-0000-0000-0000-000000000000}"/>
          </ac:spMkLst>
        </pc:spChg>
        <pc:spChg chg="add mod">
          <ac:chgData name="Manish Sharma" userId="97d895ad-8d7a-4884-8c18-743afd731b6f" providerId="ADAL" clId="{19B291BF-5110-451B-9F49-5287458FEFEA}" dt="2021-01-13T15:01:05.451" v="4037"/>
          <ac:spMkLst>
            <pc:docMk/>
            <pc:sldMk cId="1000069384" sldId="550"/>
            <ac:spMk id="13" creationId="{EB0C7990-EC8C-4BB3-B8D0-CFF11E705DCC}"/>
          </ac:spMkLst>
        </pc:spChg>
      </pc:sldChg>
      <pc:sldChg chg="addSp delSp modSp mod">
        <pc:chgData name="Manish Sharma" userId="97d895ad-8d7a-4884-8c18-743afd731b6f" providerId="ADAL" clId="{19B291BF-5110-451B-9F49-5287458FEFEA}" dt="2020-12-16T20:43:50.612" v="1569"/>
        <pc:sldMkLst>
          <pc:docMk/>
          <pc:sldMk cId="2652568716" sldId="551"/>
        </pc:sldMkLst>
        <pc:spChg chg="add mod">
          <ac:chgData name="Manish Sharma" userId="97d895ad-8d7a-4884-8c18-743afd731b6f" providerId="ADAL" clId="{19B291BF-5110-451B-9F49-5287458FEFEA}" dt="2020-12-16T20:43:50.612" v="1569"/>
          <ac:spMkLst>
            <pc:docMk/>
            <pc:sldMk cId="2652568716" sldId="551"/>
            <ac:spMk id="13" creationId="{41120FBE-C27F-4700-BB45-8C37FC684629}"/>
          </ac:spMkLst>
        </pc:spChg>
        <pc:spChg chg="add del mod">
          <ac:chgData name="Manish Sharma" userId="97d895ad-8d7a-4884-8c18-743afd731b6f" providerId="ADAL" clId="{19B291BF-5110-451B-9F49-5287458FEFEA}" dt="2020-12-16T19:22:24.673" v="1490" actId="478"/>
          <ac:spMkLst>
            <pc:docMk/>
            <pc:sldMk cId="2652568716" sldId="551"/>
            <ac:spMk id="13" creationId="{EDF5B49C-253B-4085-87BB-FED2815C39D9}"/>
          </ac:spMkLst>
        </pc:spChg>
        <pc:spChg chg="add del mod">
          <ac:chgData name="Manish Sharma" userId="97d895ad-8d7a-4884-8c18-743afd731b6f" providerId="ADAL" clId="{19B291BF-5110-451B-9F49-5287458FEFEA}" dt="2020-12-16T20:43:50.276" v="1568" actId="478"/>
          <ac:spMkLst>
            <pc:docMk/>
            <pc:sldMk cId="2652568716" sldId="551"/>
            <ac:spMk id="17" creationId="{4FF2355A-BC01-4151-9227-B6855A05539F}"/>
          </ac:spMkLst>
        </pc:spChg>
      </pc:sldChg>
      <pc:sldChg chg="del">
        <pc:chgData name="Manish Sharma" userId="97d895ad-8d7a-4884-8c18-743afd731b6f" providerId="ADAL" clId="{19B291BF-5110-451B-9F49-5287458FEFEA}" dt="2020-12-01T23:39:45.923" v="493" actId="18676"/>
        <pc:sldMkLst>
          <pc:docMk/>
          <pc:sldMk cId="2789353353" sldId="554"/>
        </pc:sldMkLst>
      </pc:sldChg>
      <pc:sldChg chg="addSp delSp modSp mod">
        <pc:chgData name="Manish Sharma" userId="97d895ad-8d7a-4884-8c18-743afd731b6f" providerId="ADAL" clId="{19B291BF-5110-451B-9F49-5287458FEFEA}" dt="2021-01-04T18:51:25.274" v="2718" actId="14100"/>
        <pc:sldMkLst>
          <pc:docMk/>
          <pc:sldMk cId="525587053" sldId="555"/>
        </pc:sldMkLst>
        <pc:spChg chg="mod">
          <ac:chgData name="Manish Sharma" userId="97d895ad-8d7a-4884-8c18-743afd731b6f" providerId="ADAL" clId="{19B291BF-5110-451B-9F49-5287458FEFEA}" dt="2020-12-08T20:05:12.334" v="1132" actId="20577"/>
          <ac:spMkLst>
            <pc:docMk/>
            <pc:sldMk cId="525587053" sldId="555"/>
            <ac:spMk id="2" creationId="{D7073CB2-7FD1-40A1-9055-EA6F6837AD43}"/>
          </ac:spMkLst>
        </pc:spChg>
        <pc:spChg chg="del">
          <ac:chgData name="Manish Sharma" userId="97d895ad-8d7a-4884-8c18-743afd731b6f" providerId="ADAL" clId="{19B291BF-5110-451B-9F49-5287458FEFEA}" dt="2020-12-01T23:23:07.960" v="339" actId="478"/>
          <ac:spMkLst>
            <pc:docMk/>
            <pc:sldMk cId="525587053" sldId="555"/>
            <ac:spMk id="23" creationId="{05BC968A-86B4-4D68-BBE0-5C43E6000C60}"/>
          </ac:spMkLst>
        </pc:spChg>
        <pc:spChg chg="del mod">
          <ac:chgData name="Manish Sharma" userId="97d895ad-8d7a-4884-8c18-743afd731b6f" providerId="ADAL" clId="{19B291BF-5110-451B-9F49-5287458FEFEA}" dt="2021-01-04T18:50:25.710" v="2713" actId="478"/>
          <ac:spMkLst>
            <pc:docMk/>
            <pc:sldMk cId="525587053" sldId="555"/>
            <ac:spMk id="25" creationId="{822CB3C9-19F1-48FD-B87F-0FE3265E0570}"/>
          </ac:spMkLst>
        </pc:spChg>
        <pc:spChg chg="add del mod">
          <ac:chgData name="Manish Sharma" userId="97d895ad-8d7a-4884-8c18-743afd731b6f" providerId="ADAL" clId="{19B291BF-5110-451B-9F49-5287458FEFEA}" dt="2020-12-01T23:22:53.172" v="338" actId="478"/>
          <ac:spMkLst>
            <pc:docMk/>
            <pc:sldMk cId="525587053" sldId="555"/>
            <ac:spMk id="26" creationId="{6CE5A14A-F166-41D8-A2BC-427F01A7EF01}"/>
          </ac:spMkLst>
        </pc:spChg>
        <pc:spChg chg="add mod">
          <ac:chgData name="Manish Sharma" userId="97d895ad-8d7a-4884-8c18-743afd731b6f" providerId="ADAL" clId="{19B291BF-5110-451B-9F49-5287458FEFEA}" dt="2020-12-16T20:19:53.582" v="1520" actId="1076"/>
          <ac:spMkLst>
            <pc:docMk/>
            <pc:sldMk cId="525587053" sldId="555"/>
            <ac:spMk id="26" creationId="{BA6CA995-52CD-4A3C-8300-F69AA026EB19}"/>
          </ac:spMkLst>
        </pc:spChg>
        <pc:spChg chg="add del mod">
          <ac:chgData name="Manish Sharma" userId="97d895ad-8d7a-4884-8c18-743afd731b6f" providerId="ADAL" clId="{19B291BF-5110-451B-9F49-5287458FEFEA}" dt="2020-12-16T20:19:15.333" v="1515" actId="478"/>
          <ac:spMkLst>
            <pc:docMk/>
            <pc:sldMk cId="525587053" sldId="555"/>
            <ac:spMk id="27" creationId="{BAD703B3-33CD-4645-AFB6-B8B4806C513D}"/>
          </ac:spMkLst>
        </pc:spChg>
        <pc:graphicFrameChg chg="mod modGraphic">
          <ac:chgData name="Manish Sharma" userId="97d895ad-8d7a-4884-8c18-743afd731b6f" providerId="ADAL" clId="{19B291BF-5110-451B-9F49-5287458FEFEA}" dt="2021-01-04T18:51:25.274" v="2718" actId="14100"/>
          <ac:graphicFrameMkLst>
            <pc:docMk/>
            <pc:sldMk cId="525587053" sldId="555"/>
            <ac:graphicFrameMk id="28" creationId="{994870E9-25EF-4A43-B1A1-38CC6A36FD4D}"/>
          </ac:graphicFrameMkLst>
        </pc:graphicFrameChg>
      </pc:sldChg>
      <pc:sldChg chg="del">
        <pc:chgData name="Manish Sharma" userId="97d895ad-8d7a-4884-8c18-743afd731b6f" providerId="ADAL" clId="{19B291BF-5110-451B-9F49-5287458FEFEA}" dt="2020-12-01T23:39:45.923" v="493" actId="18676"/>
        <pc:sldMkLst>
          <pc:docMk/>
          <pc:sldMk cId="1226319713" sldId="556"/>
        </pc:sldMkLst>
      </pc:sldChg>
      <pc:sldChg chg="del">
        <pc:chgData name="Manish Sharma" userId="97d895ad-8d7a-4884-8c18-743afd731b6f" providerId="ADAL" clId="{19B291BF-5110-451B-9F49-5287458FEFEA}" dt="2020-12-01T23:39:45.923" v="493" actId="18676"/>
        <pc:sldMkLst>
          <pc:docMk/>
          <pc:sldMk cId="2682736769" sldId="557"/>
        </pc:sldMkLst>
      </pc:sldChg>
      <pc:sldChg chg="del">
        <pc:chgData name="Manish Sharma" userId="97d895ad-8d7a-4884-8c18-743afd731b6f" providerId="ADAL" clId="{19B291BF-5110-451B-9F49-5287458FEFEA}" dt="2020-12-01T23:39:45.923" v="493" actId="18676"/>
        <pc:sldMkLst>
          <pc:docMk/>
          <pc:sldMk cId="1062105208" sldId="558"/>
        </pc:sldMkLst>
      </pc:sldChg>
      <pc:sldChg chg="del">
        <pc:chgData name="Manish Sharma" userId="97d895ad-8d7a-4884-8c18-743afd731b6f" providerId="ADAL" clId="{19B291BF-5110-451B-9F49-5287458FEFEA}" dt="2020-12-01T23:39:45.923" v="493" actId="18676"/>
        <pc:sldMkLst>
          <pc:docMk/>
          <pc:sldMk cId="4223293441" sldId="559"/>
        </pc:sldMkLst>
      </pc:sldChg>
      <pc:sldChg chg="del">
        <pc:chgData name="Manish Sharma" userId="97d895ad-8d7a-4884-8c18-743afd731b6f" providerId="ADAL" clId="{19B291BF-5110-451B-9F49-5287458FEFEA}" dt="2020-12-01T23:39:45.923" v="493" actId="18676"/>
        <pc:sldMkLst>
          <pc:docMk/>
          <pc:sldMk cId="2431676341" sldId="560"/>
        </pc:sldMkLst>
      </pc:sldChg>
      <pc:sldChg chg="addSp delSp modSp mod">
        <pc:chgData name="Manish Sharma" userId="97d895ad-8d7a-4884-8c18-743afd731b6f" providerId="ADAL" clId="{19B291BF-5110-451B-9F49-5287458FEFEA}" dt="2021-01-12T23:57:34.735" v="3784" actId="6549"/>
        <pc:sldMkLst>
          <pc:docMk/>
          <pc:sldMk cId="3621644946" sldId="561"/>
        </pc:sldMkLst>
        <pc:spChg chg="mod">
          <ac:chgData name="Manish Sharma" userId="97d895ad-8d7a-4884-8c18-743afd731b6f" providerId="ADAL" clId="{19B291BF-5110-451B-9F49-5287458FEFEA}" dt="2020-12-08T20:06:57.845" v="1154" actId="20577"/>
          <ac:spMkLst>
            <pc:docMk/>
            <pc:sldMk cId="3621644946" sldId="561"/>
            <ac:spMk id="2" creationId="{00000000-0000-0000-0000-000000000000}"/>
          </ac:spMkLst>
        </pc:spChg>
        <pc:spChg chg="add del mod">
          <ac:chgData name="Manish Sharma" userId="97d895ad-8d7a-4884-8c18-743afd731b6f" providerId="ADAL" clId="{19B291BF-5110-451B-9F49-5287458FEFEA}" dt="2020-12-16T19:22:21.285" v="1488" actId="478"/>
          <ac:spMkLst>
            <pc:docMk/>
            <pc:sldMk cId="3621644946" sldId="561"/>
            <ac:spMk id="9" creationId="{13A84134-7944-4FA5-839F-D3851919DD1E}"/>
          </ac:spMkLst>
        </pc:spChg>
        <pc:spChg chg="add del mod">
          <ac:chgData name="Manish Sharma" userId="97d895ad-8d7a-4884-8c18-743afd731b6f" providerId="ADAL" clId="{19B291BF-5110-451B-9F49-5287458FEFEA}" dt="2020-12-16T20:43:46.556" v="1566" actId="478"/>
          <ac:spMkLst>
            <pc:docMk/>
            <pc:sldMk cId="3621644946" sldId="561"/>
            <ac:spMk id="13" creationId="{AC075CC3-FF1F-4ECE-BBAF-ABB3EEA2FF55}"/>
          </ac:spMkLst>
        </pc:spChg>
        <pc:spChg chg="add mod">
          <ac:chgData name="Manish Sharma" userId="97d895ad-8d7a-4884-8c18-743afd731b6f" providerId="ADAL" clId="{19B291BF-5110-451B-9F49-5287458FEFEA}" dt="2020-12-16T20:43:46.878" v="1567"/>
          <ac:spMkLst>
            <pc:docMk/>
            <pc:sldMk cId="3621644946" sldId="561"/>
            <ac:spMk id="17" creationId="{D1BB23B4-B0E7-4C34-B0C9-84406626F238}"/>
          </ac:spMkLst>
        </pc:spChg>
        <pc:graphicFrameChg chg="mod modGraphic">
          <ac:chgData name="Manish Sharma" userId="97d895ad-8d7a-4884-8c18-743afd731b6f" providerId="ADAL" clId="{19B291BF-5110-451B-9F49-5287458FEFEA}" dt="2021-01-12T23:57:34.735" v="3784" actId="6549"/>
          <ac:graphicFrameMkLst>
            <pc:docMk/>
            <pc:sldMk cId="3621644946" sldId="561"/>
            <ac:graphicFrameMk id="12" creationId="{F3CAD3D4-E6BB-4B9A-A523-75143986B640}"/>
          </ac:graphicFrameMkLst>
        </pc:graphicFrameChg>
      </pc:sldChg>
      <pc:sldChg chg="add del">
        <pc:chgData name="Manish Sharma" userId="97d895ad-8d7a-4884-8c18-743afd731b6f" providerId="ADAL" clId="{19B291BF-5110-451B-9F49-5287458FEFEA}" dt="2020-12-08T22:21:01.877" v="1210" actId="47"/>
        <pc:sldMkLst>
          <pc:docMk/>
          <pc:sldMk cId="516397472" sldId="562"/>
        </pc:sldMkLst>
      </pc:sldChg>
      <pc:sldChg chg="add del">
        <pc:chgData name="Manish Sharma" userId="97d895ad-8d7a-4884-8c18-743afd731b6f" providerId="ADAL" clId="{19B291BF-5110-451B-9F49-5287458FEFEA}" dt="2020-12-01T23:37:32.233" v="450"/>
        <pc:sldMkLst>
          <pc:docMk/>
          <pc:sldMk cId="2822758212" sldId="562"/>
        </pc:sldMkLst>
      </pc:sldChg>
      <pc:sldChg chg="addSp modSp add mod">
        <pc:chgData name="Manish Sharma" userId="97d895ad-8d7a-4884-8c18-743afd731b6f" providerId="ADAL" clId="{19B291BF-5110-451B-9F49-5287458FEFEA}" dt="2021-01-13T15:01:02.716" v="4036"/>
        <pc:sldMkLst>
          <pc:docMk/>
          <pc:sldMk cId="978465256" sldId="563"/>
        </pc:sldMkLst>
        <pc:spChg chg="add mod">
          <ac:chgData name="Manish Sharma" userId="97d895ad-8d7a-4884-8c18-743afd731b6f" providerId="ADAL" clId="{19B291BF-5110-451B-9F49-5287458FEFEA}" dt="2021-01-13T15:01:02.716" v="4036"/>
          <ac:spMkLst>
            <pc:docMk/>
            <pc:sldMk cId="978465256" sldId="563"/>
            <ac:spMk id="8" creationId="{C8067192-389D-4708-A392-3E878D03C6EB}"/>
          </ac:spMkLst>
        </pc:spChg>
        <pc:spChg chg="mod">
          <ac:chgData name="Manish Sharma" userId="97d895ad-8d7a-4884-8c18-743afd731b6f" providerId="ADAL" clId="{19B291BF-5110-451B-9F49-5287458FEFEA}" dt="2020-12-09T00:42:45.246" v="1382" actId="6549"/>
          <ac:spMkLst>
            <pc:docMk/>
            <pc:sldMk cId="978465256" sldId="563"/>
            <ac:spMk id="10" creationId="{00000000-0000-0000-0000-000000000000}"/>
          </ac:spMkLst>
        </pc:spChg>
        <pc:spChg chg="mod">
          <ac:chgData name="Manish Sharma" userId="97d895ad-8d7a-4884-8c18-743afd731b6f" providerId="ADAL" clId="{19B291BF-5110-451B-9F49-5287458FEFEA}" dt="2020-12-09T00:42:52.388" v="1383" actId="1076"/>
          <ac:spMkLst>
            <pc:docMk/>
            <pc:sldMk cId="978465256" sldId="563"/>
            <ac:spMk id="12" creationId="{00000000-0000-0000-0000-000000000000}"/>
          </ac:spMkLst>
        </pc:spChg>
        <pc:grpChg chg="mod">
          <ac:chgData name="Manish Sharma" userId="97d895ad-8d7a-4884-8c18-743afd731b6f" providerId="ADAL" clId="{19B291BF-5110-451B-9F49-5287458FEFEA}" dt="2020-12-09T00:42:52.388" v="1383" actId="1076"/>
          <ac:grpSpMkLst>
            <pc:docMk/>
            <pc:sldMk cId="978465256" sldId="563"/>
            <ac:grpSpMk id="4" creationId="{799663EF-C321-40A8-9C46-190794F63765}"/>
          </ac:grpSpMkLst>
        </pc:grpChg>
        <pc:picChg chg="mod">
          <ac:chgData name="Manish Sharma" userId="97d895ad-8d7a-4884-8c18-743afd731b6f" providerId="ADAL" clId="{19B291BF-5110-451B-9F49-5287458FEFEA}" dt="2020-12-09T00:42:52.388" v="1383" actId="1076"/>
          <ac:picMkLst>
            <pc:docMk/>
            <pc:sldMk cId="978465256" sldId="563"/>
            <ac:picMk id="11" creationId="{00000000-0000-0000-0000-000000000000}"/>
          </ac:picMkLst>
        </pc:picChg>
      </pc:sldChg>
      <pc:sldChg chg="addSp modSp add mod modClrScheme chgLayout">
        <pc:chgData name="Manish Sharma" userId="97d895ad-8d7a-4884-8c18-743afd731b6f" providerId="ADAL" clId="{19B291BF-5110-451B-9F49-5287458FEFEA}" dt="2021-01-13T15:00:52.164" v="4034"/>
        <pc:sldMkLst>
          <pc:docMk/>
          <pc:sldMk cId="1297002195" sldId="564"/>
        </pc:sldMkLst>
        <pc:spChg chg="add mod">
          <ac:chgData name="Manish Sharma" userId="97d895ad-8d7a-4884-8c18-743afd731b6f" providerId="ADAL" clId="{19B291BF-5110-451B-9F49-5287458FEFEA}" dt="2021-01-13T15:00:52.164" v="4034"/>
          <ac:spMkLst>
            <pc:docMk/>
            <pc:sldMk cId="1297002195" sldId="564"/>
            <ac:spMk id="8" creationId="{557F3493-AA83-49EF-BC38-928055B00268}"/>
          </ac:spMkLst>
        </pc:spChg>
        <pc:spChg chg="mod ord">
          <ac:chgData name="Manish Sharma" userId="97d895ad-8d7a-4884-8c18-743afd731b6f" providerId="ADAL" clId="{19B291BF-5110-451B-9F49-5287458FEFEA}" dt="2021-01-13T00:34:43.438" v="3946" actId="700"/>
          <ac:spMkLst>
            <pc:docMk/>
            <pc:sldMk cId="1297002195" sldId="564"/>
            <ac:spMk id="9" creationId="{00000000-0000-0000-0000-000000000000}"/>
          </ac:spMkLst>
        </pc:spChg>
        <pc:spChg chg="mod">
          <ac:chgData name="Manish Sharma" userId="97d895ad-8d7a-4884-8c18-743afd731b6f" providerId="ADAL" clId="{19B291BF-5110-451B-9F49-5287458FEFEA}" dt="2020-12-09T00:43:49.755" v="1386" actId="6549"/>
          <ac:spMkLst>
            <pc:docMk/>
            <pc:sldMk cId="1297002195" sldId="564"/>
            <ac:spMk id="10" creationId="{00000000-0000-0000-0000-000000000000}"/>
          </ac:spMkLst>
        </pc:spChg>
        <pc:spChg chg="mod">
          <ac:chgData name="Manish Sharma" userId="97d895ad-8d7a-4884-8c18-743afd731b6f" providerId="ADAL" clId="{19B291BF-5110-451B-9F49-5287458FEFEA}" dt="2020-12-09T00:41:32.633" v="1351" actId="1036"/>
          <ac:spMkLst>
            <pc:docMk/>
            <pc:sldMk cId="1297002195" sldId="564"/>
            <ac:spMk id="12" creationId="{00000000-0000-0000-0000-000000000000}"/>
          </ac:spMkLst>
        </pc:spChg>
        <pc:grpChg chg="mod">
          <ac:chgData name="Manish Sharma" userId="97d895ad-8d7a-4884-8c18-743afd731b6f" providerId="ADAL" clId="{19B291BF-5110-451B-9F49-5287458FEFEA}" dt="2020-12-09T00:41:32.633" v="1351" actId="1036"/>
          <ac:grpSpMkLst>
            <pc:docMk/>
            <pc:sldMk cId="1297002195" sldId="564"/>
            <ac:grpSpMk id="4" creationId="{799663EF-C321-40A8-9C46-190794F63765}"/>
          </ac:grpSpMkLst>
        </pc:grpChg>
        <pc:picChg chg="mod">
          <ac:chgData name="Manish Sharma" userId="97d895ad-8d7a-4884-8c18-743afd731b6f" providerId="ADAL" clId="{19B291BF-5110-451B-9F49-5287458FEFEA}" dt="2020-12-09T00:41:32.633" v="1351" actId="1036"/>
          <ac:picMkLst>
            <pc:docMk/>
            <pc:sldMk cId="1297002195" sldId="564"/>
            <ac:picMk id="11" creationId="{00000000-0000-0000-0000-000000000000}"/>
          </ac:picMkLst>
        </pc:picChg>
      </pc:sldChg>
      <pc:sldChg chg="addSp modSp add mod modClrScheme chgLayout">
        <pc:chgData name="Manish Sharma" userId="97d895ad-8d7a-4884-8c18-743afd731b6f" providerId="ADAL" clId="{19B291BF-5110-451B-9F49-5287458FEFEA}" dt="2021-01-13T15:00:49.293" v="4032"/>
        <pc:sldMkLst>
          <pc:docMk/>
          <pc:sldMk cId="1444188876" sldId="565"/>
        </pc:sldMkLst>
        <pc:spChg chg="add mod">
          <ac:chgData name="Manish Sharma" userId="97d895ad-8d7a-4884-8c18-743afd731b6f" providerId="ADAL" clId="{19B291BF-5110-451B-9F49-5287458FEFEA}" dt="2021-01-13T15:00:49.293" v="4032"/>
          <ac:spMkLst>
            <pc:docMk/>
            <pc:sldMk cId="1444188876" sldId="565"/>
            <ac:spMk id="8" creationId="{B89FCE34-65DD-41F2-9234-175F6B2D2887}"/>
          </ac:spMkLst>
        </pc:spChg>
        <pc:spChg chg="mod ord">
          <ac:chgData name="Manish Sharma" userId="97d895ad-8d7a-4884-8c18-743afd731b6f" providerId="ADAL" clId="{19B291BF-5110-451B-9F49-5287458FEFEA}" dt="2021-01-13T00:34:51.785" v="3947" actId="700"/>
          <ac:spMkLst>
            <pc:docMk/>
            <pc:sldMk cId="1444188876" sldId="565"/>
            <ac:spMk id="9" creationId="{00000000-0000-0000-0000-000000000000}"/>
          </ac:spMkLst>
        </pc:spChg>
        <pc:spChg chg="mod">
          <ac:chgData name="Manish Sharma" userId="97d895ad-8d7a-4884-8c18-743afd731b6f" providerId="ADAL" clId="{19B291BF-5110-451B-9F49-5287458FEFEA}" dt="2020-12-09T00:43:58.540" v="1387" actId="6549"/>
          <ac:spMkLst>
            <pc:docMk/>
            <pc:sldMk cId="1444188876" sldId="565"/>
            <ac:spMk id="10" creationId="{00000000-0000-0000-0000-000000000000}"/>
          </ac:spMkLst>
        </pc:spChg>
        <pc:spChg chg="mod">
          <ac:chgData name="Manish Sharma" userId="97d895ad-8d7a-4884-8c18-743afd731b6f" providerId="ADAL" clId="{19B291BF-5110-451B-9F49-5287458FEFEA}" dt="2020-12-09T00:40:26.649" v="1315" actId="1036"/>
          <ac:spMkLst>
            <pc:docMk/>
            <pc:sldMk cId="1444188876" sldId="565"/>
            <ac:spMk id="12" creationId="{00000000-0000-0000-0000-000000000000}"/>
          </ac:spMkLst>
        </pc:spChg>
        <pc:grpChg chg="mod">
          <ac:chgData name="Manish Sharma" userId="97d895ad-8d7a-4884-8c18-743afd731b6f" providerId="ADAL" clId="{19B291BF-5110-451B-9F49-5287458FEFEA}" dt="2020-12-09T00:40:26.649" v="1315" actId="1036"/>
          <ac:grpSpMkLst>
            <pc:docMk/>
            <pc:sldMk cId="1444188876" sldId="565"/>
            <ac:grpSpMk id="4" creationId="{799663EF-C321-40A8-9C46-190794F63765}"/>
          </ac:grpSpMkLst>
        </pc:grpChg>
        <pc:picChg chg="mod">
          <ac:chgData name="Manish Sharma" userId="97d895ad-8d7a-4884-8c18-743afd731b6f" providerId="ADAL" clId="{19B291BF-5110-451B-9F49-5287458FEFEA}" dt="2020-12-09T00:40:26.649" v="1315" actId="1036"/>
          <ac:picMkLst>
            <pc:docMk/>
            <pc:sldMk cId="1444188876" sldId="565"/>
            <ac:picMk id="11" creationId="{00000000-0000-0000-0000-000000000000}"/>
          </ac:picMkLst>
        </pc:picChg>
      </pc:sldChg>
      <pc:sldChg chg="modSp add mod modClrScheme chgLayout">
        <pc:chgData name="Manish Sharma" userId="97d895ad-8d7a-4884-8c18-743afd731b6f" providerId="ADAL" clId="{19B291BF-5110-451B-9F49-5287458FEFEA}" dt="2021-01-13T00:07:57.250" v="3832" actId="14100"/>
        <pc:sldMkLst>
          <pc:docMk/>
          <pc:sldMk cId="2756927690" sldId="1416"/>
        </pc:sldMkLst>
        <pc:spChg chg="mod ord">
          <ac:chgData name="Manish Sharma" userId="97d895ad-8d7a-4884-8c18-743afd731b6f" providerId="ADAL" clId="{19B291BF-5110-451B-9F49-5287458FEFEA}" dt="2021-01-13T00:02:59.971" v="3810" actId="700"/>
          <ac:spMkLst>
            <pc:docMk/>
            <pc:sldMk cId="2756927690" sldId="1416"/>
            <ac:spMk id="3" creationId="{1E27ED76-C40A-4B9F-8465-9CE86DD0196F}"/>
          </ac:spMkLst>
        </pc:spChg>
        <pc:spChg chg="mod ord">
          <ac:chgData name="Manish Sharma" userId="97d895ad-8d7a-4884-8c18-743afd731b6f" providerId="ADAL" clId="{19B291BF-5110-451B-9F49-5287458FEFEA}" dt="2021-01-13T00:02:59.971" v="3810" actId="700"/>
          <ac:spMkLst>
            <pc:docMk/>
            <pc:sldMk cId="2756927690" sldId="1416"/>
            <ac:spMk id="11" creationId="{D6A38A4D-014A-4333-A423-BA30EAF8F897}"/>
          </ac:spMkLst>
        </pc:spChg>
        <pc:spChg chg="mod">
          <ac:chgData name="Manish Sharma" userId="97d895ad-8d7a-4884-8c18-743afd731b6f" providerId="ADAL" clId="{19B291BF-5110-451B-9F49-5287458FEFEA}" dt="2021-01-13T00:07:55.235" v="3827" actId="1076"/>
          <ac:spMkLst>
            <pc:docMk/>
            <pc:sldMk cId="2756927690" sldId="1416"/>
            <ac:spMk id="38" creationId="{A6907D06-AF7E-4B35-8FE5-1D8F33E5320F}"/>
          </ac:spMkLst>
        </pc:spChg>
        <pc:spChg chg="mod">
          <ac:chgData name="Manish Sharma" userId="97d895ad-8d7a-4884-8c18-743afd731b6f" providerId="ADAL" clId="{19B291BF-5110-451B-9F49-5287458FEFEA}" dt="2021-01-13T00:07:55.235" v="3827" actId="1076"/>
          <ac:spMkLst>
            <pc:docMk/>
            <pc:sldMk cId="2756927690" sldId="1416"/>
            <ac:spMk id="39" creationId="{DA98C957-748F-42BE-9DEA-077B757BEE71}"/>
          </ac:spMkLst>
        </pc:spChg>
        <pc:spChg chg="mod">
          <ac:chgData name="Manish Sharma" userId="97d895ad-8d7a-4884-8c18-743afd731b6f" providerId="ADAL" clId="{19B291BF-5110-451B-9F49-5287458FEFEA}" dt="2021-01-13T00:07:54.852" v="3825" actId="1076"/>
          <ac:spMkLst>
            <pc:docMk/>
            <pc:sldMk cId="2756927690" sldId="1416"/>
            <ac:spMk id="43" creationId="{B8B58429-D69C-4AA7-BC42-855AC2E58E43}"/>
          </ac:spMkLst>
        </pc:spChg>
        <pc:grpChg chg="mod">
          <ac:chgData name="Manish Sharma" userId="97d895ad-8d7a-4884-8c18-743afd731b6f" providerId="ADAL" clId="{19B291BF-5110-451B-9F49-5287458FEFEA}" dt="2021-01-13T00:07:57.250" v="3832" actId="14100"/>
          <ac:grpSpMkLst>
            <pc:docMk/>
            <pc:sldMk cId="2756927690" sldId="1416"/>
            <ac:grpSpMk id="41" creationId="{47BF2A7B-9A2A-4CD2-9E50-188F8BC3D398}"/>
          </ac:grpSpMkLst>
        </pc:grpChg>
        <pc:grpChg chg="mod">
          <ac:chgData name="Manish Sharma" userId="97d895ad-8d7a-4884-8c18-743afd731b6f" providerId="ADAL" clId="{19B291BF-5110-451B-9F49-5287458FEFEA}" dt="2021-01-13T00:07:55.235" v="3827" actId="1076"/>
          <ac:grpSpMkLst>
            <pc:docMk/>
            <pc:sldMk cId="2756927690" sldId="1416"/>
            <ac:grpSpMk id="51" creationId="{901AEC37-6A12-491E-BFFD-98663491502E}"/>
          </ac:grpSpMkLst>
        </pc:grpChg>
        <pc:grpChg chg="mod">
          <ac:chgData name="Manish Sharma" userId="97d895ad-8d7a-4884-8c18-743afd731b6f" providerId="ADAL" clId="{19B291BF-5110-451B-9F49-5287458FEFEA}" dt="2021-01-13T00:07:55.235" v="3827" actId="1076"/>
          <ac:grpSpMkLst>
            <pc:docMk/>
            <pc:sldMk cId="2756927690" sldId="1416"/>
            <ac:grpSpMk id="52" creationId="{FFF73CD4-CD2C-4046-B49E-D0C23348CBF5}"/>
          </ac:grpSpMkLst>
        </pc:grpChg>
        <pc:grpChg chg="mod">
          <ac:chgData name="Manish Sharma" userId="97d895ad-8d7a-4884-8c18-743afd731b6f" providerId="ADAL" clId="{19B291BF-5110-451B-9F49-5287458FEFEA}" dt="2021-01-13T00:07:55.235" v="3827" actId="1076"/>
          <ac:grpSpMkLst>
            <pc:docMk/>
            <pc:sldMk cId="2756927690" sldId="1416"/>
            <ac:grpSpMk id="55" creationId="{71B96F71-6D62-480D-9039-612E3D424E6A}"/>
          </ac:grpSpMkLst>
        </pc:grpChg>
        <pc:picChg chg="mod">
          <ac:chgData name="Manish Sharma" userId="97d895ad-8d7a-4884-8c18-743afd731b6f" providerId="ADAL" clId="{19B291BF-5110-451B-9F49-5287458FEFEA}" dt="2021-01-13T00:07:55.235" v="3827" actId="1076"/>
          <ac:picMkLst>
            <pc:docMk/>
            <pc:sldMk cId="2756927690" sldId="1416"/>
            <ac:picMk id="37" creationId="{4425CFE0-0794-42EB-B65E-43AFCA16B2B5}"/>
          </ac:picMkLst>
        </pc:picChg>
        <pc:picChg chg="mod">
          <ac:chgData name="Manish Sharma" userId="97d895ad-8d7a-4884-8c18-743afd731b6f" providerId="ADAL" clId="{19B291BF-5110-451B-9F49-5287458FEFEA}" dt="2021-01-13T00:07:55.035" v="3826" actId="1076"/>
          <ac:picMkLst>
            <pc:docMk/>
            <pc:sldMk cId="2756927690" sldId="1416"/>
            <ac:picMk id="40" creationId="{1984844C-35A2-4308-93F2-EB61F00B856A}"/>
          </ac:picMkLst>
        </pc:picChg>
        <pc:picChg chg="mod">
          <ac:chgData name="Manish Sharma" userId="97d895ad-8d7a-4884-8c18-743afd731b6f" providerId="ADAL" clId="{19B291BF-5110-451B-9F49-5287458FEFEA}" dt="2021-01-13T00:07:55.235" v="3827" actId="1076"/>
          <ac:picMkLst>
            <pc:docMk/>
            <pc:sldMk cId="2756927690" sldId="1416"/>
            <ac:picMk id="44" creationId="{9C508E6A-6F8C-4102-9B1E-1A526D266C32}"/>
          </ac:picMkLst>
        </pc:picChg>
        <pc:picChg chg="mod">
          <ac:chgData name="Manish Sharma" userId="97d895ad-8d7a-4884-8c18-743afd731b6f" providerId="ADAL" clId="{19B291BF-5110-451B-9F49-5287458FEFEA}" dt="2021-01-13T00:07:55.235" v="3827" actId="1076"/>
          <ac:picMkLst>
            <pc:docMk/>
            <pc:sldMk cId="2756927690" sldId="1416"/>
            <ac:picMk id="53" creationId="{1DCD6002-6DFE-45B0-A0DB-35D90FEDB505}"/>
          </ac:picMkLst>
        </pc:picChg>
        <pc:picChg chg="mod">
          <ac:chgData name="Manish Sharma" userId="97d895ad-8d7a-4884-8c18-743afd731b6f" providerId="ADAL" clId="{19B291BF-5110-451B-9F49-5287458FEFEA}" dt="2021-01-13T00:07:55.723" v="3829" actId="1076"/>
          <ac:picMkLst>
            <pc:docMk/>
            <pc:sldMk cId="2756927690" sldId="1416"/>
            <ac:picMk id="1032" creationId="{3A1330CC-3C2B-442B-8656-A2759C0B1CAE}"/>
          </ac:picMkLst>
        </pc:picChg>
      </pc:sldChg>
      <pc:sldMasterChg chg="addSldLayout delSldLayout modSldLayout sldLayoutOrd">
        <pc:chgData name="Manish Sharma" userId="97d895ad-8d7a-4884-8c18-743afd731b6f" providerId="ADAL" clId="{19B291BF-5110-451B-9F49-5287458FEFEA}" dt="2021-01-13T00:45:10.789" v="4028"/>
        <pc:sldMasterMkLst>
          <pc:docMk/>
          <pc:sldMasterMk cId="835336367" sldId="2147485117"/>
        </pc:sldMasterMkLst>
        <pc:sldLayoutChg chg="addSp delSp modSp del mod ord">
          <pc:chgData name="Manish Sharma" userId="97d895ad-8d7a-4884-8c18-743afd731b6f" providerId="ADAL" clId="{19B291BF-5110-451B-9F49-5287458FEFEA}" dt="2021-01-13T00:38:07.771" v="3976" actId="2696"/>
          <pc:sldLayoutMkLst>
            <pc:docMk/>
            <pc:sldMasterMk cId="835336367" sldId="2147485117"/>
            <pc:sldLayoutMk cId="1657312068" sldId="2147485086"/>
          </pc:sldLayoutMkLst>
          <pc:spChg chg="add del mod">
            <ac:chgData name="Manish Sharma" userId="97d895ad-8d7a-4884-8c18-743afd731b6f" providerId="ADAL" clId="{19B291BF-5110-451B-9F49-5287458FEFEA}" dt="2021-01-13T00:33:23.625" v="3936" actId="478"/>
            <ac:spMkLst>
              <pc:docMk/>
              <pc:sldMasterMk cId="835336367" sldId="2147485117"/>
              <pc:sldLayoutMk cId="1657312068" sldId="2147485086"/>
              <ac:spMk id="8" creationId="{2B45400E-4CF3-499A-A218-2815C27AECAB}"/>
            </ac:spMkLst>
          </pc:spChg>
          <pc:spChg chg="add mod">
            <ac:chgData name="Manish Sharma" userId="97d895ad-8d7a-4884-8c18-743afd731b6f" providerId="ADAL" clId="{19B291BF-5110-451B-9F49-5287458FEFEA}" dt="2021-01-13T00:37:46.252" v="3975"/>
            <ac:spMkLst>
              <pc:docMk/>
              <pc:sldMasterMk cId="835336367" sldId="2147485117"/>
              <pc:sldLayoutMk cId="1657312068" sldId="2147485086"/>
              <ac:spMk id="9" creationId="{6B96F321-5CBD-4775-AB11-89FCDA201AD7}"/>
            </ac:spMkLst>
          </pc:spChg>
        </pc:sldLayoutChg>
        <pc:sldLayoutChg chg="del">
          <pc:chgData name="Manish Sharma" userId="97d895ad-8d7a-4884-8c18-743afd731b6f" providerId="ADAL" clId="{19B291BF-5110-451B-9F49-5287458FEFEA}" dt="2021-01-13T00:01:59.032" v="3807" actId="2696"/>
          <pc:sldLayoutMkLst>
            <pc:docMk/>
            <pc:sldMasterMk cId="835336367" sldId="2147485117"/>
            <pc:sldLayoutMk cId="1923524179" sldId="2147485087"/>
          </pc:sldLayoutMkLst>
        </pc:sldLayoutChg>
        <pc:sldLayoutChg chg="addSp modSp del">
          <pc:chgData name="Manish Sharma" userId="97d895ad-8d7a-4884-8c18-743afd731b6f" providerId="ADAL" clId="{19B291BF-5110-451B-9F49-5287458FEFEA}" dt="2021-01-13T00:35:56.680" v="3954" actId="2696"/>
          <pc:sldLayoutMkLst>
            <pc:docMk/>
            <pc:sldMasterMk cId="835336367" sldId="2147485117"/>
            <pc:sldLayoutMk cId="1830073930" sldId="2147485090"/>
          </pc:sldLayoutMkLst>
          <pc:spChg chg="add mod">
            <ac:chgData name="Manish Sharma" userId="97d895ad-8d7a-4884-8c18-743afd731b6f" providerId="ADAL" clId="{19B291BF-5110-451B-9F49-5287458FEFEA}" dt="2021-01-13T00:08:53.245" v="3866"/>
            <ac:spMkLst>
              <pc:docMk/>
              <pc:sldMasterMk cId="835336367" sldId="2147485117"/>
              <pc:sldLayoutMk cId="1830073930" sldId="2147485090"/>
              <ac:spMk id="7" creationId="{BB055A9D-D602-4755-87BE-DD609FE9985E}"/>
            </ac:spMkLst>
          </pc:spChg>
        </pc:sldLayoutChg>
        <pc:sldLayoutChg chg="addSp modSp del">
          <pc:chgData name="Manish Sharma" userId="97d895ad-8d7a-4884-8c18-743afd731b6f" providerId="ADAL" clId="{19B291BF-5110-451B-9F49-5287458FEFEA}" dt="2021-01-13T00:37:17.803" v="3963" actId="2696"/>
          <pc:sldLayoutMkLst>
            <pc:docMk/>
            <pc:sldMasterMk cId="835336367" sldId="2147485117"/>
            <pc:sldLayoutMk cId="3014252063" sldId="2147485091"/>
          </pc:sldLayoutMkLst>
          <pc:spChg chg="add mod">
            <ac:chgData name="Manish Sharma" userId="97d895ad-8d7a-4884-8c18-743afd731b6f" providerId="ADAL" clId="{19B291BF-5110-451B-9F49-5287458FEFEA}" dt="2021-01-13T00:08:53.879" v="3867"/>
            <ac:spMkLst>
              <pc:docMk/>
              <pc:sldMasterMk cId="835336367" sldId="2147485117"/>
              <pc:sldLayoutMk cId="3014252063" sldId="2147485091"/>
              <ac:spMk id="8" creationId="{1DE3D865-9395-47DA-8C17-443C07CFA6F6}"/>
            </ac:spMkLst>
          </pc:spChg>
        </pc:sldLayoutChg>
        <pc:sldLayoutChg chg="addSp modSp del">
          <pc:chgData name="Manish Sharma" userId="97d895ad-8d7a-4884-8c18-743afd731b6f" providerId="ADAL" clId="{19B291BF-5110-451B-9F49-5287458FEFEA}" dt="2021-01-13T00:37:18.521" v="3964" actId="2696"/>
          <pc:sldLayoutMkLst>
            <pc:docMk/>
            <pc:sldMasterMk cId="835336367" sldId="2147485117"/>
            <pc:sldLayoutMk cId="2902310996" sldId="2147485092"/>
          </pc:sldLayoutMkLst>
          <pc:spChg chg="add mod">
            <ac:chgData name="Manish Sharma" userId="97d895ad-8d7a-4884-8c18-743afd731b6f" providerId="ADAL" clId="{19B291BF-5110-451B-9F49-5287458FEFEA}" dt="2021-01-13T00:08:55.613" v="3868"/>
            <ac:spMkLst>
              <pc:docMk/>
              <pc:sldMasterMk cId="835336367" sldId="2147485117"/>
              <pc:sldLayoutMk cId="2902310996" sldId="2147485092"/>
              <ac:spMk id="6" creationId="{6ABA6EAF-F945-4CE0-B046-38238AE77DA8}"/>
            </ac:spMkLst>
          </pc:spChg>
        </pc:sldLayoutChg>
        <pc:sldLayoutChg chg="addSp modSp del">
          <pc:chgData name="Manish Sharma" userId="97d895ad-8d7a-4884-8c18-743afd731b6f" providerId="ADAL" clId="{19B291BF-5110-451B-9F49-5287458FEFEA}" dt="2021-01-13T00:31:55.452" v="3926" actId="2696"/>
          <pc:sldLayoutMkLst>
            <pc:docMk/>
            <pc:sldMasterMk cId="835336367" sldId="2147485117"/>
            <pc:sldLayoutMk cId="824906963" sldId="2147485093"/>
          </pc:sldLayoutMkLst>
          <pc:spChg chg="add mod">
            <ac:chgData name="Manish Sharma" userId="97d895ad-8d7a-4884-8c18-743afd731b6f" providerId="ADAL" clId="{19B291BF-5110-451B-9F49-5287458FEFEA}" dt="2021-01-13T00:08:56.205" v="3869"/>
            <ac:spMkLst>
              <pc:docMk/>
              <pc:sldMasterMk cId="835336367" sldId="2147485117"/>
              <pc:sldLayoutMk cId="824906963" sldId="2147485093"/>
              <ac:spMk id="8" creationId="{2EE2ACF1-5527-4954-92FD-AFCAFF989899}"/>
            </ac:spMkLst>
          </pc:spChg>
        </pc:sldLayoutChg>
        <pc:sldLayoutChg chg="addSp modSp del">
          <pc:chgData name="Manish Sharma" userId="97d895ad-8d7a-4884-8c18-743afd731b6f" providerId="ADAL" clId="{19B291BF-5110-451B-9F49-5287458FEFEA}" dt="2021-01-13T00:35:55.275" v="3953" actId="2696"/>
          <pc:sldLayoutMkLst>
            <pc:docMk/>
            <pc:sldMasterMk cId="835336367" sldId="2147485117"/>
            <pc:sldLayoutMk cId="1202179220" sldId="2147485106"/>
          </pc:sldLayoutMkLst>
          <pc:spChg chg="add mod">
            <ac:chgData name="Manish Sharma" userId="97d895ad-8d7a-4884-8c18-743afd731b6f" providerId="ADAL" clId="{19B291BF-5110-451B-9F49-5287458FEFEA}" dt="2021-01-13T00:08:52.518" v="3865"/>
            <ac:spMkLst>
              <pc:docMk/>
              <pc:sldMasterMk cId="835336367" sldId="2147485117"/>
              <pc:sldLayoutMk cId="1202179220" sldId="2147485106"/>
              <ac:spMk id="8" creationId="{FF5AE282-78CB-4C58-9BEF-373D3A5AB223}"/>
            </ac:spMkLst>
          </pc:spChg>
        </pc:sldLayoutChg>
        <pc:sldLayoutChg chg="addSp modSp del">
          <pc:chgData name="Manish Sharma" userId="97d895ad-8d7a-4884-8c18-743afd731b6f" providerId="ADAL" clId="{19B291BF-5110-451B-9F49-5287458FEFEA}" dt="2021-01-13T00:35:58.620" v="3955" actId="2696"/>
          <pc:sldLayoutMkLst>
            <pc:docMk/>
            <pc:sldMasterMk cId="835336367" sldId="2147485117"/>
            <pc:sldLayoutMk cId="3379662676" sldId="2147485107"/>
          </pc:sldLayoutMkLst>
          <pc:spChg chg="add mod">
            <ac:chgData name="Manish Sharma" userId="97d895ad-8d7a-4884-8c18-743afd731b6f" providerId="ADAL" clId="{19B291BF-5110-451B-9F49-5287458FEFEA}" dt="2021-01-13T00:08:51.294" v="3864"/>
            <ac:spMkLst>
              <pc:docMk/>
              <pc:sldMasterMk cId="835336367" sldId="2147485117"/>
              <pc:sldLayoutMk cId="3379662676" sldId="2147485107"/>
              <ac:spMk id="8" creationId="{98AFE727-6BF2-4EB0-9E41-3A3212CE1C47}"/>
            </ac:spMkLst>
          </pc:spChg>
        </pc:sldLayoutChg>
        <pc:sldLayoutChg chg="addSp modSp del">
          <pc:chgData name="Manish Sharma" userId="97d895ad-8d7a-4884-8c18-743afd731b6f" providerId="ADAL" clId="{19B291BF-5110-451B-9F49-5287458FEFEA}" dt="2021-01-13T00:36:01.041" v="3956" actId="2696"/>
          <pc:sldLayoutMkLst>
            <pc:docMk/>
            <pc:sldMasterMk cId="835336367" sldId="2147485117"/>
            <pc:sldLayoutMk cId="270558041" sldId="2147485108"/>
          </pc:sldLayoutMkLst>
          <pc:spChg chg="add mod">
            <ac:chgData name="Manish Sharma" userId="97d895ad-8d7a-4884-8c18-743afd731b6f" providerId="ADAL" clId="{19B291BF-5110-451B-9F49-5287458FEFEA}" dt="2021-01-13T00:08:50.571" v="3863"/>
            <ac:spMkLst>
              <pc:docMk/>
              <pc:sldMasterMk cId="835336367" sldId="2147485117"/>
              <pc:sldLayoutMk cId="270558041" sldId="2147485108"/>
              <ac:spMk id="7" creationId="{F3E45862-5873-48BE-8886-95CF1808A2EB}"/>
            </ac:spMkLst>
          </pc:spChg>
        </pc:sldLayoutChg>
        <pc:sldLayoutChg chg="del">
          <pc:chgData name="Manish Sharma" userId="97d895ad-8d7a-4884-8c18-743afd731b6f" providerId="ADAL" clId="{19B291BF-5110-451B-9F49-5287458FEFEA}" dt="2021-01-13T00:01:07.396" v="3799" actId="2696"/>
          <pc:sldLayoutMkLst>
            <pc:docMk/>
            <pc:sldMasterMk cId="835336367" sldId="2147485117"/>
            <pc:sldLayoutMk cId="2009208218" sldId="2147485109"/>
          </pc:sldLayoutMkLst>
        </pc:sldLayoutChg>
        <pc:sldLayoutChg chg="addSp delSp modSp del mod">
          <pc:chgData name="Manish Sharma" userId="97d895ad-8d7a-4884-8c18-743afd731b6f" providerId="ADAL" clId="{19B291BF-5110-451B-9F49-5287458FEFEA}" dt="2021-01-13T00:33:32.279" v="3940" actId="2696"/>
          <pc:sldLayoutMkLst>
            <pc:docMk/>
            <pc:sldMasterMk cId="835336367" sldId="2147485117"/>
            <pc:sldLayoutMk cId="3692871760" sldId="2147485110"/>
          </pc:sldLayoutMkLst>
          <pc:spChg chg="add del mod">
            <ac:chgData name="Manish Sharma" userId="97d895ad-8d7a-4884-8c18-743afd731b6f" providerId="ADAL" clId="{19B291BF-5110-451B-9F49-5287458FEFEA}" dt="2021-01-13T00:33:30.530" v="3939" actId="478"/>
            <ac:spMkLst>
              <pc:docMk/>
              <pc:sldMasterMk cId="835336367" sldId="2147485117"/>
              <pc:sldLayoutMk cId="3692871760" sldId="2147485110"/>
              <ac:spMk id="11" creationId="{AA1DD9FF-A8AA-4766-A92F-C853D1E5D07F}"/>
            </ac:spMkLst>
          </pc:spChg>
        </pc:sldLayoutChg>
        <pc:sldLayoutChg chg="add del">
          <pc:chgData name="Manish Sharma" userId="97d895ad-8d7a-4884-8c18-743afd731b6f" providerId="ADAL" clId="{19B291BF-5110-451B-9F49-5287458FEFEA}" dt="2021-01-13T00:08:03.308" v="3834" actId="2696"/>
          <pc:sldLayoutMkLst>
            <pc:docMk/>
            <pc:sldMasterMk cId="835336367" sldId="2147485117"/>
            <pc:sldLayoutMk cId="632809067" sldId="2147485112"/>
          </pc:sldLayoutMkLst>
        </pc:sldLayoutChg>
        <pc:sldLayoutChg chg="del">
          <pc:chgData name="Manish Sharma" userId="97d895ad-8d7a-4884-8c18-743afd731b6f" providerId="ADAL" clId="{19B291BF-5110-451B-9F49-5287458FEFEA}" dt="2021-01-13T00:01:29.139" v="3804" actId="2696"/>
          <pc:sldLayoutMkLst>
            <pc:docMk/>
            <pc:sldMasterMk cId="835336367" sldId="2147485117"/>
            <pc:sldLayoutMk cId="712323402" sldId="2147485113"/>
          </pc:sldLayoutMkLst>
        </pc:sldLayoutChg>
        <pc:sldLayoutChg chg="del">
          <pc:chgData name="Manish Sharma" userId="97d895ad-8d7a-4884-8c18-743afd731b6f" providerId="ADAL" clId="{19B291BF-5110-451B-9F49-5287458FEFEA}" dt="2021-01-13T00:01:17.027" v="3803" actId="2696"/>
          <pc:sldLayoutMkLst>
            <pc:docMk/>
            <pc:sldMasterMk cId="835336367" sldId="2147485117"/>
            <pc:sldLayoutMk cId="2405058547" sldId="2147485114"/>
          </pc:sldLayoutMkLst>
        </pc:sldLayoutChg>
        <pc:sldLayoutChg chg="addSp delSp modSp mod">
          <pc:chgData name="Manish Sharma" userId="97d895ad-8d7a-4884-8c18-743afd731b6f" providerId="ADAL" clId="{19B291BF-5110-451B-9F49-5287458FEFEA}" dt="2021-01-13T00:13:11.207" v="3905"/>
          <pc:sldLayoutMkLst>
            <pc:docMk/>
            <pc:sldMasterMk cId="835336367" sldId="2147485117"/>
            <pc:sldLayoutMk cId="1515183581" sldId="2147485115"/>
          </pc:sldLayoutMkLst>
          <pc:spChg chg="add mod">
            <ac:chgData name="Manish Sharma" userId="97d895ad-8d7a-4884-8c18-743afd731b6f" providerId="ADAL" clId="{19B291BF-5110-451B-9F49-5287458FEFEA}" dt="2021-01-13T00:13:11.207" v="3905"/>
            <ac:spMkLst>
              <pc:docMk/>
              <pc:sldMasterMk cId="835336367" sldId="2147485117"/>
              <pc:sldLayoutMk cId="1515183581" sldId="2147485115"/>
              <ac:spMk id="4" creationId="{FD39F906-4087-4BF4-83A5-C41528571102}"/>
            </ac:spMkLst>
          </pc:spChg>
          <pc:spChg chg="add del mod">
            <ac:chgData name="Manish Sharma" userId="97d895ad-8d7a-4884-8c18-743afd731b6f" providerId="ADAL" clId="{19B291BF-5110-451B-9F49-5287458FEFEA}" dt="2021-01-13T00:09:27.314" v="3898" actId="478"/>
            <ac:spMkLst>
              <pc:docMk/>
              <pc:sldMasterMk cId="835336367" sldId="2147485117"/>
              <pc:sldLayoutMk cId="1515183581" sldId="2147485115"/>
              <ac:spMk id="12" creationId="{3E01B833-BF95-4164-AC67-9389F547091A}"/>
            </ac:spMkLst>
          </pc:spChg>
          <pc:spChg chg="mod">
            <ac:chgData name="Manish Sharma" userId="97d895ad-8d7a-4884-8c18-743afd731b6f" providerId="ADAL" clId="{19B291BF-5110-451B-9F49-5287458FEFEA}" dt="2021-01-12T23:55:25.063" v="3775" actId="14100"/>
            <ac:spMkLst>
              <pc:docMk/>
              <pc:sldMasterMk cId="835336367" sldId="2147485117"/>
              <pc:sldLayoutMk cId="1515183581" sldId="2147485115"/>
              <ac:spMk id="14" creationId="{00000000-0000-0000-0000-000000000000}"/>
            </ac:spMkLst>
          </pc:spChg>
          <pc:spChg chg="del mod">
            <ac:chgData name="Manish Sharma" userId="97d895ad-8d7a-4884-8c18-743afd731b6f" providerId="ADAL" clId="{19B291BF-5110-451B-9F49-5287458FEFEA}" dt="2021-01-12T23:55:34.556" v="3777" actId="478"/>
            <ac:spMkLst>
              <pc:docMk/>
              <pc:sldMasterMk cId="835336367" sldId="2147485117"/>
              <pc:sldLayoutMk cId="1515183581" sldId="2147485115"/>
              <ac:spMk id="20" creationId="{00000000-0000-0000-0000-000000000000}"/>
            </ac:spMkLst>
          </pc:spChg>
        </pc:sldLayoutChg>
        <pc:sldLayoutChg chg="addSp modSp del">
          <pc:chgData name="Manish Sharma" userId="97d895ad-8d7a-4884-8c18-743afd731b6f" providerId="ADAL" clId="{19B291BF-5110-451B-9F49-5287458FEFEA}" dt="2021-01-13T00:31:53.052" v="3925" actId="2696"/>
          <pc:sldLayoutMkLst>
            <pc:docMk/>
            <pc:sldMasterMk cId="835336367" sldId="2147485117"/>
            <pc:sldLayoutMk cId="3661247507" sldId="2147485116"/>
          </pc:sldLayoutMkLst>
          <pc:spChg chg="add mod">
            <ac:chgData name="Manish Sharma" userId="97d895ad-8d7a-4884-8c18-743afd731b6f" providerId="ADAL" clId="{19B291BF-5110-451B-9F49-5287458FEFEA}" dt="2021-01-13T00:08:56.773" v="3870"/>
            <ac:spMkLst>
              <pc:docMk/>
              <pc:sldMasterMk cId="835336367" sldId="2147485117"/>
              <pc:sldLayoutMk cId="3661247507" sldId="2147485116"/>
              <ac:spMk id="6" creationId="{F3B18FF8-B9C3-441A-83F0-6724713F03FF}"/>
            </ac:spMkLst>
          </pc:spChg>
        </pc:sldLayoutChg>
        <pc:sldLayoutChg chg="addSp delSp modSp mod">
          <pc:chgData name="Manish Sharma" userId="97d895ad-8d7a-4884-8c18-743afd731b6f" providerId="ADAL" clId="{19B291BF-5110-451B-9F49-5287458FEFEA}" dt="2021-01-13T00:39:59.549" v="3988" actId="21"/>
          <pc:sldLayoutMkLst>
            <pc:docMk/>
            <pc:sldMasterMk cId="835336367" sldId="2147485117"/>
            <pc:sldLayoutMk cId="2220698565" sldId="2147485119"/>
          </pc:sldLayoutMkLst>
          <pc:spChg chg="add del mod">
            <ac:chgData name="Manish Sharma" userId="97d895ad-8d7a-4884-8c18-743afd731b6f" providerId="ADAL" clId="{19B291BF-5110-451B-9F49-5287458FEFEA}" dt="2021-01-13T00:29:59.578" v="3917" actId="478"/>
            <ac:spMkLst>
              <pc:docMk/>
              <pc:sldMasterMk cId="835336367" sldId="2147485117"/>
              <pc:sldLayoutMk cId="2220698565" sldId="2147485119"/>
              <ac:spMk id="9" creationId="{FC0410BB-CE0C-470D-89BD-0E056F5A053D}"/>
            </ac:spMkLst>
          </pc:spChg>
          <pc:spChg chg="add del mod">
            <ac:chgData name="Manish Sharma" userId="97d895ad-8d7a-4884-8c18-743afd731b6f" providerId="ADAL" clId="{19B291BF-5110-451B-9F49-5287458FEFEA}" dt="2021-01-13T00:39:59.549" v="3988" actId="21"/>
            <ac:spMkLst>
              <pc:docMk/>
              <pc:sldMasterMk cId="835336367" sldId="2147485117"/>
              <pc:sldLayoutMk cId="2220698565" sldId="2147485119"/>
              <ac:spMk id="11" creationId="{97FDC168-FA63-4876-A88A-FD650A5F1CB0}"/>
            </ac:spMkLst>
          </pc:spChg>
        </pc:sldLayoutChg>
        <pc:sldLayoutChg chg="addSp delSp modSp del mod">
          <pc:chgData name="Manish Sharma" userId="97d895ad-8d7a-4884-8c18-743afd731b6f" providerId="ADAL" clId="{19B291BF-5110-451B-9F49-5287458FEFEA}" dt="2021-01-13T00:39:19.892" v="3983" actId="2696"/>
          <pc:sldLayoutMkLst>
            <pc:docMk/>
            <pc:sldMasterMk cId="835336367" sldId="2147485117"/>
            <pc:sldLayoutMk cId="2819904726" sldId="2147485120"/>
          </pc:sldLayoutMkLst>
          <pc:spChg chg="add del mod">
            <ac:chgData name="Manish Sharma" userId="97d895ad-8d7a-4884-8c18-743afd731b6f" providerId="ADAL" clId="{19B291BF-5110-451B-9F49-5287458FEFEA}" dt="2021-01-13T00:30:03.612" v="3919" actId="478"/>
            <ac:spMkLst>
              <pc:docMk/>
              <pc:sldMasterMk cId="835336367" sldId="2147485117"/>
              <pc:sldLayoutMk cId="2819904726" sldId="2147485120"/>
              <ac:spMk id="7" creationId="{BB5264E9-E916-416E-8FBF-184B04504B3C}"/>
            </ac:spMkLst>
          </pc:spChg>
          <pc:spChg chg="add mod">
            <ac:chgData name="Manish Sharma" userId="97d895ad-8d7a-4884-8c18-743afd731b6f" providerId="ADAL" clId="{19B291BF-5110-451B-9F49-5287458FEFEA}" dt="2021-01-13T00:39:01.477" v="3981"/>
            <ac:spMkLst>
              <pc:docMk/>
              <pc:sldMasterMk cId="835336367" sldId="2147485117"/>
              <pc:sldLayoutMk cId="2819904726" sldId="2147485120"/>
              <ac:spMk id="13" creationId="{0C33D191-3CF1-4568-ACBE-A7EFA6E55907}"/>
            </ac:spMkLst>
          </pc:spChg>
        </pc:sldLayoutChg>
        <pc:sldLayoutChg chg="addSp delSp modSp del mod">
          <pc:chgData name="Manish Sharma" userId="97d895ad-8d7a-4884-8c18-743afd731b6f" providerId="ADAL" clId="{19B291BF-5110-451B-9F49-5287458FEFEA}" dt="2021-01-13T00:39:26.420" v="3985" actId="2696"/>
          <pc:sldLayoutMkLst>
            <pc:docMk/>
            <pc:sldMasterMk cId="835336367" sldId="2147485117"/>
            <pc:sldLayoutMk cId="580523903" sldId="2147485121"/>
          </pc:sldLayoutMkLst>
          <pc:spChg chg="add del mod">
            <ac:chgData name="Manish Sharma" userId="97d895ad-8d7a-4884-8c18-743afd731b6f" providerId="ADAL" clId="{19B291BF-5110-451B-9F49-5287458FEFEA}" dt="2021-01-13T00:30:05.769" v="3920" actId="478"/>
            <ac:spMkLst>
              <pc:docMk/>
              <pc:sldMasterMk cId="835336367" sldId="2147485117"/>
              <pc:sldLayoutMk cId="580523903" sldId="2147485121"/>
              <ac:spMk id="5" creationId="{4C64EF44-F554-4FA5-B62D-7879E93FEB9C}"/>
            </ac:spMkLst>
          </pc:spChg>
          <pc:spChg chg="add mod">
            <ac:chgData name="Manish Sharma" userId="97d895ad-8d7a-4884-8c18-743afd731b6f" providerId="ADAL" clId="{19B291BF-5110-451B-9F49-5287458FEFEA}" dt="2021-01-13T00:39:05.364" v="3982"/>
            <ac:spMkLst>
              <pc:docMk/>
              <pc:sldMasterMk cId="835336367" sldId="2147485117"/>
              <pc:sldLayoutMk cId="580523903" sldId="2147485121"/>
              <ac:spMk id="6" creationId="{885A43DD-0949-4799-B275-AF8BCEDC5488}"/>
            </ac:spMkLst>
          </pc:spChg>
        </pc:sldLayoutChg>
        <pc:sldLayoutChg chg="addSp modSp del">
          <pc:chgData name="Manish Sharma" userId="97d895ad-8d7a-4884-8c18-743afd731b6f" providerId="ADAL" clId="{19B291BF-5110-451B-9F49-5287458FEFEA}" dt="2021-01-13T00:37:01.675" v="3958" actId="2696"/>
          <pc:sldLayoutMkLst>
            <pc:docMk/>
            <pc:sldMasterMk cId="835336367" sldId="2147485117"/>
            <pc:sldLayoutMk cId="1930165987" sldId="2147485122"/>
          </pc:sldLayoutMkLst>
          <pc:spChg chg="add mod">
            <ac:chgData name="Manish Sharma" userId="97d895ad-8d7a-4884-8c18-743afd731b6f" providerId="ADAL" clId="{19B291BF-5110-451B-9F49-5287458FEFEA}" dt="2021-01-13T00:09:03.312" v="3879"/>
            <ac:spMkLst>
              <pc:docMk/>
              <pc:sldMasterMk cId="835336367" sldId="2147485117"/>
              <pc:sldLayoutMk cId="1930165987" sldId="2147485122"/>
              <ac:spMk id="16" creationId="{830DACB6-86FF-4AAC-B9F8-E9A4C60697D6}"/>
            </ac:spMkLst>
          </pc:spChg>
        </pc:sldLayoutChg>
        <pc:sldLayoutChg chg="addSp modSp del">
          <pc:chgData name="Manish Sharma" userId="97d895ad-8d7a-4884-8c18-743afd731b6f" providerId="ADAL" clId="{19B291BF-5110-451B-9F49-5287458FEFEA}" dt="2021-01-13T00:37:03.079" v="3959" actId="2696"/>
          <pc:sldLayoutMkLst>
            <pc:docMk/>
            <pc:sldMasterMk cId="835336367" sldId="2147485117"/>
            <pc:sldLayoutMk cId="3290578961" sldId="2147485123"/>
          </pc:sldLayoutMkLst>
          <pc:spChg chg="add mod">
            <ac:chgData name="Manish Sharma" userId="97d895ad-8d7a-4884-8c18-743afd731b6f" providerId="ADAL" clId="{19B291BF-5110-451B-9F49-5287458FEFEA}" dt="2021-01-13T00:09:05.494" v="3881"/>
            <ac:spMkLst>
              <pc:docMk/>
              <pc:sldMasterMk cId="835336367" sldId="2147485117"/>
              <pc:sldLayoutMk cId="3290578961" sldId="2147485123"/>
              <ac:spMk id="17" creationId="{DEE0ED02-B3C6-4918-A35F-0D4484416A01}"/>
            </ac:spMkLst>
          </pc:spChg>
        </pc:sldLayoutChg>
        <pc:sldLayoutChg chg="addSp modSp del">
          <pc:chgData name="Manish Sharma" userId="97d895ad-8d7a-4884-8c18-743afd731b6f" providerId="ADAL" clId="{19B291BF-5110-451B-9F49-5287458FEFEA}" dt="2021-01-13T00:32:13.579" v="3932" actId="2696"/>
          <pc:sldLayoutMkLst>
            <pc:docMk/>
            <pc:sldMasterMk cId="835336367" sldId="2147485117"/>
            <pc:sldLayoutMk cId="569809541" sldId="2147485126"/>
          </pc:sldLayoutMkLst>
          <pc:spChg chg="add mod">
            <ac:chgData name="Manish Sharma" userId="97d895ad-8d7a-4884-8c18-743afd731b6f" providerId="ADAL" clId="{19B291BF-5110-451B-9F49-5287458FEFEA}" dt="2021-01-13T00:09:08.367" v="3885"/>
            <ac:spMkLst>
              <pc:docMk/>
              <pc:sldMasterMk cId="835336367" sldId="2147485117"/>
              <pc:sldLayoutMk cId="569809541" sldId="2147485126"/>
              <ac:spMk id="11" creationId="{93C5AFEA-16EF-4D7A-8462-92DA96A01BFF}"/>
            </ac:spMkLst>
          </pc:spChg>
        </pc:sldLayoutChg>
        <pc:sldLayoutChg chg="addSp modSp del">
          <pc:chgData name="Manish Sharma" userId="97d895ad-8d7a-4884-8c18-743afd731b6f" providerId="ADAL" clId="{19B291BF-5110-451B-9F49-5287458FEFEA}" dt="2021-01-13T00:32:19.732" v="3934" actId="2696"/>
          <pc:sldLayoutMkLst>
            <pc:docMk/>
            <pc:sldMasterMk cId="835336367" sldId="2147485117"/>
            <pc:sldLayoutMk cId="2037699224" sldId="2147485127"/>
          </pc:sldLayoutMkLst>
          <pc:spChg chg="add mod">
            <ac:chgData name="Manish Sharma" userId="97d895ad-8d7a-4884-8c18-743afd731b6f" providerId="ADAL" clId="{19B291BF-5110-451B-9F49-5287458FEFEA}" dt="2021-01-13T00:09:06.549" v="3883"/>
            <ac:spMkLst>
              <pc:docMk/>
              <pc:sldMasterMk cId="835336367" sldId="2147485117"/>
              <pc:sldLayoutMk cId="2037699224" sldId="2147485127"/>
              <ac:spMk id="13" creationId="{195D081C-803D-459E-A63B-C3EEFB3BACB1}"/>
            </ac:spMkLst>
          </pc:spChg>
        </pc:sldLayoutChg>
        <pc:sldLayoutChg chg="addSp modSp del">
          <pc:chgData name="Manish Sharma" userId="97d895ad-8d7a-4884-8c18-743afd731b6f" providerId="ADAL" clId="{19B291BF-5110-451B-9F49-5287458FEFEA}" dt="2021-01-13T00:32:06.364" v="3929" actId="2696"/>
          <pc:sldLayoutMkLst>
            <pc:docMk/>
            <pc:sldMasterMk cId="835336367" sldId="2147485117"/>
            <pc:sldLayoutMk cId="585075850" sldId="2147485128"/>
          </pc:sldLayoutMkLst>
          <pc:spChg chg="add mod">
            <ac:chgData name="Manish Sharma" userId="97d895ad-8d7a-4884-8c18-743afd731b6f" providerId="ADAL" clId="{19B291BF-5110-451B-9F49-5287458FEFEA}" dt="2021-01-13T00:09:11.200" v="3889"/>
            <ac:spMkLst>
              <pc:docMk/>
              <pc:sldMasterMk cId="835336367" sldId="2147485117"/>
              <pc:sldLayoutMk cId="585075850" sldId="2147485128"/>
              <ac:spMk id="12" creationId="{EA9073EB-328B-45F0-A7EA-DEF8E32B0515}"/>
            </ac:spMkLst>
          </pc:spChg>
        </pc:sldLayoutChg>
        <pc:sldLayoutChg chg="addSp modSp del">
          <pc:chgData name="Manish Sharma" userId="97d895ad-8d7a-4884-8c18-743afd731b6f" providerId="ADAL" clId="{19B291BF-5110-451B-9F49-5287458FEFEA}" dt="2021-01-13T00:32:04.068" v="3928" actId="2696"/>
          <pc:sldLayoutMkLst>
            <pc:docMk/>
            <pc:sldMasterMk cId="835336367" sldId="2147485117"/>
            <pc:sldLayoutMk cId="3936192106" sldId="2147485129"/>
          </pc:sldLayoutMkLst>
          <pc:spChg chg="add mod">
            <ac:chgData name="Manish Sharma" userId="97d895ad-8d7a-4884-8c18-743afd731b6f" providerId="ADAL" clId="{19B291BF-5110-451B-9F49-5287458FEFEA}" dt="2021-01-13T00:09:12.463" v="3890"/>
            <ac:spMkLst>
              <pc:docMk/>
              <pc:sldMasterMk cId="835336367" sldId="2147485117"/>
              <pc:sldLayoutMk cId="3936192106" sldId="2147485129"/>
              <ac:spMk id="10" creationId="{D4230E68-1980-47C4-8404-DE4251B8E6F4}"/>
            </ac:spMkLst>
          </pc:spChg>
        </pc:sldLayoutChg>
        <pc:sldLayoutChg chg="addSp modSp del">
          <pc:chgData name="Manish Sharma" userId="97d895ad-8d7a-4884-8c18-743afd731b6f" providerId="ADAL" clId="{19B291BF-5110-451B-9F49-5287458FEFEA}" dt="2021-01-13T00:32:02.427" v="3927" actId="2696"/>
          <pc:sldLayoutMkLst>
            <pc:docMk/>
            <pc:sldMasterMk cId="835336367" sldId="2147485117"/>
            <pc:sldLayoutMk cId="3741941376" sldId="2147485130"/>
          </pc:sldLayoutMkLst>
          <pc:spChg chg="add mod">
            <ac:chgData name="Manish Sharma" userId="97d895ad-8d7a-4884-8c18-743afd731b6f" providerId="ADAL" clId="{19B291BF-5110-451B-9F49-5287458FEFEA}" dt="2021-01-13T00:09:13.040" v="3891"/>
            <ac:spMkLst>
              <pc:docMk/>
              <pc:sldMasterMk cId="835336367" sldId="2147485117"/>
              <pc:sldLayoutMk cId="3741941376" sldId="2147485130"/>
              <ac:spMk id="8" creationId="{D0AB12E0-82F9-4A93-A841-42357E3755FA}"/>
            </ac:spMkLst>
          </pc:spChg>
        </pc:sldLayoutChg>
        <pc:sldLayoutChg chg="addSp delSp modSp del mod">
          <pc:chgData name="Manish Sharma" userId="97d895ad-8d7a-4884-8c18-743afd731b6f" providerId="ADAL" clId="{19B291BF-5110-451B-9F49-5287458FEFEA}" dt="2021-01-13T00:29:38.230" v="3916" actId="2696"/>
          <pc:sldLayoutMkLst>
            <pc:docMk/>
            <pc:sldMasterMk cId="835336367" sldId="2147485117"/>
            <pc:sldLayoutMk cId="2548375537" sldId="2147485131"/>
          </pc:sldLayoutMkLst>
          <pc:spChg chg="add del mod">
            <ac:chgData name="Manish Sharma" userId="97d895ad-8d7a-4884-8c18-743afd731b6f" providerId="ADAL" clId="{19B291BF-5110-451B-9F49-5287458FEFEA}" dt="2021-01-13T00:29:11.649" v="3911" actId="478"/>
            <ac:spMkLst>
              <pc:docMk/>
              <pc:sldMasterMk cId="835336367" sldId="2147485117"/>
              <pc:sldLayoutMk cId="2548375537" sldId="2147485131"/>
              <ac:spMk id="7" creationId="{646473F9-3CB7-4D31-94F6-A41315C49CD5}"/>
            </ac:spMkLst>
          </pc:spChg>
        </pc:sldLayoutChg>
        <pc:sldLayoutChg chg="addSp delSp modSp del mod">
          <pc:chgData name="Manish Sharma" userId="97d895ad-8d7a-4884-8c18-743afd731b6f" providerId="ADAL" clId="{19B291BF-5110-451B-9F49-5287458FEFEA}" dt="2021-01-13T00:29:37.118" v="3915" actId="2696"/>
          <pc:sldLayoutMkLst>
            <pc:docMk/>
            <pc:sldMasterMk cId="835336367" sldId="2147485117"/>
            <pc:sldLayoutMk cId="1640827684" sldId="2147485133"/>
          </pc:sldLayoutMkLst>
          <pc:spChg chg="add del mod">
            <ac:chgData name="Manish Sharma" userId="97d895ad-8d7a-4884-8c18-743afd731b6f" providerId="ADAL" clId="{19B291BF-5110-451B-9F49-5287458FEFEA}" dt="2021-01-13T00:29:07.828" v="3909" actId="478"/>
            <ac:spMkLst>
              <pc:docMk/>
              <pc:sldMasterMk cId="835336367" sldId="2147485117"/>
              <pc:sldLayoutMk cId="1640827684" sldId="2147485133"/>
              <ac:spMk id="7" creationId="{844D4C73-E85F-425C-A381-23D196845826}"/>
            </ac:spMkLst>
          </pc:spChg>
        </pc:sldLayoutChg>
        <pc:sldLayoutChg chg="addSp delSp modSp del mod">
          <pc:chgData name="Manish Sharma" userId="97d895ad-8d7a-4884-8c18-743afd731b6f" providerId="ADAL" clId="{19B291BF-5110-451B-9F49-5287458FEFEA}" dt="2021-01-13T00:29:33.603" v="3912" actId="2696"/>
          <pc:sldLayoutMkLst>
            <pc:docMk/>
            <pc:sldMasterMk cId="835336367" sldId="2147485117"/>
            <pc:sldLayoutMk cId="2413221188" sldId="2147485134"/>
          </pc:sldLayoutMkLst>
          <pc:spChg chg="add del mod">
            <ac:chgData name="Manish Sharma" userId="97d895ad-8d7a-4884-8c18-743afd731b6f" providerId="ADAL" clId="{19B291BF-5110-451B-9F49-5287458FEFEA}" dt="2021-01-13T00:29:05.143" v="3907" actId="478"/>
            <ac:spMkLst>
              <pc:docMk/>
              <pc:sldMasterMk cId="835336367" sldId="2147485117"/>
              <pc:sldLayoutMk cId="2413221188" sldId="2147485134"/>
              <ac:spMk id="8" creationId="{56B4429E-31E0-405C-934F-259547B8FAB0}"/>
            </ac:spMkLst>
          </pc:spChg>
        </pc:sldLayoutChg>
        <pc:sldLayoutChg chg="addSp delSp modSp add del mod">
          <pc:chgData name="Manish Sharma" userId="97d895ad-8d7a-4884-8c18-743afd731b6f" providerId="ADAL" clId="{19B291BF-5110-451B-9F49-5287458FEFEA}" dt="2021-01-13T00:39:50.461" v="3987" actId="2696"/>
          <pc:sldLayoutMkLst>
            <pc:docMk/>
            <pc:sldMasterMk cId="835336367" sldId="2147485117"/>
            <pc:sldLayoutMk cId="3900753081" sldId="2147485137"/>
          </pc:sldLayoutMkLst>
          <pc:spChg chg="add del mod">
            <ac:chgData name="Manish Sharma" userId="97d895ad-8d7a-4884-8c18-743afd731b6f" providerId="ADAL" clId="{19B291BF-5110-451B-9F49-5287458FEFEA}" dt="2021-01-13T00:30:02.010" v="3918" actId="478"/>
            <ac:spMkLst>
              <pc:docMk/>
              <pc:sldMasterMk cId="835336367" sldId="2147485117"/>
              <pc:sldLayoutMk cId="3900753081" sldId="2147485137"/>
              <ac:spMk id="12" creationId="{4E904255-20CD-45BE-9DCC-0277E6D54D1C}"/>
            </ac:spMkLst>
          </pc:spChg>
          <pc:spChg chg="add mod">
            <ac:chgData name="Manish Sharma" userId="97d895ad-8d7a-4884-8c18-743afd731b6f" providerId="ADAL" clId="{19B291BF-5110-451B-9F49-5287458FEFEA}" dt="2021-01-13T00:39:24.591" v="3984"/>
            <ac:spMkLst>
              <pc:docMk/>
              <pc:sldMasterMk cId="835336367" sldId="2147485117"/>
              <pc:sldLayoutMk cId="3900753081" sldId="2147485137"/>
              <ac:spMk id="13" creationId="{D5C7951A-1FC5-4871-BF1C-E4A6CEFB2593}"/>
            </ac:spMkLst>
          </pc:spChg>
        </pc:sldLayoutChg>
        <pc:sldLayoutChg chg="addSp modSp del">
          <pc:chgData name="Manish Sharma" userId="97d895ad-8d7a-4884-8c18-743afd731b6f" providerId="ADAL" clId="{19B291BF-5110-451B-9F49-5287458FEFEA}" dt="2021-01-13T00:31:31.341" v="3924" actId="2696"/>
          <pc:sldLayoutMkLst>
            <pc:docMk/>
            <pc:sldMasterMk cId="835336367" sldId="2147485117"/>
            <pc:sldLayoutMk cId="3793922547" sldId="2147485139"/>
          </pc:sldLayoutMkLst>
          <pc:spChg chg="add mod">
            <ac:chgData name="Manish Sharma" userId="97d895ad-8d7a-4884-8c18-743afd731b6f" providerId="ADAL" clId="{19B291BF-5110-451B-9F49-5287458FEFEA}" dt="2021-01-13T00:09:02.144" v="3877"/>
            <ac:spMkLst>
              <pc:docMk/>
              <pc:sldMasterMk cId="835336367" sldId="2147485117"/>
              <pc:sldLayoutMk cId="3793922547" sldId="2147485139"/>
              <ac:spMk id="9" creationId="{21B1ED2D-6DF6-42BB-BBFD-3CD0DB30785D}"/>
            </ac:spMkLst>
          </pc:spChg>
        </pc:sldLayoutChg>
        <pc:sldLayoutChg chg="addSp delSp modSp del mod ord">
          <pc:chgData name="Manish Sharma" userId="97d895ad-8d7a-4884-8c18-743afd731b6f" providerId="ADAL" clId="{19B291BF-5110-451B-9F49-5287458FEFEA}" dt="2021-01-13T00:44:47.204" v="4024" actId="2696"/>
          <pc:sldLayoutMkLst>
            <pc:docMk/>
            <pc:sldMasterMk cId="835336367" sldId="2147485117"/>
            <pc:sldLayoutMk cId="3060452071" sldId="2147485140"/>
          </pc:sldLayoutMkLst>
          <pc:spChg chg="add del mod">
            <ac:chgData name="Manish Sharma" userId="97d895ad-8d7a-4884-8c18-743afd731b6f" providerId="ADAL" clId="{19B291BF-5110-451B-9F49-5287458FEFEA}" dt="2021-01-13T00:37:42.088" v="3974" actId="21"/>
            <ac:spMkLst>
              <pc:docMk/>
              <pc:sldMasterMk cId="835336367" sldId="2147485117"/>
              <pc:sldLayoutMk cId="3060452071" sldId="2147485140"/>
              <ac:spMk id="3" creationId="{5521094A-A858-4725-B68A-4A1A076082EE}"/>
            </ac:spMkLst>
          </pc:spChg>
          <pc:spChg chg="add del mod">
            <ac:chgData name="Manish Sharma" userId="97d895ad-8d7a-4884-8c18-743afd731b6f" providerId="ADAL" clId="{19B291BF-5110-451B-9F49-5287458FEFEA}" dt="2021-01-13T00:36:41.882" v="3957" actId="478"/>
            <ac:spMkLst>
              <pc:docMk/>
              <pc:sldMasterMk cId="835336367" sldId="2147485117"/>
              <pc:sldLayoutMk cId="3060452071" sldId="2147485140"/>
              <ac:spMk id="10" creationId="{8ED837A4-F994-4BBD-928C-013CCF82AEE2}"/>
            </ac:spMkLst>
          </pc:spChg>
          <pc:spChg chg="add mod">
            <ac:chgData name="Manish Sharma" userId="97d895ad-8d7a-4884-8c18-743afd731b6f" providerId="ADAL" clId="{19B291BF-5110-451B-9F49-5287458FEFEA}" dt="2021-01-13T00:43:06.638" v="4008"/>
            <ac:spMkLst>
              <pc:docMk/>
              <pc:sldMasterMk cId="835336367" sldId="2147485117"/>
              <pc:sldLayoutMk cId="3060452071" sldId="2147485140"/>
              <ac:spMk id="12" creationId="{51E7B4E9-6FA1-4415-B8D8-600D9A28AFEA}"/>
            </ac:spMkLst>
          </pc:spChg>
        </pc:sldLayoutChg>
        <pc:sldLayoutChg chg="addSp delSp modSp del mod">
          <pc:chgData name="Manish Sharma" userId="97d895ad-8d7a-4884-8c18-743afd731b6f" providerId="ADAL" clId="{19B291BF-5110-451B-9F49-5287458FEFEA}" dt="2021-01-13T00:40:55.663" v="3994" actId="2696"/>
          <pc:sldLayoutMkLst>
            <pc:docMk/>
            <pc:sldMasterMk cId="835336367" sldId="2147485117"/>
            <pc:sldLayoutMk cId="2522366464" sldId="2147485141"/>
          </pc:sldLayoutMkLst>
          <pc:spChg chg="add del mod">
            <ac:chgData name="Manish Sharma" userId="97d895ad-8d7a-4884-8c18-743afd731b6f" providerId="ADAL" clId="{19B291BF-5110-451B-9F49-5287458FEFEA}" dt="2021-01-13T00:30:07.570" v="3921" actId="478"/>
            <ac:spMkLst>
              <pc:docMk/>
              <pc:sldMasterMk cId="835336367" sldId="2147485117"/>
              <pc:sldLayoutMk cId="2522366464" sldId="2147485141"/>
              <ac:spMk id="9" creationId="{9533007F-AAF6-4758-85BB-694FD1F575E6}"/>
            </ac:spMkLst>
          </pc:spChg>
          <pc:spChg chg="add del mod">
            <ac:chgData name="Manish Sharma" userId="97d895ad-8d7a-4884-8c18-743afd731b6f" providerId="ADAL" clId="{19B291BF-5110-451B-9F49-5287458FEFEA}" dt="2021-01-13T00:40:53.896" v="3993" actId="21"/>
            <ac:spMkLst>
              <pc:docMk/>
              <pc:sldMasterMk cId="835336367" sldId="2147485117"/>
              <pc:sldLayoutMk cId="2522366464" sldId="2147485141"/>
              <ac:spMk id="11" creationId="{AE4F4529-8A43-4AC6-90C7-91E0DEDA4821}"/>
            </ac:spMkLst>
          </pc:spChg>
        </pc:sldLayoutChg>
        <pc:sldLayoutChg chg="addSp delSp modSp del mod">
          <pc:chgData name="Manish Sharma" userId="97d895ad-8d7a-4884-8c18-743afd731b6f" providerId="ADAL" clId="{19B291BF-5110-451B-9F49-5287458FEFEA}" dt="2021-01-13T00:29:34.758" v="3913" actId="2696"/>
          <pc:sldLayoutMkLst>
            <pc:docMk/>
            <pc:sldMasterMk cId="835336367" sldId="2147485117"/>
            <pc:sldLayoutMk cId="1571185308" sldId="2147485144"/>
          </pc:sldLayoutMkLst>
          <pc:spChg chg="add del mod">
            <ac:chgData name="Manish Sharma" userId="97d895ad-8d7a-4884-8c18-743afd731b6f" providerId="ADAL" clId="{19B291BF-5110-451B-9F49-5287458FEFEA}" dt="2021-01-13T00:29:06.505" v="3908" actId="478"/>
            <ac:spMkLst>
              <pc:docMk/>
              <pc:sldMasterMk cId="835336367" sldId="2147485117"/>
              <pc:sldLayoutMk cId="1571185308" sldId="2147485144"/>
              <ac:spMk id="8" creationId="{0E06BE2E-2482-426D-9DAF-83591D5388FA}"/>
            </ac:spMkLst>
          </pc:spChg>
        </pc:sldLayoutChg>
        <pc:sldLayoutChg chg="addSp delSp modSp del mod">
          <pc:chgData name="Manish Sharma" userId="97d895ad-8d7a-4884-8c18-743afd731b6f" providerId="ADAL" clId="{19B291BF-5110-451B-9F49-5287458FEFEA}" dt="2021-01-13T00:29:35.675" v="3914" actId="2696"/>
          <pc:sldLayoutMkLst>
            <pc:docMk/>
            <pc:sldMasterMk cId="835336367" sldId="2147485117"/>
            <pc:sldLayoutMk cId="3023909060" sldId="2147485145"/>
          </pc:sldLayoutMkLst>
          <pc:spChg chg="add del mod">
            <ac:chgData name="Manish Sharma" userId="97d895ad-8d7a-4884-8c18-743afd731b6f" providerId="ADAL" clId="{19B291BF-5110-451B-9F49-5287458FEFEA}" dt="2021-01-13T00:29:09.098" v="3910" actId="478"/>
            <ac:spMkLst>
              <pc:docMk/>
              <pc:sldMasterMk cId="835336367" sldId="2147485117"/>
              <pc:sldLayoutMk cId="3023909060" sldId="2147485145"/>
              <ac:spMk id="11" creationId="{62598407-6454-4A2B-AF9E-3B1182AC8C24}"/>
            </ac:spMkLst>
          </pc:spChg>
        </pc:sldLayoutChg>
        <pc:sldLayoutChg chg="del">
          <pc:chgData name="Manish Sharma" userId="97d895ad-8d7a-4884-8c18-743afd731b6f" providerId="ADAL" clId="{19B291BF-5110-451B-9F49-5287458FEFEA}" dt="2021-01-12T23:59:53.795" v="3795" actId="2696"/>
          <pc:sldLayoutMkLst>
            <pc:docMk/>
            <pc:sldMasterMk cId="835336367" sldId="2147485117"/>
            <pc:sldLayoutMk cId="2351621893" sldId="2147485146"/>
          </pc:sldLayoutMkLst>
        </pc:sldLayoutChg>
        <pc:sldLayoutChg chg="addSp delSp modSp mod ord">
          <pc:chgData name="Manish Sharma" userId="97d895ad-8d7a-4884-8c18-743afd731b6f" providerId="ADAL" clId="{19B291BF-5110-451B-9F49-5287458FEFEA}" dt="2021-01-13T00:35:28.180" v="3952" actId="167"/>
          <pc:sldLayoutMkLst>
            <pc:docMk/>
            <pc:sldMasterMk cId="835336367" sldId="2147485117"/>
            <pc:sldLayoutMk cId="1651496776" sldId="2147485149"/>
          </pc:sldLayoutMkLst>
          <pc:spChg chg="add del mod">
            <ac:chgData name="Manish Sharma" userId="97d895ad-8d7a-4884-8c18-743afd731b6f" providerId="ADAL" clId="{19B291BF-5110-451B-9F49-5287458FEFEA}" dt="2021-01-13T00:33:07.842" v="3935" actId="478"/>
            <ac:spMkLst>
              <pc:docMk/>
              <pc:sldMasterMk cId="835336367" sldId="2147485117"/>
              <pc:sldLayoutMk cId="1651496776" sldId="2147485149"/>
              <ac:spMk id="9" creationId="{F529928B-DFD5-4B13-8124-BCD050814722}"/>
            </ac:spMkLst>
          </pc:spChg>
          <pc:spChg chg="add del">
            <ac:chgData name="Manish Sharma" userId="97d895ad-8d7a-4884-8c18-743afd731b6f" providerId="ADAL" clId="{19B291BF-5110-451B-9F49-5287458FEFEA}" dt="2021-01-13T00:35:27.699" v="3951" actId="478"/>
            <ac:spMkLst>
              <pc:docMk/>
              <pc:sldMasterMk cId="835336367" sldId="2147485117"/>
              <pc:sldLayoutMk cId="1651496776" sldId="2147485149"/>
              <ac:spMk id="12" creationId="{00000000-0000-0000-0000-000000000000}"/>
            </ac:spMkLst>
          </pc:spChg>
          <pc:picChg chg="add mod ord">
            <ac:chgData name="Manish Sharma" userId="97d895ad-8d7a-4884-8c18-743afd731b6f" providerId="ADAL" clId="{19B291BF-5110-451B-9F49-5287458FEFEA}" dt="2021-01-13T00:35:28.180" v="3952" actId="167"/>
            <ac:picMkLst>
              <pc:docMk/>
              <pc:sldMasterMk cId="835336367" sldId="2147485117"/>
              <pc:sldLayoutMk cId="1651496776" sldId="2147485149"/>
              <ac:picMk id="17" creationId="{1D4BEC37-6901-4C52-B469-5CC85646280C}"/>
            </ac:picMkLst>
          </pc:picChg>
        </pc:sldLayoutChg>
        <pc:sldLayoutChg chg="addSp modSp del">
          <pc:chgData name="Manish Sharma" userId="97d895ad-8d7a-4884-8c18-743afd731b6f" providerId="ADAL" clId="{19B291BF-5110-451B-9F49-5287458FEFEA}" dt="2021-01-13T00:37:04.718" v="3960" actId="2696"/>
          <pc:sldLayoutMkLst>
            <pc:docMk/>
            <pc:sldMasterMk cId="835336367" sldId="2147485117"/>
            <pc:sldLayoutMk cId="294232159" sldId="2147485151"/>
          </pc:sldLayoutMkLst>
          <pc:spChg chg="add mod">
            <ac:chgData name="Manish Sharma" userId="97d895ad-8d7a-4884-8c18-743afd731b6f" providerId="ADAL" clId="{19B291BF-5110-451B-9F49-5287458FEFEA}" dt="2021-01-13T00:09:04.877" v="3880"/>
            <ac:spMkLst>
              <pc:docMk/>
              <pc:sldMasterMk cId="835336367" sldId="2147485117"/>
              <pc:sldLayoutMk cId="294232159" sldId="2147485151"/>
              <ac:spMk id="15" creationId="{5D4D1E6C-C285-415F-A824-E9111EA0B0CC}"/>
            </ac:spMkLst>
          </pc:spChg>
        </pc:sldLayoutChg>
        <pc:sldLayoutChg chg="addSp modSp del">
          <pc:chgData name="Manish Sharma" userId="97d895ad-8d7a-4884-8c18-743afd731b6f" providerId="ADAL" clId="{19B291BF-5110-451B-9F49-5287458FEFEA}" dt="2021-01-13T00:32:08.745" v="3931" actId="2696"/>
          <pc:sldLayoutMkLst>
            <pc:docMk/>
            <pc:sldMasterMk cId="835336367" sldId="2147485117"/>
            <pc:sldLayoutMk cId="125683641" sldId="2147485153"/>
          </pc:sldLayoutMkLst>
          <pc:spChg chg="add mod">
            <ac:chgData name="Manish Sharma" userId="97d895ad-8d7a-4884-8c18-743afd731b6f" providerId="ADAL" clId="{19B291BF-5110-451B-9F49-5287458FEFEA}" dt="2021-01-13T00:09:09.352" v="3887"/>
            <ac:spMkLst>
              <pc:docMk/>
              <pc:sldMasterMk cId="835336367" sldId="2147485117"/>
              <pc:sldLayoutMk cId="125683641" sldId="2147485153"/>
              <ac:spMk id="10" creationId="{8E130727-D356-4638-A3F7-DBFBBA5EB1E1}"/>
            </ac:spMkLst>
          </pc:spChg>
        </pc:sldLayoutChg>
        <pc:sldLayoutChg chg="del">
          <pc:chgData name="Manish Sharma" userId="97d895ad-8d7a-4884-8c18-743afd731b6f" providerId="ADAL" clId="{19B291BF-5110-451B-9F49-5287458FEFEA}" dt="2021-01-13T00:01:13.262" v="3802" actId="2696"/>
          <pc:sldLayoutMkLst>
            <pc:docMk/>
            <pc:sldMasterMk cId="835336367" sldId="2147485117"/>
            <pc:sldLayoutMk cId="3884277641" sldId="2147485154"/>
          </pc:sldLayoutMkLst>
        </pc:sldLayoutChg>
        <pc:sldLayoutChg chg="del">
          <pc:chgData name="Manish Sharma" userId="97d895ad-8d7a-4884-8c18-743afd731b6f" providerId="ADAL" clId="{19B291BF-5110-451B-9F49-5287458FEFEA}" dt="2021-01-13T00:01:09.331" v="3800" actId="2696"/>
          <pc:sldLayoutMkLst>
            <pc:docMk/>
            <pc:sldMasterMk cId="835336367" sldId="2147485117"/>
            <pc:sldLayoutMk cId="4167257739" sldId="2147485155"/>
          </pc:sldLayoutMkLst>
        </pc:sldLayoutChg>
        <pc:sldLayoutChg chg="addSp modSp del">
          <pc:chgData name="Manish Sharma" userId="97d895ad-8d7a-4884-8c18-743afd731b6f" providerId="ADAL" clId="{19B291BF-5110-451B-9F49-5287458FEFEA}" dt="2021-01-13T00:33:35.776" v="3942" actId="2696"/>
          <pc:sldLayoutMkLst>
            <pc:docMk/>
            <pc:sldMasterMk cId="835336367" sldId="2147485117"/>
            <pc:sldLayoutMk cId="3800280186" sldId="2147485156"/>
          </pc:sldLayoutMkLst>
          <pc:spChg chg="add mod">
            <ac:chgData name="Manish Sharma" userId="97d895ad-8d7a-4884-8c18-743afd731b6f" providerId="ADAL" clId="{19B291BF-5110-451B-9F49-5287458FEFEA}" dt="2021-01-13T00:08:47.134" v="3860"/>
            <ac:spMkLst>
              <pc:docMk/>
              <pc:sldMasterMk cId="835336367" sldId="2147485117"/>
              <pc:sldLayoutMk cId="3800280186" sldId="2147485156"/>
              <ac:spMk id="10" creationId="{7E1747A7-9178-4EA8-976D-58C6C22719A5}"/>
            </ac:spMkLst>
          </pc:spChg>
        </pc:sldLayoutChg>
        <pc:sldLayoutChg chg="del">
          <pc:chgData name="Manish Sharma" userId="97d895ad-8d7a-4884-8c18-743afd731b6f" providerId="ADAL" clId="{19B291BF-5110-451B-9F49-5287458FEFEA}" dt="2021-01-12T23:55:47.919" v="3778" actId="2696"/>
          <pc:sldLayoutMkLst>
            <pc:docMk/>
            <pc:sldMasterMk cId="835336367" sldId="2147485117"/>
            <pc:sldLayoutMk cId="2052710400" sldId="2147485158"/>
          </pc:sldLayoutMkLst>
        </pc:sldLayoutChg>
        <pc:sldLayoutChg chg="del">
          <pc:chgData name="Manish Sharma" userId="97d895ad-8d7a-4884-8c18-743afd731b6f" providerId="ADAL" clId="{19B291BF-5110-451B-9F49-5287458FEFEA}" dt="2021-01-13T00:01:11.740" v="3801" actId="2696"/>
          <pc:sldLayoutMkLst>
            <pc:docMk/>
            <pc:sldMasterMk cId="835336367" sldId="2147485117"/>
            <pc:sldLayoutMk cId="3592263840" sldId="2147485162"/>
          </pc:sldLayoutMkLst>
        </pc:sldLayoutChg>
        <pc:sldLayoutChg chg="addSp delSp modSp del mod">
          <pc:chgData name="Manish Sharma" userId="97d895ad-8d7a-4884-8c18-743afd731b6f" providerId="ADAL" clId="{19B291BF-5110-451B-9F49-5287458FEFEA}" dt="2021-01-13T00:31:29.076" v="3923" actId="2696"/>
          <pc:sldLayoutMkLst>
            <pc:docMk/>
            <pc:sldMasterMk cId="835336367" sldId="2147485117"/>
            <pc:sldLayoutMk cId="3482945632" sldId="2147485163"/>
          </pc:sldLayoutMkLst>
          <pc:spChg chg="add del mod">
            <ac:chgData name="Manish Sharma" userId="97d895ad-8d7a-4884-8c18-743afd731b6f" providerId="ADAL" clId="{19B291BF-5110-451B-9F49-5287458FEFEA}" dt="2021-01-13T00:30:08.948" v="3922" actId="478"/>
            <ac:spMkLst>
              <pc:docMk/>
              <pc:sldMasterMk cId="835336367" sldId="2147485117"/>
              <pc:sldLayoutMk cId="3482945632" sldId="2147485163"/>
              <ac:spMk id="9" creationId="{C55740E3-BC5E-4038-ABAC-A32A024B043E}"/>
            </ac:spMkLst>
          </pc:spChg>
        </pc:sldLayoutChg>
        <pc:sldLayoutChg chg="addSp delSp modSp del mod">
          <pc:chgData name="Manish Sharma" userId="97d895ad-8d7a-4884-8c18-743afd731b6f" providerId="ADAL" clId="{19B291BF-5110-451B-9F49-5287458FEFEA}" dt="2021-01-13T00:38:40.245" v="3978" actId="2696"/>
          <pc:sldLayoutMkLst>
            <pc:docMk/>
            <pc:sldMasterMk cId="835336367" sldId="2147485117"/>
            <pc:sldLayoutMk cId="3679174197" sldId="2147485164"/>
          </pc:sldLayoutMkLst>
          <pc:spChg chg="add del mod">
            <ac:chgData name="Manish Sharma" userId="97d895ad-8d7a-4884-8c18-743afd731b6f" providerId="ADAL" clId="{19B291BF-5110-451B-9F49-5287458FEFEA}" dt="2021-01-13T00:33:26.505" v="3937" actId="478"/>
            <ac:spMkLst>
              <pc:docMk/>
              <pc:sldMasterMk cId="835336367" sldId="2147485117"/>
              <pc:sldLayoutMk cId="3679174197" sldId="2147485164"/>
              <ac:spMk id="4" creationId="{F2F8E52D-1129-43E0-9645-29FF40E9E18F}"/>
            </ac:spMkLst>
          </pc:spChg>
          <pc:spChg chg="add mod">
            <ac:chgData name="Manish Sharma" userId="97d895ad-8d7a-4884-8c18-743afd731b6f" providerId="ADAL" clId="{19B291BF-5110-451B-9F49-5287458FEFEA}" dt="2021-01-13T00:38:13.461" v="3977"/>
            <ac:spMkLst>
              <pc:docMk/>
              <pc:sldMasterMk cId="835336367" sldId="2147485117"/>
              <pc:sldLayoutMk cId="3679174197" sldId="2147485164"/>
              <ac:spMk id="11" creationId="{82A49768-FF6E-4719-AF55-24B29C763A42}"/>
            </ac:spMkLst>
          </pc:spChg>
        </pc:sldLayoutChg>
        <pc:sldLayoutChg chg="addSp delSp modSp del mod">
          <pc:chgData name="Manish Sharma" userId="97d895ad-8d7a-4884-8c18-743afd731b6f" providerId="ADAL" clId="{19B291BF-5110-451B-9F49-5287458FEFEA}" dt="2021-01-13T00:40:28.923" v="3991" actId="2696"/>
          <pc:sldLayoutMkLst>
            <pc:docMk/>
            <pc:sldMasterMk cId="835336367" sldId="2147485117"/>
            <pc:sldLayoutMk cId="2974192123" sldId="2147485165"/>
          </pc:sldLayoutMkLst>
          <pc:spChg chg="add del mod">
            <ac:chgData name="Manish Sharma" userId="97d895ad-8d7a-4884-8c18-743afd731b6f" providerId="ADAL" clId="{19B291BF-5110-451B-9F49-5287458FEFEA}" dt="2021-01-13T00:33:28.713" v="3938" actId="478"/>
            <ac:spMkLst>
              <pc:docMk/>
              <pc:sldMasterMk cId="835336367" sldId="2147485117"/>
              <pc:sldLayoutMk cId="2974192123" sldId="2147485165"/>
              <ac:spMk id="10" creationId="{B094DA87-E08C-458F-9437-7ACDB4AC1474}"/>
            </ac:spMkLst>
          </pc:spChg>
          <pc:spChg chg="add del mod">
            <ac:chgData name="Manish Sharma" userId="97d895ad-8d7a-4884-8c18-743afd731b6f" providerId="ADAL" clId="{19B291BF-5110-451B-9F49-5287458FEFEA}" dt="2021-01-13T00:40:26.750" v="3990" actId="21"/>
            <ac:spMkLst>
              <pc:docMk/>
              <pc:sldMasterMk cId="835336367" sldId="2147485117"/>
              <pc:sldLayoutMk cId="2974192123" sldId="2147485165"/>
              <ac:spMk id="12" creationId="{594362C1-D016-46C5-B447-9E91CC1B08CA}"/>
            </ac:spMkLst>
          </pc:spChg>
        </pc:sldLayoutChg>
        <pc:sldLayoutChg chg="addSp delSp modSp mod">
          <pc:chgData name="Manish Sharma" userId="97d895ad-8d7a-4884-8c18-743afd731b6f" providerId="ADAL" clId="{19B291BF-5110-451B-9F49-5287458FEFEA}" dt="2021-01-13T00:42:01.648" v="4000" actId="21"/>
          <pc:sldLayoutMkLst>
            <pc:docMk/>
            <pc:sldMasterMk cId="835336367" sldId="2147485117"/>
            <pc:sldLayoutMk cId="2438078681" sldId="2147485166"/>
          </pc:sldLayoutMkLst>
          <pc:spChg chg="add del mod">
            <ac:chgData name="Manish Sharma" userId="97d895ad-8d7a-4884-8c18-743afd731b6f" providerId="ADAL" clId="{19B291BF-5110-451B-9F49-5287458FEFEA}" dt="2021-01-13T00:33:34.913" v="3941" actId="478"/>
            <ac:spMkLst>
              <pc:docMk/>
              <pc:sldMasterMk cId="835336367" sldId="2147485117"/>
              <pc:sldLayoutMk cId="2438078681" sldId="2147485166"/>
              <ac:spMk id="10" creationId="{F25758F3-215B-4D71-A0F7-DD5A5634EDE5}"/>
            </ac:spMkLst>
          </pc:spChg>
          <pc:spChg chg="add del mod">
            <ac:chgData name="Manish Sharma" userId="97d895ad-8d7a-4884-8c18-743afd731b6f" providerId="ADAL" clId="{19B291BF-5110-451B-9F49-5287458FEFEA}" dt="2021-01-13T00:42:01.648" v="4000" actId="21"/>
            <ac:spMkLst>
              <pc:docMk/>
              <pc:sldMasterMk cId="835336367" sldId="2147485117"/>
              <pc:sldLayoutMk cId="2438078681" sldId="2147485166"/>
              <ac:spMk id="11" creationId="{BF1C8F5F-8D8E-40C5-A98F-E793BF4AAA87}"/>
            </ac:spMkLst>
          </pc:spChg>
        </pc:sldLayoutChg>
        <pc:sldLayoutChg chg="addSp modSp del mod">
          <pc:chgData name="Manish Sharma" userId="97d895ad-8d7a-4884-8c18-743afd731b6f" providerId="ADAL" clId="{19B291BF-5110-451B-9F49-5287458FEFEA}" dt="2021-01-13T00:33:39.875" v="3943" actId="2696"/>
          <pc:sldLayoutMkLst>
            <pc:docMk/>
            <pc:sldMasterMk cId="835336367" sldId="2147485117"/>
            <pc:sldLayoutMk cId="3369865758" sldId="2147485167"/>
          </pc:sldLayoutMkLst>
          <pc:spChg chg="add mod">
            <ac:chgData name="Manish Sharma" userId="97d895ad-8d7a-4884-8c18-743afd731b6f" providerId="ADAL" clId="{19B291BF-5110-451B-9F49-5287458FEFEA}" dt="2021-01-13T00:08:48.754" v="3862" actId="1036"/>
            <ac:spMkLst>
              <pc:docMk/>
              <pc:sldMasterMk cId="835336367" sldId="2147485117"/>
              <pc:sldLayoutMk cId="3369865758" sldId="2147485167"/>
              <ac:spMk id="10" creationId="{97FF32A3-8DD2-420E-8453-6EB76247C6D1}"/>
            </ac:spMkLst>
          </pc:spChg>
        </pc:sldLayoutChg>
        <pc:sldLayoutChg chg="addSp modSp del">
          <pc:chgData name="Manish Sharma" userId="97d895ad-8d7a-4884-8c18-743afd731b6f" providerId="ADAL" clId="{19B291BF-5110-451B-9F49-5287458FEFEA}" dt="2021-01-13T00:37:07.147" v="3961" actId="2696"/>
          <pc:sldLayoutMkLst>
            <pc:docMk/>
            <pc:sldMasterMk cId="835336367" sldId="2147485117"/>
            <pc:sldLayoutMk cId="3997916187" sldId="2147485168"/>
          </pc:sldLayoutMkLst>
          <pc:spChg chg="add mod">
            <ac:chgData name="Manish Sharma" userId="97d895ad-8d7a-4884-8c18-743afd731b6f" providerId="ADAL" clId="{19B291BF-5110-451B-9F49-5287458FEFEA}" dt="2021-01-13T00:09:06.047" v="3882"/>
            <ac:spMkLst>
              <pc:docMk/>
              <pc:sldMasterMk cId="835336367" sldId="2147485117"/>
              <pc:sldLayoutMk cId="3997916187" sldId="2147485168"/>
              <ac:spMk id="11" creationId="{28D6B190-82E2-45E7-A8AA-D31434B6A879}"/>
            </ac:spMkLst>
          </pc:spChg>
        </pc:sldLayoutChg>
        <pc:sldLayoutChg chg="addSp modSp del">
          <pc:chgData name="Manish Sharma" userId="97d895ad-8d7a-4884-8c18-743afd731b6f" providerId="ADAL" clId="{19B291BF-5110-451B-9F49-5287458FEFEA}" dt="2021-01-13T00:32:16.957" v="3933" actId="2696"/>
          <pc:sldLayoutMkLst>
            <pc:docMk/>
            <pc:sldMasterMk cId="835336367" sldId="2147485117"/>
            <pc:sldLayoutMk cId="589356867" sldId="2147485169"/>
          </pc:sldLayoutMkLst>
          <pc:spChg chg="add mod">
            <ac:chgData name="Manish Sharma" userId="97d895ad-8d7a-4884-8c18-743afd731b6f" providerId="ADAL" clId="{19B291BF-5110-451B-9F49-5287458FEFEA}" dt="2021-01-13T00:09:07.131" v="3884"/>
            <ac:spMkLst>
              <pc:docMk/>
              <pc:sldMasterMk cId="835336367" sldId="2147485117"/>
              <pc:sldLayoutMk cId="589356867" sldId="2147485169"/>
              <ac:spMk id="10" creationId="{F38EDA3A-E984-4C78-8A03-4E062AFB413B}"/>
            </ac:spMkLst>
          </pc:spChg>
        </pc:sldLayoutChg>
        <pc:sldLayoutChg chg="addSp delSp modSp add del mod ord">
          <pc:chgData name="Manish Sharma" userId="97d895ad-8d7a-4884-8c18-743afd731b6f" providerId="ADAL" clId="{19B291BF-5110-451B-9F49-5287458FEFEA}" dt="2021-01-13T00:42:47.924" v="4005" actId="2696"/>
          <pc:sldLayoutMkLst>
            <pc:docMk/>
            <pc:sldMasterMk cId="835336367" sldId="2147485117"/>
            <pc:sldLayoutMk cId="1969027386" sldId="2147485170"/>
          </pc:sldLayoutMkLst>
          <pc:spChg chg="add del mod">
            <ac:chgData name="Manish Sharma" userId="97d895ad-8d7a-4884-8c18-743afd731b6f" providerId="ADAL" clId="{19B291BF-5110-451B-9F49-5287458FEFEA}" dt="2021-01-13T00:37:09.730" v="3962" actId="478"/>
            <ac:spMkLst>
              <pc:docMk/>
              <pc:sldMasterMk cId="835336367" sldId="2147485117"/>
              <pc:sldLayoutMk cId="1969027386" sldId="2147485170"/>
              <ac:spMk id="12" creationId="{C6811834-0B04-4243-BFA0-ED4FAA0392CF}"/>
            </ac:spMkLst>
          </pc:spChg>
          <pc:spChg chg="add del mod">
            <ac:chgData name="Manish Sharma" userId="97d895ad-8d7a-4884-8c18-743afd731b6f" providerId="ADAL" clId="{19B291BF-5110-451B-9F49-5287458FEFEA}" dt="2021-01-13T00:41:15.849" v="3997" actId="21"/>
            <ac:spMkLst>
              <pc:docMk/>
              <pc:sldMasterMk cId="835336367" sldId="2147485117"/>
              <pc:sldLayoutMk cId="1969027386" sldId="2147485170"/>
              <ac:spMk id="13" creationId="{32A379D1-AD4D-4C15-87F2-E4B59A5E6156}"/>
            </ac:spMkLst>
          </pc:spChg>
          <pc:spChg chg="add del mod">
            <ac:chgData name="Manish Sharma" userId="97d895ad-8d7a-4884-8c18-743afd731b6f" providerId="ADAL" clId="{19B291BF-5110-451B-9F49-5287458FEFEA}" dt="2021-01-13T00:42:17.350" v="4002" actId="21"/>
            <ac:spMkLst>
              <pc:docMk/>
              <pc:sldMasterMk cId="835336367" sldId="2147485117"/>
              <pc:sldLayoutMk cId="1969027386" sldId="2147485170"/>
              <ac:spMk id="16" creationId="{A22EC875-5F7D-45A9-8899-8DBDEE0DFD5A}"/>
            </ac:spMkLst>
          </pc:spChg>
        </pc:sldLayoutChg>
        <pc:sldLayoutChg chg="addSp modSp del">
          <pc:chgData name="Manish Sharma" userId="97d895ad-8d7a-4884-8c18-743afd731b6f" providerId="ADAL" clId="{19B291BF-5110-451B-9F49-5287458FEFEA}" dt="2021-01-13T00:32:07.742" v="3930" actId="2696"/>
          <pc:sldLayoutMkLst>
            <pc:docMk/>
            <pc:sldMasterMk cId="835336367" sldId="2147485117"/>
            <pc:sldLayoutMk cId="3984939824" sldId="2147485171"/>
          </pc:sldLayoutMkLst>
          <pc:spChg chg="add mod">
            <ac:chgData name="Manish Sharma" userId="97d895ad-8d7a-4884-8c18-743afd731b6f" providerId="ADAL" clId="{19B291BF-5110-451B-9F49-5287458FEFEA}" dt="2021-01-13T00:09:10.556" v="3888"/>
            <ac:spMkLst>
              <pc:docMk/>
              <pc:sldMasterMk cId="835336367" sldId="2147485117"/>
              <pc:sldLayoutMk cId="3984939824" sldId="2147485171"/>
              <ac:spMk id="10" creationId="{B5B3431F-94AB-4413-BD9D-BFE43878F157}"/>
            </ac:spMkLst>
          </pc:spChg>
        </pc:sldLayoutChg>
        <pc:sldLayoutChg chg="del">
          <pc:chgData name="Manish Sharma" userId="97d895ad-8d7a-4884-8c18-743afd731b6f" providerId="ADAL" clId="{19B291BF-5110-451B-9F49-5287458FEFEA}" dt="2021-01-12T23:59:55.223" v="3796" actId="2696"/>
          <pc:sldLayoutMkLst>
            <pc:docMk/>
            <pc:sldMasterMk cId="835336367" sldId="2147485117"/>
            <pc:sldLayoutMk cId="2570314066" sldId="2147485172"/>
          </pc:sldLayoutMkLst>
        </pc:sldLayoutChg>
        <pc:sldLayoutChg chg="del">
          <pc:chgData name="Manish Sharma" userId="97d895ad-8d7a-4884-8c18-743afd731b6f" providerId="ADAL" clId="{19B291BF-5110-451B-9F49-5287458FEFEA}" dt="2021-01-12T23:59:56.175" v="3797" actId="2696"/>
          <pc:sldLayoutMkLst>
            <pc:docMk/>
            <pc:sldMasterMk cId="835336367" sldId="2147485117"/>
            <pc:sldLayoutMk cId="372928598" sldId="2147485173"/>
          </pc:sldLayoutMkLst>
        </pc:sldLayoutChg>
        <pc:sldLayoutChg chg="del">
          <pc:chgData name="Manish Sharma" userId="97d895ad-8d7a-4884-8c18-743afd731b6f" providerId="ADAL" clId="{19B291BF-5110-451B-9F49-5287458FEFEA}" dt="2021-01-12T23:59:58.452" v="3798" actId="2696"/>
          <pc:sldLayoutMkLst>
            <pc:docMk/>
            <pc:sldMasterMk cId="835336367" sldId="2147485117"/>
            <pc:sldLayoutMk cId="4216077176" sldId="2147485174"/>
          </pc:sldLayoutMkLst>
        </pc:sldLayoutChg>
        <pc:sldLayoutChg chg="del">
          <pc:chgData name="Manish Sharma" userId="97d895ad-8d7a-4884-8c18-743afd731b6f" providerId="ADAL" clId="{19B291BF-5110-451B-9F49-5287458FEFEA}" dt="2021-01-12T23:59:44.931" v="3792" actId="2696"/>
          <pc:sldLayoutMkLst>
            <pc:docMk/>
            <pc:sldMasterMk cId="835336367" sldId="2147485117"/>
            <pc:sldLayoutMk cId="2270190941" sldId="2147485175"/>
          </pc:sldLayoutMkLst>
        </pc:sldLayoutChg>
        <pc:sldLayoutChg chg="del">
          <pc:chgData name="Manish Sharma" userId="97d895ad-8d7a-4884-8c18-743afd731b6f" providerId="ADAL" clId="{19B291BF-5110-451B-9F49-5287458FEFEA}" dt="2021-01-12T23:59:35.997" v="3789" actId="2696"/>
          <pc:sldLayoutMkLst>
            <pc:docMk/>
            <pc:sldMasterMk cId="835336367" sldId="2147485117"/>
            <pc:sldLayoutMk cId="1865576705" sldId="2147485176"/>
          </pc:sldLayoutMkLst>
        </pc:sldLayoutChg>
        <pc:sldLayoutChg chg="del">
          <pc:chgData name="Manish Sharma" userId="97d895ad-8d7a-4884-8c18-743afd731b6f" providerId="ADAL" clId="{19B291BF-5110-451B-9F49-5287458FEFEA}" dt="2021-01-12T23:59:36.655" v="3790" actId="2696"/>
          <pc:sldLayoutMkLst>
            <pc:docMk/>
            <pc:sldMasterMk cId="835336367" sldId="2147485117"/>
            <pc:sldLayoutMk cId="3206140772" sldId="2147485177"/>
          </pc:sldLayoutMkLst>
        </pc:sldLayoutChg>
        <pc:sldLayoutChg chg="del">
          <pc:chgData name="Manish Sharma" userId="97d895ad-8d7a-4884-8c18-743afd731b6f" providerId="ADAL" clId="{19B291BF-5110-451B-9F49-5287458FEFEA}" dt="2021-01-12T23:59:37.095" v="3791" actId="2696"/>
          <pc:sldLayoutMkLst>
            <pc:docMk/>
            <pc:sldMasterMk cId="835336367" sldId="2147485117"/>
            <pc:sldLayoutMk cId="2704339647" sldId="2147485178"/>
          </pc:sldLayoutMkLst>
        </pc:sldLayoutChg>
        <pc:sldLayoutChg chg="del">
          <pc:chgData name="Manish Sharma" userId="97d895ad-8d7a-4884-8c18-743afd731b6f" providerId="ADAL" clId="{19B291BF-5110-451B-9F49-5287458FEFEA}" dt="2021-01-12T23:59:46.149" v="3793" actId="2696"/>
          <pc:sldLayoutMkLst>
            <pc:docMk/>
            <pc:sldMasterMk cId="835336367" sldId="2147485117"/>
            <pc:sldLayoutMk cId="1784797" sldId="2147485179"/>
          </pc:sldLayoutMkLst>
        </pc:sldLayoutChg>
        <pc:sldLayoutChg chg="del">
          <pc:chgData name="Manish Sharma" userId="97d895ad-8d7a-4884-8c18-743afd731b6f" providerId="ADAL" clId="{19B291BF-5110-451B-9F49-5287458FEFEA}" dt="2021-01-12T23:59:47.726" v="3794" actId="2696"/>
          <pc:sldLayoutMkLst>
            <pc:docMk/>
            <pc:sldMasterMk cId="835336367" sldId="2147485117"/>
            <pc:sldLayoutMk cId="2933657859" sldId="2147485180"/>
          </pc:sldLayoutMkLst>
        </pc:sldLayoutChg>
        <pc:sldLayoutChg chg="addSp delSp modSp mod">
          <pc:chgData name="Manish Sharma" userId="97d895ad-8d7a-4884-8c18-743afd731b6f" providerId="ADAL" clId="{19B291BF-5110-451B-9F49-5287458FEFEA}" dt="2021-01-13T00:45:10.789" v="4028"/>
          <pc:sldLayoutMkLst>
            <pc:docMk/>
            <pc:sldMasterMk cId="835336367" sldId="2147485117"/>
            <pc:sldLayoutMk cId="567367314" sldId="2147485181"/>
          </pc:sldLayoutMkLst>
          <pc:spChg chg="add del mod">
            <ac:chgData name="Manish Sharma" userId="97d895ad-8d7a-4884-8c18-743afd731b6f" providerId="ADAL" clId="{19B291BF-5110-451B-9F49-5287458FEFEA}" dt="2021-01-13T00:29:03.138" v="3906" actId="478"/>
            <ac:spMkLst>
              <pc:docMk/>
              <pc:sldMasterMk cId="835336367" sldId="2147485117"/>
              <pc:sldLayoutMk cId="567367314" sldId="2147485181"/>
              <ac:spMk id="8" creationId="{902FF4E5-041F-4097-B03A-7D542AD1493F}"/>
            </ac:spMkLst>
          </pc:spChg>
          <pc:spChg chg="del">
            <ac:chgData name="Manish Sharma" userId="97d895ad-8d7a-4884-8c18-743afd731b6f" providerId="ADAL" clId="{19B291BF-5110-451B-9F49-5287458FEFEA}" dt="2021-01-13T00:45:04.160" v="4027" actId="478"/>
            <ac:spMkLst>
              <pc:docMk/>
              <pc:sldMasterMk cId="835336367" sldId="2147485117"/>
              <pc:sldLayoutMk cId="567367314" sldId="2147485181"/>
              <ac:spMk id="10" creationId="{00000000-0000-0000-0000-000000000000}"/>
            </ac:spMkLst>
          </pc:spChg>
          <pc:spChg chg="add mod">
            <ac:chgData name="Manish Sharma" userId="97d895ad-8d7a-4884-8c18-743afd731b6f" providerId="ADAL" clId="{19B291BF-5110-451B-9F49-5287458FEFEA}" dt="2021-01-13T00:45:10.789" v="4028"/>
            <ac:spMkLst>
              <pc:docMk/>
              <pc:sldMasterMk cId="835336367" sldId="2147485117"/>
              <pc:sldLayoutMk cId="567367314" sldId="2147485181"/>
              <ac:spMk id="12" creationId="{91124A2A-F954-47DC-9773-312E432D2734}"/>
            </ac:spMkLst>
          </pc:spChg>
          <pc:spChg chg="del">
            <ac:chgData name="Manish Sharma" userId="97d895ad-8d7a-4884-8c18-743afd731b6f" providerId="ADAL" clId="{19B291BF-5110-451B-9F49-5287458FEFEA}" dt="2021-01-13T00:44:58.682" v="4026" actId="478"/>
            <ac:spMkLst>
              <pc:docMk/>
              <pc:sldMasterMk cId="835336367" sldId="2147485117"/>
              <pc:sldLayoutMk cId="567367314" sldId="2147485181"/>
              <ac:spMk id="13" creationId="{00000000-0000-0000-0000-000000000000}"/>
            </ac:spMkLst>
          </pc:spChg>
          <pc:picChg chg="add mod">
            <ac:chgData name="Manish Sharma" userId="97d895ad-8d7a-4884-8c18-743afd731b6f" providerId="ADAL" clId="{19B291BF-5110-451B-9F49-5287458FEFEA}" dt="2021-01-13T00:44:55.085" v="4025"/>
            <ac:picMkLst>
              <pc:docMk/>
              <pc:sldMasterMk cId="835336367" sldId="2147485117"/>
              <pc:sldLayoutMk cId="567367314" sldId="2147485181"/>
              <ac:picMk id="11" creationId="{51EF15A3-12B6-4C9A-928B-5919F87BF939}"/>
            </ac:picMkLst>
          </pc:picChg>
        </pc:sldLayoutChg>
      </pc:sldMasterChg>
    </pc:docChg>
  </pc:docChgLst>
  <pc:docChgLst>
    <pc:chgData name="John Livingstone" userId="0ecdaaa2-a21f-4917-a228-bb965c8e88e8" providerId="ADAL" clId="{6D82BE24-8299-4567-8706-7B5B71AB4A63}"/>
    <pc:docChg chg="undo redo custSel modSld">
      <pc:chgData name="John Livingstone" userId="0ecdaaa2-a21f-4917-a228-bb965c8e88e8" providerId="ADAL" clId="{6D82BE24-8299-4567-8706-7B5B71AB4A63}" dt="2020-12-01T23:06:01.172" v="433" actId="1076"/>
      <pc:docMkLst>
        <pc:docMk/>
      </pc:docMkLst>
      <pc:sldChg chg="delSp modSp mod">
        <pc:chgData name="John Livingstone" userId="0ecdaaa2-a21f-4917-a228-bb965c8e88e8" providerId="ADAL" clId="{6D82BE24-8299-4567-8706-7B5B71AB4A63}" dt="2020-12-01T23:06:01.172" v="433" actId="1076"/>
        <pc:sldMkLst>
          <pc:docMk/>
          <pc:sldMk cId="2652568716" sldId="551"/>
        </pc:sldMkLst>
        <pc:spChg chg="mod">
          <ac:chgData name="John Livingstone" userId="0ecdaaa2-a21f-4917-a228-bb965c8e88e8" providerId="ADAL" clId="{6D82BE24-8299-4567-8706-7B5B71AB4A63}" dt="2020-12-01T23:06:01.172" v="433" actId="1076"/>
          <ac:spMkLst>
            <pc:docMk/>
            <pc:sldMk cId="2652568716" sldId="551"/>
            <ac:spMk id="7" creationId="{B2B4F709-BF32-4B9C-85EF-1E265073D9E8}"/>
          </ac:spMkLst>
        </pc:spChg>
        <pc:spChg chg="del mod">
          <ac:chgData name="John Livingstone" userId="0ecdaaa2-a21f-4917-a228-bb965c8e88e8" providerId="ADAL" clId="{6D82BE24-8299-4567-8706-7B5B71AB4A63}" dt="2020-12-01T21:49:47.398" v="208" actId="478"/>
          <ac:spMkLst>
            <pc:docMk/>
            <pc:sldMk cId="2652568716" sldId="551"/>
            <ac:spMk id="13" creationId="{EC76C687-7CED-4E8E-B732-FCD8439A9540}"/>
          </ac:spMkLst>
        </pc:spChg>
        <pc:spChg chg="mod">
          <ac:chgData name="John Livingstone" userId="0ecdaaa2-a21f-4917-a228-bb965c8e88e8" providerId="ADAL" clId="{6D82BE24-8299-4567-8706-7B5B71AB4A63}" dt="2020-12-01T21:46:55.302" v="198" actId="1076"/>
          <ac:spMkLst>
            <pc:docMk/>
            <pc:sldMk cId="2652568716" sldId="551"/>
            <ac:spMk id="32" creationId="{66C97658-9FBC-4EE3-9FD8-A943269193F6}"/>
          </ac:spMkLst>
        </pc:spChg>
        <pc:graphicFrameChg chg="mod modGraphic">
          <ac:chgData name="John Livingstone" userId="0ecdaaa2-a21f-4917-a228-bb965c8e88e8" providerId="ADAL" clId="{6D82BE24-8299-4567-8706-7B5B71AB4A63}" dt="2020-12-01T23:05:55.696" v="432" actId="20577"/>
          <ac:graphicFrameMkLst>
            <pc:docMk/>
            <pc:sldMk cId="2652568716" sldId="551"/>
            <ac:graphicFrameMk id="12" creationId="{F3CAD3D4-E6BB-4B9A-A523-75143986B640}"/>
          </ac:graphicFrameMkLst>
        </pc:graphicFrameChg>
        <pc:graphicFrameChg chg="mod modGraphic">
          <ac:chgData name="John Livingstone" userId="0ecdaaa2-a21f-4917-a228-bb965c8e88e8" providerId="ADAL" clId="{6D82BE24-8299-4567-8706-7B5B71AB4A63}" dt="2020-12-01T23:03:19.744" v="410" actId="20577"/>
          <ac:graphicFrameMkLst>
            <pc:docMk/>
            <pc:sldMk cId="2652568716" sldId="551"/>
            <ac:graphicFrameMk id="14" creationId="{FEB5ADB4-20B2-4373-B991-B2EEBA794E1A}"/>
          </ac:graphicFrameMkLst>
        </pc:graphicFrameChg>
      </pc:sldChg>
      <pc:sldChg chg="addSp delSp modSp mod">
        <pc:chgData name="John Livingstone" userId="0ecdaaa2-a21f-4917-a228-bb965c8e88e8" providerId="ADAL" clId="{6D82BE24-8299-4567-8706-7B5B71AB4A63}" dt="2020-12-01T22:20:59.791" v="326" actId="2165"/>
        <pc:sldMkLst>
          <pc:docMk/>
          <pc:sldMk cId="3621644946" sldId="561"/>
        </pc:sldMkLst>
        <pc:spChg chg="del">
          <ac:chgData name="John Livingstone" userId="0ecdaaa2-a21f-4917-a228-bb965c8e88e8" providerId="ADAL" clId="{6D82BE24-8299-4567-8706-7B5B71AB4A63}" dt="2020-12-01T21:52:21.721" v="214" actId="478"/>
          <ac:spMkLst>
            <pc:docMk/>
            <pc:sldMk cId="3621644946" sldId="561"/>
            <ac:spMk id="7" creationId="{B2B4F709-BF32-4B9C-85EF-1E265073D9E8}"/>
          </ac:spMkLst>
        </pc:spChg>
        <pc:spChg chg="del mod">
          <ac:chgData name="John Livingstone" userId="0ecdaaa2-a21f-4917-a228-bb965c8e88e8" providerId="ADAL" clId="{6D82BE24-8299-4567-8706-7B5B71AB4A63}" dt="2020-12-01T21:38:25.470" v="168" actId="478"/>
          <ac:spMkLst>
            <pc:docMk/>
            <pc:sldMk cId="3621644946" sldId="561"/>
            <ac:spMk id="13" creationId="{EC76C687-7CED-4E8E-B732-FCD8439A9540}"/>
          </ac:spMkLst>
        </pc:spChg>
        <pc:spChg chg="del mod">
          <ac:chgData name="John Livingstone" userId="0ecdaaa2-a21f-4917-a228-bb965c8e88e8" providerId="ADAL" clId="{6D82BE24-8299-4567-8706-7B5B71AB4A63}" dt="2020-12-01T20:34:08.346" v="6" actId="478"/>
          <ac:spMkLst>
            <pc:docMk/>
            <pc:sldMk cId="3621644946" sldId="561"/>
            <ac:spMk id="32" creationId="{66C97658-9FBC-4EE3-9FD8-A943269193F6}"/>
          </ac:spMkLst>
        </pc:spChg>
        <pc:graphicFrameChg chg="add del mod">
          <ac:chgData name="John Livingstone" userId="0ecdaaa2-a21f-4917-a228-bb965c8e88e8" providerId="ADAL" clId="{6D82BE24-8299-4567-8706-7B5B71AB4A63}" dt="2020-12-01T20:49:50.347" v="38" actId="478"/>
          <ac:graphicFrameMkLst>
            <pc:docMk/>
            <pc:sldMk cId="3621644946" sldId="561"/>
            <ac:graphicFrameMk id="3" creationId="{BFF6B3E0-ABC6-44BE-AA6D-535A7D8A2080}"/>
          </ac:graphicFrameMkLst>
        </pc:graphicFrameChg>
        <pc:graphicFrameChg chg="mod modGraphic">
          <ac:chgData name="John Livingstone" userId="0ecdaaa2-a21f-4917-a228-bb965c8e88e8" providerId="ADAL" clId="{6D82BE24-8299-4567-8706-7B5B71AB4A63}" dt="2020-12-01T22:20:59.791" v="326" actId="2165"/>
          <ac:graphicFrameMkLst>
            <pc:docMk/>
            <pc:sldMk cId="3621644946" sldId="561"/>
            <ac:graphicFrameMk id="12" creationId="{F3CAD3D4-E6BB-4B9A-A523-75143986B640}"/>
          </ac:graphicFrameMkLst>
        </pc:graphicFrameChg>
        <pc:graphicFrameChg chg="mod modGraphic">
          <ac:chgData name="John Livingstone" userId="0ecdaaa2-a21f-4917-a228-bb965c8e88e8" providerId="ADAL" clId="{6D82BE24-8299-4567-8706-7B5B71AB4A63}" dt="2020-12-01T21:42:11.280" v="186" actId="20577"/>
          <ac:graphicFrameMkLst>
            <pc:docMk/>
            <pc:sldMk cId="3621644946" sldId="561"/>
            <ac:graphicFrameMk id="14" creationId="{FEB5ADB4-20B2-4373-B991-B2EEBA794E1A}"/>
          </ac:graphicFrameMkLst>
        </pc:graphicFrameChg>
      </pc:sldChg>
    </pc:docChg>
  </pc:docChgLst>
  <pc:docChgLst>
    <pc:chgData name="Gurunand" userId="3497c6a8-6cb2-4308-974d-19fae6631586" providerId="ADAL" clId="{DF723A5F-C65C-442D-8044-01D5BE939D98}"/>
    <pc:docChg chg="undo custSel modSld">
      <pc:chgData name="Gurunand" userId="3497c6a8-6cb2-4308-974d-19fae6631586" providerId="ADAL" clId="{DF723A5F-C65C-442D-8044-01D5BE939D98}" dt="2020-11-10T00:04:28.259" v="356" actId="13926"/>
      <pc:docMkLst>
        <pc:docMk/>
      </pc:docMkLst>
      <pc:sldChg chg="modSp mod">
        <pc:chgData name="Gurunand" userId="3497c6a8-6cb2-4308-974d-19fae6631586" providerId="ADAL" clId="{DF723A5F-C65C-442D-8044-01D5BE939D98}" dt="2020-11-10T00:04:28.259" v="356" actId="13926"/>
        <pc:sldMkLst>
          <pc:docMk/>
          <pc:sldMk cId="1999519132" sldId="425"/>
        </pc:sldMkLst>
        <pc:graphicFrameChg chg="mod modGraphic">
          <ac:chgData name="Gurunand" userId="3497c6a8-6cb2-4308-974d-19fae6631586" providerId="ADAL" clId="{DF723A5F-C65C-442D-8044-01D5BE939D98}" dt="2020-11-10T00:04:28.259" v="356" actId="13926"/>
          <ac:graphicFrameMkLst>
            <pc:docMk/>
            <pc:sldMk cId="1999519132" sldId="425"/>
            <ac:graphicFrameMk id="28" creationId="{994870E9-25EF-4A43-B1A1-38CC6A36FD4D}"/>
          </ac:graphicFrameMkLst>
        </pc:graphicFrameChg>
      </pc:sldChg>
      <pc:sldChg chg="addSp delSp modSp mod">
        <pc:chgData name="Gurunand" userId="3497c6a8-6cb2-4308-974d-19fae6631586" providerId="ADAL" clId="{DF723A5F-C65C-442D-8044-01D5BE939D98}" dt="2020-11-09T23:51:18.149" v="219" actId="1076"/>
        <pc:sldMkLst>
          <pc:docMk/>
          <pc:sldMk cId="1144498750" sldId="502"/>
        </pc:sldMkLst>
        <pc:spChg chg="mod">
          <ac:chgData name="Gurunand" userId="3497c6a8-6cb2-4308-974d-19fae6631586" providerId="ADAL" clId="{DF723A5F-C65C-442D-8044-01D5BE939D98}" dt="2020-11-09T23:46:48.154" v="208" actId="13926"/>
          <ac:spMkLst>
            <pc:docMk/>
            <pc:sldMk cId="1144498750" sldId="502"/>
            <ac:spMk id="2" creationId="{0F2A2CE9-7B67-443F-97DA-1E45D6288FFE}"/>
          </ac:spMkLst>
        </pc:spChg>
        <pc:spChg chg="del">
          <ac:chgData name="Gurunand" userId="3497c6a8-6cb2-4308-974d-19fae6631586" providerId="ADAL" clId="{DF723A5F-C65C-442D-8044-01D5BE939D98}" dt="2020-11-09T23:49:09.292" v="217" actId="478"/>
          <ac:spMkLst>
            <pc:docMk/>
            <pc:sldMk cId="1144498750" sldId="502"/>
            <ac:spMk id="3" creationId="{ED45A545-6CB7-4A17-BF20-A59FA4D48F0C}"/>
          </ac:spMkLst>
        </pc:spChg>
        <pc:spChg chg="mod">
          <ac:chgData name="Gurunand" userId="3497c6a8-6cb2-4308-974d-19fae6631586" providerId="ADAL" clId="{DF723A5F-C65C-442D-8044-01D5BE939D98}" dt="2020-11-09T23:47:31.692" v="216" actId="20577"/>
          <ac:spMkLst>
            <pc:docMk/>
            <pc:sldMk cId="1144498750" sldId="502"/>
            <ac:spMk id="11" creationId="{98E1CF3E-7DA7-4F35-9501-EDAE59544965}"/>
          </ac:spMkLst>
        </pc:spChg>
        <pc:spChg chg="mod">
          <ac:chgData name="Gurunand" userId="3497c6a8-6cb2-4308-974d-19fae6631586" providerId="ADAL" clId="{DF723A5F-C65C-442D-8044-01D5BE939D98}" dt="2020-11-09T22:29:06.871" v="50" actId="20577"/>
          <ac:spMkLst>
            <pc:docMk/>
            <pc:sldMk cId="1144498750" sldId="502"/>
            <ac:spMk id="13" creationId="{66E48507-921D-4776-882A-B4E152D707D9}"/>
          </ac:spMkLst>
        </pc:spChg>
        <pc:graphicFrameChg chg="add mod">
          <ac:chgData name="Gurunand" userId="3497c6a8-6cb2-4308-974d-19fae6631586" providerId="ADAL" clId="{DF723A5F-C65C-442D-8044-01D5BE939D98}" dt="2020-11-09T23:51:18.149" v="219" actId="1076"/>
          <ac:graphicFrameMkLst>
            <pc:docMk/>
            <pc:sldMk cId="1144498750" sldId="502"/>
            <ac:graphicFrameMk id="4" creationId="{57426E2E-EBB4-434D-97A9-49022F35FC3F}"/>
          </ac:graphicFrameMkLst>
        </pc:graphicFrameChg>
        <pc:graphicFrameChg chg="del mod">
          <ac:chgData name="Gurunand" userId="3497c6a8-6cb2-4308-974d-19fae6631586" providerId="ADAL" clId="{DF723A5F-C65C-442D-8044-01D5BE939D98}" dt="2020-11-09T23:46:25.944" v="203" actId="478"/>
          <ac:graphicFrameMkLst>
            <pc:docMk/>
            <pc:sldMk cId="1144498750" sldId="502"/>
            <ac:graphicFrameMk id="7" creationId="{C0EE446C-7AD1-44B1-8F89-B7E72C506855}"/>
          </ac:graphicFrameMkLst>
        </pc:graphicFrameChg>
        <pc:graphicFrameChg chg="add mod">
          <ac:chgData name="Gurunand" userId="3497c6a8-6cb2-4308-974d-19fae6631586" providerId="ADAL" clId="{DF723A5F-C65C-442D-8044-01D5BE939D98}" dt="2020-11-09T23:45:30.355" v="188"/>
          <ac:graphicFrameMkLst>
            <pc:docMk/>
            <pc:sldMk cId="1144498750" sldId="502"/>
            <ac:graphicFrameMk id="9" creationId="{C0EE446C-7AD1-44B1-8F89-B7E72C506855}"/>
          </ac:graphicFrameMkLst>
        </pc:graphicFrameChg>
        <pc:graphicFrameChg chg="add mod">
          <ac:chgData name="Gurunand" userId="3497c6a8-6cb2-4308-974d-19fae6631586" providerId="ADAL" clId="{DF723A5F-C65C-442D-8044-01D5BE939D98}" dt="2020-11-09T23:46:35.547" v="205" actId="14100"/>
          <ac:graphicFrameMkLst>
            <pc:docMk/>
            <pc:sldMk cId="1144498750" sldId="502"/>
            <ac:graphicFrameMk id="10" creationId="{C0EE446C-7AD1-44B1-8F89-B7E72C506855}"/>
          </ac:graphicFrameMkLst>
        </pc:graphicFrameChg>
        <pc:graphicFrameChg chg="del">
          <ac:chgData name="Gurunand" userId="3497c6a8-6cb2-4308-974d-19fae6631586" providerId="ADAL" clId="{DF723A5F-C65C-442D-8044-01D5BE939D98}" dt="2020-11-09T22:28:58.342" v="45" actId="478"/>
          <ac:graphicFrameMkLst>
            <pc:docMk/>
            <pc:sldMk cId="1144498750" sldId="502"/>
            <ac:graphicFrameMk id="16" creationId="{C951D9AF-7E7D-498E-BB4A-E7D2B8B1C2E8}"/>
          </ac:graphicFrameMkLst>
        </pc:graphicFrameChg>
      </pc:sldChg>
      <pc:sldChg chg="addSp delSp modSp mod">
        <pc:chgData name="Gurunand" userId="3497c6a8-6cb2-4308-974d-19fae6631586" providerId="ADAL" clId="{DF723A5F-C65C-442D-8044-01D5BE939D98}" dt="2020-11-09T23:33:54.673" v="182" actId="20577"/>
        <pc:sldMkLst>
          <pc:docMk/>
          <pc:sldMk cId="3575644813" sldId="506"/>
        </pc:sldMkLst>
        <pc:spChg chg="mod">
          <ac:chgData name="Gurunand" userId="3497c6a8-6cb2-4308-974d-19fae6631586" providerId="ADAL" clId="{DF723A5F-C65C-442D-8044-01D5BE939D98}" dt="2020-11-09T22:27:58.127" v="10" actId="20577"/>
          <ac:spMkLst>
            <pc:docMk/>
            <pc:sldMk cId="3575644813" sldId="506"/>
            <ac:spMk id="2" creationId="{00000000-0000-0000-0000-000000000000}"/>
          </ac:spMkLst>
        </pc:spChg>
        <pc:spChg chg="del">
          <ac:chgData name="Gurunand" userId="3497c6a8-6cb2-4308-974d-19fae6631586" providerId="ADAL" clId="{DF723A5F-C65C-442D-8044-01D5BE939D98}" dt="2020-11-09T23:31:08.431" v="174" actId="478"/>
          <ac:spMkLst>
            <pc:docMk/>
            <pc:sldMk cId="3575644813" sldId="506"/>
            <ac:spMk id="3" creationId="{B1F168AE-AFB0-4D80-A6F4-E05F050954B3}"/>
          </ac:spMkLst>
        </pc:spChg>
        <pc:spChg chg="mod">
          <ac:chgData name="Gurunand" userId="3497c6a8-6cb2-4308-974d-19fae6631586" providerId="ADAL" clId="{DF723A5F-C65C-442D-8044-01D5BE939D98}" dt="2020-11-09T23:32:32.850" v="179" actId="1076"/>
          <ac:spMkLst>
            <pc:docMk/>
            <pc:sldMk cId="3575644813" sldId="506"/>
            <ac:spMk id="7" creationId="{B2B4F709-BF32-4B9C-85EF-1E265073D9E8}"/>
          </ac:spMkLst>
        </pc:spChg>
        <pc:spChg chg="mod">
          <ac:chgData name="Gurunand" userId="3497c6a8-6cb2-4308-974d-19fae6631586" providerId="ADAL" clId="{DF723A5F-C65C-442D-8044-01D5BE939D98}" dt="2020-11-09T23:33:54.673" v="182" actId="20577"/>
          <ac:spMkLst>
            <pc:docMk/>
            <pc:sldMk cId="3575644813" sldId="506"/>
            <ac:spMk id="32" creationId="{66C97658-9FBC-4EE3-9FD8-A943269193F6}"/>
          </ac:spMkLst>
        </pc:spChg>
        <pc:graphicFrameChg chg="add mod">
          <ac:chgData name="Gurunand" userId="3497c6a8-6cb2-4308-974d-19fae6631586" providerId="ADAL" clId="{DF723A5F-C65C-442D-8044-01D5BE939D98}" dt="2020-11-09T23:33:46.019" v="181" actId="1076"/>
          <ac:graphicFrameMkLst>
            <pc:docMk/>
            <pc:sldMk cId="3575644813" sldId="506"/>
            <ac:graphicFrameMk id="4" creationId="{A28B385E-060A-49F4-B316-82584A939834}"/>
          </ac:graphicFrameMkLst>
        </pc:graphicFrameChg>
        <pc:graphicFrameChg chg="del">
          <ac:chgData name="Gurunand" userId="3497c6a8-6cb2-4308-974d-19fae6631586" providerId="ADAL" clId="{DF723A5F-C65C-442D-8044-01D5BE939D98}" dt="2020-11-09T22:28:42.123" v="34" actId="478"/>
          <ac:graphicFrameMkLst>
            <pc:docMk/>
            <pc:sldMk cId="3575644813" sldId="506"/>
            <ac:graphicFrameMk id="5" creationId="{957F1C03-BC44-4497-AFC5-64624D93D439}"/>
          </ac:graphicFrameMkLst>
        </pc:graphicFrameChg>
        <pc:graphicFrameChg chg="mod modGraphic">
          <ac:chgData name="Gurunand" userId="3497c6a8-6cb2-4308-974d-19fae6631586" providerId="ADAL" clId="{DF723A5F-C65C-442D-8044-01D5BE939D98}" dt="2020-11-09T23:31:56.790" v="176"/>
          <ac:graphicFrameMkLst>
            <pc:docMk/>
            <pc:sldMk cId="3575644813" sldId="506"/>
            <ac:graphicFrameMk id="12" creationId="{F3CAD3D4-E6BB-4B9A-A523-75143986B640}"/>
          </ac:graphicFrameMkLst>
        </pc:graphicFrameChg>
        <pc:graphicFrameChg chg="mod modGraphic">
          <ac:chgData name="Gurunand" userId="3497c6a8-6cb2-4308-974d-19fae6631586" providerId="ADAL" clId="{DF723A5F-C65C-442D-8044-01D5BE939D98}" dt="2020-11-09T23:32:21.337" v="178"/>
          <ac:graphicFrameMkLst>
            <pc:docMk/>
            <pc:sldMk cId="3575644813" sldId="506"/>
            <ac:graphicFrameMk id="14" creationId="{FEB5ADB4-20B2-4373-B991-B2EEBA794E1A}"/>
          </ac:graphicFrameMkLst>
        </pc:graphicFrameChg>
      </pc:sldChg>
    </pc:docChg>
  </pc:docChgLst>
  <pc:docChgLst>
    <pc:chgData name="Nevin Kaplan" userId="656b1a96-9149-4999-be80-8fe716a6ebd0" providerId="ADAL" clId="{D3215A70-50A2-4D5C-A313-9B5EAD18C10E}"/>
    <pc:docChg chg="undo custSel modSld">
      <pc:chgData name="Nevin Kaplan" userId="656b1a96-9149-4999-be80-8fe716a6ebd0" providerId="ADAL" clId="{D3215A70-50A2-4D5C-A313-9B5EAD18C10E}" dt="2021-01-07T13:26:42.230" v="3"/>
      <pc:docMkLst>
        <pc:docMk/>
      </pc:docMkLst>
      <pc:sldChg chg="modSp mod">
        <pc:chgData name="Nevin Kaplan" userId="656b1a96-9149-4999-be80-8fe716a6ebd0" providerId="ADAL" clId="{D3215A70-50A2-4D5C-A313-9B5EAD18C10E}" dt="2021-01-07T13:26:42.230" v="3"/>
        <pc:sldMkLst>
          <pc:docMk/>
          <pc:sldMk cId="2693573443" sldId="272"/>
        </pc:sldMkLst>
        <pc:spChg chg="mod">
          <ac:chgData name="Nevin Kaplan" userId="656b1a96-9149-4999-be80-8fe716a6ebd0" providerId="ADAL" clId="{D3215A70-50A2-4D5C-A313-9B5EAD18C10E}" dt="2021-01-07T13:26:42.230" v="3"/>
          <ac:spMkLst>
            <pc:docMk/>
            <pc:sldMk cId="2693573443" sldId="272"/>
            <ac:spMk id="2" creationId="{00000000-0000-0000-0000-000000000000}"/>
          </ac:spMkLst>
        </pc:spChg>
      </pc:sldChg>
    </pc:docChg>
  </pc:docChgLst>
  <pc:docChgLst>
    <pc:chgData name="Gurunand" userId="3497c6a8-6cb2-4308-974d-19fae6631586" providerId="ADAL" clId="{1471200A-FA13-4F6C-8CB6-038B54224977}"/>
    <pc:docChg chg="undo custSel addSld delSld modSld modSection">
      <pc:chgData name="Gurunand" userId="3497c6a8-6cb2-4308-974d-19fae6631586" providerId="ADAL" clId="{1471200A-FA13-4F6C-8CB6-038B54224977}" dt="2020-10-16T20:53:48.582" v="3119" actId="20577"/>
      <pc:docMkLst>
        <pc:docMk/>
      </pc:docMkLst>
      <pc:sldChg chg="modSp mod">
        <pc:chgData name="Gurunand" userId="3497c6a8-6cb2-4308-974d-19fae6631586" providerId="ADAL" clId="{1471200A-FA13-4F6C-8CB6-038B54224977}" dt="2020-10-08T13:07:08.325" v="364" actId="13926"/>
        <pc:sldMkLst>
          <pc:docMk/>
          <pc:sldMk cId="2693573443" sldId="272"/>
        </pc:sldMkLst>
        <pc:spChg chg="mod">
          <ac:chgData name="Gurunand" userId="3497c6a8-6cb2-4308-974d-19fae6631586" providerId="ADAL" clId="{1471200A-FA13-4F6C-8CB6-038B54224977}" dt="2020-10-07T19:06:21.063" v="5" actId="20577"/>
          <ac:spMkLst>
            <pc:docMk/>
            <pc:sldMk cId="2693573443" sldId="272"/>
            <ac:spMk id="2" creationId="{00000000-0000-0000-0000-000000000000}"/>
          </ac:spMkLst>
        </pc:spChg>
        <pc:spChg chg="mod">
          <ac:chgData name="Gurunand" userId="3497c6a8-6cb2-4308-974d-19fae6631586" providerId="ADAL" clId="{1471200A-FA13-4F6C-8CB6-038B54224977}" dt="2020-10-08T13:07:08.325" v="364" actId="13926"/>
          <ac:spMkLst>
            <pc:docMk/>
            <pc:sldMk cId="2693573443" sldId="272"/>
            <ac:spMk id="5" creationId="{00000000-0000-0000-0000-000000000000}"/>
          </ac:spMkLst>
        </pc:spChg>
      </pc:sldChg>
      <pc:sldChg chg="addSp delSp mod">
        <pc:chgData name="Gurunand" userId="3497c6a8-6cb2-4308-974d-19fae6631586" providerId="ADAL" clId="{1471200A-FA13-4F6C-8CB6-038B54224977}" dt="2020-10-07T19:15:23.383" v="17" actId="22"/>
        <pc:sldMkLst>
          <pc:docMk/>
          <pc:sldMk cId="2478486860" sldId="318"/>
        </pc:sldMkLst>
        <pc:spChg chg="add">
          <ac:chgData name="Gurunand" userId="3497c6a8-6cb2-4308-974d-19fae6631586" providerId="ADAL" clId="{1471200A-FA13-4F6C-8CB6-038B54224977}" dt="2020-10-07T19:15:23.383" v="17" actId="22"/>
          <ac:spMkLst>
            <pc:docMk/>
            <pc:sldMk cId="2478486860" sldId="318"/>
            <ac:spMk id="17" creationId="{2A866B7B-5CDF-4326-81CD-7FAEE876F14F}"/>
          </ac:spMkLst>
        </pc:spChg>
        <pc:spChg chg="add del">
          <ac:chgData name="Gurunand" userId="3497c6a8-6cb2-4308-974d-19fae6631586" providerId="ADAL" clId="{1471200A-FA13-4F6C-8CB6-038B54224977}" dt="2020-10-07T19:13:40.140" v="11" actId="22"/>
          <ac:spMkLst>
            <pc:docMk/>
            <pc:sldMk cId="2478486860" sldId="318"/>
            <ac:spMk id="24" creationId="{59C8E450-7BF5-444D-BD37-0976E34D273F}"/>
          </ac:spMkLst>
        </pc:spChg>
        <pc:spChg chg="add del">
          <ac:chgData name="Gurunand" userId="3497c6a8-6cb2-4308-974d-19fae6631586" providerId="ADAL" clId="{1471200A-FA13-4F6C-8CB6-038B54224977}" dt="2020-10-07T19:13:49.262" v="13" actId="22"/>
          <ac:spMkLst>
            <pc:docMk/>
            <pc:sldMk cId="2478486860" sldId="318"/>
            <ac:spMk id="25" creationId="{83A6B656-FD3F-459E-8899-09CDFBD26271}"/>
          </ac:spMkLst>
        </pc:spChg>
        <pc:spChg chg="add del">
          <ac:chgData name="Gurunand" userId="3497c6a8-6cb2-4308-974d-19fae6631586" providerId="ADAL" clId="{1471200A-FA13-4F6C-8CB6-038B54224977}" dt="2020-10-07T19:14:06.590" v="15" actId="22"/>
          <ac:spMkLst>
            <pc:docMk/>
            <pc:sldMk cId="2478486860" sldId="318"/>
            <ac:spMk id="26" creationId="{D3791BE5-3548-4DE0-9782-15C9178983D8}"/>
          </ac:spMkLst>
        </pc:spChg>
      </pc:sldChg>
      <pc:sldChg chg="addSp modSp mod">
        <pc:chgData name="Gurunand" userId="3497c6a8-6cb2-4308-974d-19fae6631586" providerId="ADAL" clId="{1471200A-FA13-4F6C-8CB6-038B54224977}" dt="2020-10-16T20:51:01.730" v="3113" actId="20577"/>
        <pc:sldMkLst>
          <pc:docMk/>
          <pc:sldMk cId="2829381692" sldId="393"/>
        </pc:sldMkLst>
        <pc:spChg chg="add">
          <ac:chgData name="Gurunand" userId="3497c6a8-6cb2-4308-974d-19fae6631586" providerId="ADAL" clId="{1471200A-FA13-4F6C-8CB6-038B54224977}" dt="2020-10-07T19:16:27.586" v="47" actId="22"/>
          <ac:spMkLst>
            <pc:docMk/>
            <pc:sldMk cId="2829381692" sldId="393"/>
            <ac:spMk id="3" creationId="{1F6D7D5D-E9F5-41C3-A159-497096BD8C0A}"/>
          </ac:spMkLst>
        </pc:spChg>
        <pc:spChg chg="mod">
          <ac:chgData name="Gurunand" userId="3497c6a8-6cb2-4308-974d-19fae6631586" providerId="ADAL" clId="{1471200A-FA13-4F6C-8CB6-038B54224977}" dt="2020-10-16T20:50:23.793" v="3112" actId="20577"/>
          <ac:spMkLst>
            <pc:docMk/>
            <pc:sldMk cId="2829381692" sldId="393"/>
            <ac:spMk id="20" creationId="{00000000-0000-0000-0000-000000000000}"/>
          </ac:spMkLst>
        </pc:spChg>
        <pc:spChg chg="mod">
          <ac:chgData name="Gurunand" userId="3497c6a8-6cb2-4308-974d-19fae6631586" providerId="ADAL" clId="{1471200A-FA13-4F6C-8CB6-038B54224977}" dt="2020-10-16T20:51:01.730" v="3113" actId="20577"/>
          <ac:spMkLst>
            <pc:docMk/>
            <pc:sldMk cId="2829381692" sldId="393"/>
            <ac:spMk id="30" creationId="{BC68C9EA-24FC-4D79-A0C1-213D45B72034}"/>
          </ac:spMkLst>
        </pc:spChg>
      </pc:sldChg>
      <pc:sldChg chg="addSp modSp mod">
        <pc:chgData name="Gurunand" userId="3497c6a8-6cb2-4308-974d-19fae6631586" providerId="ADAL" clId="{1471200A-FA13-4F6C-8CB6-038B54224977}" dt="2020-10-16T18:38:31.067" v="2971" actId="20577"/>
        <pc:sldMkLst>
          <pc:docMk/>
          <pc:sldMk cId="1999519132" sldId="425"/>
        </pc:sldMkLst>
        <pc:spChg chg="add">
          <ac:chgData name="Gurunand" userId="3497c6a8-6cb2-4308-974d-19fae6631586" providerId="ADAL" clId="{1471200A-FA13-4F6C-8CB6-038B54224977}" dt="2020-10-07T19:15:58.986" v="37" actId="22"/>
          <ac:spMkLst>
            <pc:docMk/>
            <pc:sldMk cId="1999519132" sldId="425"/>
            <ac:spMk id="3" creationId="{F0981A91-8822-4642-83CC-67BF45B9711A}"/>
          </ac:spMkLst>
        </pc:spChg>
        <pc:graphicFrameChg chg="modGraphic">
          <ac:chgData name="Gurunand" userId="3497c6a8-6cb2-4308-974d-19fae6631586" providerId="ADAL" clId="{1471200A-FA13-4F6C-8CB6-038B54224977}" dt="2020-10-16T18:38:31.067" v="2971" actId="20577"/>
          <ac:graphicFrameMkLst>
            <pc:docMk/>
            <pc:sldMk cId="1999519132" sldId="425"/>
            <ac:graphicFrameMk id="28" creationId="{994870E9-25EF-4A43-B1A1-38CC6A36FD4D}"/>
          </ac:graphicFrameMkLst>
        </pc:graphicFrameChg>
      </pc:sldChg>
      <pc:sldChg chg="addSp modSp mod">
        <pc:chgData name="Gurunand" userId="3497c6a8-6cb2-4308-974d-19fae6631586" providerId="ADAL" clId="{1471200A-FA13-4F6C-8CB6-038B54224977}" dt="2020-10-16T20:43:52.155" v="3108" actId="20577"/>
        <pc:sldMkLst>
          <pc:docMk/>
          <pc:sldMk cId="706555508" sldId="426"/>
        </pc:sldMkLst>
        <pc:spChg chg="mod">
          <ac:chgData name="Gurunand" userId="3497c6a8-6cb2-4308-974d-19fae6631586" providerId="ADAL" clId="{1471200A-FA13-4F6C-8CB6-038B54224977}" dt="2020-10-16T18:46:13.085" v="3038" actId="20577"/>
          <ac:spMkLst>
            <pc:docMk/>
            <pc:sldMk cId="706555508" sldId="426"/>
            <ac:spMk id="2" creationId="{00000000-0000-0000-0000-000000000000}"/>
          </ac:spMkLst>
        </pc:spChg>
        <pc:spChg chg="mod">
          <ac:chgData name="Gurunand" userId="3497c6a8-6cb2-4308-974d-19fae6631586" providerId="ADAL" clId="{1471200A-FA13-4F6C-8CB6-038B54224977}" dt="2020-10-16T20:43:52.155" v="3108" actId="20577"/>
          <ac:spMkLst>
            <pc:docMk/>
            <pc:sldMk cId="706555508" sldId="426"/>
            <ac:spMk id="4" creationId="{00000000-0000-0000-0000-000000000000}"/>
          </ac:spMkLst>
        </pc:spChg>
        <pc:spChg chg="add">
          <ac:chgData name="Gurunand" userId="3497c6a8-6cb2-4308-974d-19fae6631586" providerId="ADAL" clId="{1471200A-FA13-4F6C-8CB6-038B54224977}" dt="2020-10-07T19:14:47.640" v="16" actId="22"/>
          <ac:spMkLst>
            <pc:docMk/>
            <pc:sldMk cId="706555508" sldId="426"/>
            <ac:spMk id="5" creationId="{AE80FC07-FE1A-45B0-99A7-72F6ACCEBF8E}"/>
          </ac:spMkLst>
        </pc:spChg>
      </pc:sldChg>
      <pc:sldChg chg="addSp mod">
        <pc:chgData name="Gurunand" userId="3497c6a8-6cb2-4308-974d-19fae6631586" providerId="ADAL" clId="{1471200A-FA13-4F6C-8CB6-038B54224977}" dt="2020-10-07T19:16:01.074" v="38" actId="22"/>
        <pc:sldMkLst>
          <pc:docMk/>
          <pc:sldMk cId="3705176354" sldId="428"/>
        </pc:sldMkLst>
        <pc:spChg chg="add">
          <ac:chgData name="Gurunand" userId="3497c6a8-6cb2-4308-974d-19fae6631586" providerId="ADAL" clId="{1471200A-FA13-4F6C-8CB6-038B54224977}" dt="2020-10-07T19:16:01.074" v="38" actId="22"/>
          <ac:spMkLst>
            <pc:docMk/>
            <pc:sldMk cId="3705176354" sldId="428"/>
            <ac:spMk id="4" creationId="{A3394E8D-1875-4ABD-89E8-A6C5EB2BF13F}"/>
          </ac:spMkLst>
        </pc:spChg>
      </pc:sldChg>
      <pc:sldChg chg="modSp mod">
        <pc:chgData name="Gurunand" userId="3497c6a8-6cb2-4308-974d-19fae6631586" providerId="ADAL" clId="{1471200A-FA13-4F6C-8CB6-038B54224977}" dt="2020-10-07T19:15:50.602" v="36" actId="20577"/>
        <pc:sldMkLst>
          <pc:docMk/>
          <pc:sldMk cId="2872844160" sldId="440"/>
        </pc:sldMkLst>
        <pc:spChg chg="mod">
          <ac:chgData name="Gurunand" userId="3497c6a8-6cb2-4308-974d-19fae6631586" providerId="ADAL" clId="{1471200A-FA13-4F6C-8CB6-038B54224977}" dt="2020-10-07T19:15:50.602" v="36" actId="20577"/>
          <ac:spMkLst>
            <pc:docMk/>
            <pc:sldMk cId="2872844160" sldId="440"/>
            <ac:spMk id="14" creationId="{10910E56-12B7-4659-A83E-149B51BC73C3}"/>
          </ac:spMkLst>
        </pc:spChg>
        <pc:spChg chg="mod">
          <ac:chgData name="Gurunand" userId="3497c6a8-6cb2-4308-974d-19fae6631586" providerId="ADAL" clId="{1471200A-FA13-4F6C-8CB6-038B54224977}" dt="2020-10-07T19:15:43.173" v="28" actId="20577"/>
          <ac:spMkLst>
            <pc:docMk/>
            <pc:sldMk cId="2872844160" sldId="440"/>
            <ac:spMk id="20" creationId="{00000000-0000-0000-0000-000000000000}"/>
          </ac:spMkLst>
        </pc:spChg>
      </pc:sldChg>
      <pc:sldChg chg="addSp mod">
        <pc:chgData name="Gurunand" userId="3497c6a8-6cb2-4308-974d-19fae6631586" providerId="ADAL" clId="{1471200A-FA13-4F6C-8CB6-038B54224977}" dt="2020-10-07T19:16:25.371" v="46" actId="22"/>
        <pc:sldMkLst>
          <pc:docMk/>
          <pc:sldMk cId="3785293199" sldId="445"/>
        </pc:sldMkLst>
        <pc:spChg chg="add">
          <ac:chgData name="Gurunand" userId="3497c6a8-6cb2-4308-974d-19fae6631586" providerId="ADAL" clId="{1471200A-FA13-4F6C-8CB6-038B54224977}" dt="2020-10-07T19:16:25.371" v="46" actId="22"/>
          <ac:spMkLst>
            <pc:docMk/>
            <pc:sldMk cId="3785293199" sldId="445"/>
            <ac:spMk id="6" creationId="{21801399-D238-48A8-ABF1-7F8514BAB081}"/>
          </ac:spMkLst>
        </pc:spChg>
      </pc:sldChg>
      <pc:sldChg chg="addSp mod">
        <pc:chgData name="Gurunand" userId="3497c6a8-6cb2-4308-974d-19fae6631586" providerId="ADAL" clId="{1471200A-FA13-4F6C-8CB6-038B54224977}" dt="2020-10-07T19:16:13.052" v="42" actId="22"/>
        <pc:sldMkLst>
          <pc:docMk/>
          <pc:sldMk cId="2762800380" sldId="448"/>
        </pc:sldMkLst>
        <pc:spChg chg="add">
          <ac:chgData name="Gurunand" userId="3497c6a8-6cb2-4308-974d-19fae6631586" providerId="ADAL" clId="{1471200A-FA13-4F6C-8CB6-038B54224977}" dt="2020-10-07T19:16:13.052" v="42" actId="22"/>
          <ac:spMkLst>
            <pc:docMk/>
            <pc:sldMk cId="2762800380" sldId="448"/>
            <ac:spMk id="4" creationId="{DE3F3616-407F-43E9-8EB5-4C8CA225E810}"/>
          </ac:spMkLst>
        </pc:spChg>
      </pc:sldChg>
      <pc:sldChg chg="addSp mod">
        <pc:chgData name="Gurunand" userId="3497c6a8-6cb2-4308-974d-19fae6631586" providerId="ADAL" clId="{1471200A-FA13-4F6C-8CB6-038B54224977}" dt="2020-10-07T19:16:15.755" v="43" actId="22"/>
        <pc:sldMkLst>
          <pc:docMk/>
          <pc:sldMk cId="780727013" sldId="452"/>
        </pc:sldMkLst>
        <pc:spChg chg="add">
          <ac:chgData name="Gurunand" userId="3497c6a8-6cb2-4308-974d-19fae6631586" providerId="ADAL" clId="{1471200A-FA13-4F6C-8CB6-038B54224977}" dt="2020-10-07T19:16:15.755" v="43" actId="22"/>
          <ac:spMkLst>
            <pc:docMk/>
            <pc:sldMk cId="780727013" sldId="452"/>
            <ac:spMk id="4" creationId="{6C5E2CFB-23E1-4B5D-A73B-7A041DD759E1}"/>
          </ac:spMkLst>
        </pc:spChg>
      </pc:sldChg>
      <pc:sldChg chg="addSp mod">
        <pc:chgData name="Gurunand" userId="3497c6a8-6cb2-4308-974d-19fae6631586" providerId="ADAL" clId="{1471200A-FA13-4F6C-8CB6-038B54224977}" dt="2020-10-07T19:16:53.046" v="65" actId="22"/>
        <pc:sldMkLst>
          <pc:docMk/>
          <pc:sldMk cId="318827490" sldId="456"/>
        </pc:sldMkLst>
        <pc:spChg chg="add">
          <ac:chgData name="Gurunand" userId="3497c6a8-6cb2-4308-974d-19fae6631586" providerId="ADAL" clId="{1471200A-FA13-4F6C-8CB6-038B54224977}" dt="2020-10-07T19:16:53.046" v="65" actId="22"/>
          <ac:spMkLst>
            <pc:docMk/>
            <pc:sldMk cId="318827490" sldId="456"/>
            <ac:spMk id="4" creationId="{965BE931-F60C-43ED-9D58-6F4CE7836559}"/>
          </ac:spMkLst>
        </pc:spChg>
      </pc:sldChg>
      <pc:sldChg chg="addSp mod">
        <pc:chgData name="Gurunand" userId="3497c6a8-6cb2-4308-974d-19fae6631586" providerId="ADAL" clId="{1471200A-FA13-4F6C-8CB6-038B54224977}" dt="2020-10-07T19:16:55.362" v="66" actId="22"/>
        <pc:sldMkLst>
          <pc:docMk/>
          <pc:sldMk cId="64462132" sldId="457"/>
        </pc:sldMkLst>
        <pc:spChg chg="add">
          <ac:chgData name="Gurunand" userId="3497c6a8-6cb2-4308-974d-19fae6631586" providerId="ADAL" clId="{1471200A-FA13-4F6C-8CB6-038B54224977}" dt="2020-10-07T19:16:55.362" v="66" actId="22"/>
          <ac:spMkLst>
            <pc:docMk/>
            <pc:sldMk cId="64462132" sldId="457"/>
            <ac:spMk id="3" creationId="{BB9784F5-15C3-4830-905E-2AF1877D99A6}"/>
          </ac:spMkLst>
        </pc:spChg>
      </pc:sldChg>
      <pc:sldChg chg="addSp mod">
        <pc:chgData name="Gurunand" userId="3497c6a8-6cb2-4308-974d-19fae6631586" providerId="ADAL" clId="{1471200A-FA13-4F6C-8CB6-038B54224977}" dt="2020-10-07T19:16:57.529" v="67" actId="22"/>
        <pc:sldMkLst>
          <pc:docMk/>
          <pc:sldMk cId="1282065873" sldId="458"/>
        </pc:sldMkLst>
        <pc:spChg chg="add">
          <ac:chgData name="Gurunand" userId="3497c6a8-6cb2-4308-974d-19fae6631586" providerId="ADAL" clId="{1471200A-FA13-4F6C-8CB6-038B54224977}" dt="2020-10-07T19:16:57.529" v="67" actId="22"/>
          <ac:spMkLst>
            <pc:docMk/>
            <pc:sldMk cId="1282065873" sldId="458"/>
            <ac:spMk id="4" creationId="{5FF15291-89A3-49FF-B7A8-E73B1C7FB491}"/>
          </ac:spMkLst>
        </pc:spChg>
      </pc:sldChg>
      <pc:sldChg chg="addSp mod">
        <pc:chgData name="Gurunand" userId="3497c6a8-6cb2-4308-974d-19fae6631586" providerId="ADAL" clId="{1471200A-FA13-4F6C-8CB6-038B54224977}" dt="2020-10-07T19:16:58.929" v="68" actId="22"/>
        <pc:sldMkLst>
          <pc:docMk/>
          <pc:sldMk cId="2955311574" sldId="459"/>
        </pc:sldMkLst>
        <pc:spChg chg="add">
          <ac:chgData name="Gurunand" userId="3497c6a8-6cb2-4308-974d-19fae6631586" providerId="ADAL" clId="{1471200A-FA13-4F6C-8CB6-038B54224977}" dt="2020-10-07T19:16:58.929" v="68" actId="22"/>
          <ac:spMkLst>
            <pc:docMk/>
            <pc:sldMk cId="2955311574" sldId="459"/>
            <ac:spMk id="4" creationId="{749D80E3-D7CD-4BDE-B48C-FBA3280FC51F}"/>
          </ac:spMkLst>
        </pc:spChg>
      </pc:sldChg>
      <pc:sldChg chg="addSp mod">
        <pc:chgData name="Gurunand" userId="3497c6a8-6cb2-4308-974d-19fae6631586" providerId="ADAL" clId="{1471200A-FA13-4F6C-8CB6-038B54224977}" dt="2020-10-07T19:17:05.906" v="71" actId="22"/>
        <pc:sldMkLst>
          <pc:docMk/>
          <pc:sldMk cId="1606788452" sldId="463"/>
        </pc:sldMkLst>
        <pc:spChg chg="add">
          <ac:chgData name="Gurunand" userId="3497c6a8-6cb2-4308-974d-19fae6631586" providerId="ADAL" clId="{1471200A-FA13-4F6C-8CB6-038B54224977}" dt="2020-10-07T19:17:05.906" v="71" actId="22"/>
          <ac:spMkLst>
            <pc:docMk/>
            <pc:sldMk cId="1606788452" sldId="463"/>
            <ac:spMk id="6" creationId="{230DAD2C-050C-4F79-BAB0-0DAD513C78D8}"/>
          </ac:spMkLst>
        </pc:spChg>
      </pc:sldChg>
      <pc:sldChg chg="addSp modSp mod">
        <pc:chgData name="Gurunand" userId="3497c6a8-6cb2-4308-974d-19fae6631586" providerId="ADAL" clId="{1471200A-FA13-4F6C-8CB6-038B54224977}" dt="2020-10-16T20:53:48.582" v="3119" actId="20577"/>
        <pc:sldMkLst>
          <pc:docMk/>
          <pc:sldMk cId="1229755797" sldId="464"/>
        </pc:sldMkLst>
        <pc:spChg chg="add">
          <ac:chgData name="Gurunand" userId="3497c6a8-6cb2-4308-974d-19fae6631586" providerId="ADAL" clId="{1471200A-FA13-4F6C-8CB6-038B54224977}" dt="2020-10-07T19:17:07.584" v="72" actId="22"/>
          <ac:spMkLst>
            <pc:docMk/>
            <pc:sldMk cId="1229755797" sldId="464"/>
            <ac:spMk id="3" creationId="{1BF4A718-A4DE-4461-88E3-8F56A9E65954}"/>
          </ac:spMkLst>
        </pc:spChg>
        <pc:spChg chg="mod">
          <ac:chgData name="Gurunand" userId="3497c6a8-6cb2-4308-974d-19fae6631586" providerId="ADAL" clId="{1471200A-FA13-4F6C-8CB6-038B54224977}" dt="2020-10-16T20:53:48.582" v="3119" actId="20577"/>
          <ac:spMkLst>
            <pc:docMk/>
            <pc:sldMk cId="1229755797" sldId="464"/>
            <ac:spMk id="20" creationId="{00000000-0000-0000-0000-000000000000}"/>
          </ac:spMkLst>
        </pc:spChg>
        <pc:spChg chg="mod">
          <ac:chgData name="Gurunand" userId="3497c6a8-6cb2-4308-974d-19fae6631586" providerId="ADAL" clId="{1471200A-FA13-4F6C-8CB6-038B54224977}" dt="2020-10-16T20:53:44.333" v="3117" actId="20577"/>
          <ac:spMkLst>
            <pc:docMk/>
            <pc:sldMk cId="1229755797" sldId="464"/>
            <ac:spMk id="30" creationId="{BC68C9EA-24FC-4D79-A0C1-213D45B72034}"/>
          </ac:spMkLst>
        </pc:spChg>
      </pc:sldChg>
      <pc:sldChg chg="modSp mod">
        <pc:chgData name="Gurunand" userId="3497c6a8-6cb2-4308-974d-19fae6631586" providerId="ADAL" clId="{1471200A-FA13-4F6C-8CB6-038B54224977}" dt="2020-10-07T19:16:45.823" v="63" actId="20577"/>
        <pc:sldMkLst>
          <pc:docMk/>
          <pc:sldMk cId="1684810098" sldId="481"/>
        </pc:sldMkLst>
        <pc:spChg chg="mod">
          <ac:chgData name="Gurunand" userId="3497c6a8-6cb2-4308-974d-19fae6631586" providerId="ADAL" clId="{1471200A-FA13-4F6C-8CB6-038B54224977}" dt="2020-10-07T19:16:45.823" v="63" actId="20577"/>
          <ac:spMkLst>
            <pc:docMk/>
            <pc:sldMk cId="1684810098" sldId="481"/>
            <ac:spMk id="14" creationId="{10910E56-12B7-4659-A83E-149B51BC73C3}"/>
          </ac:spMkLst>
        </pc:spChg>
        <pc:spChg chg="mod">
          <ac:chgData name="Gurunand" userId="3497c6a8-6cb2-4308-974d-19fae6631586" providerId="ADAL" clId="{1471200A-FA13-4F6C-8CB6-038B54224977}" dt="2020-10-07T19:16:37.342" v="56" actId="20577"/>
          <ac:spMkLst>
            <pc:docMk/>
            <pc:sldMk cId="1684810098" sldId="481"/>
            <ac:spMk id="20" creationId="{00000000-0000-0000-0000-000000000000}"/>
          </ac:spMkLst>
        </pc:spChg>
      </pc:sldChg>
      <pc:sldChg chg="modSp mod">
        <pc:chgData name="Gurunand" userId="3497c6a8-6cb2-4308-974d-19fae6631586" providerId="ADAL" clId="{1471200A-FA13-4F6C-8CB6-038B54224977}" dt="2020-10-07T19:17:24.582" v="87" actId="20577"/>
        <pc:sldMkLst>
          <pc:docMk/>
          <pc:sldMk cId="1800981068" sldId="483"/>
        </pc:sldMkLst>
        <pc:spChg chg="mod">
          <ac:chgData name="Gurunand" userId="3497c6a8-6cb2-4308-974d-19fae6631586" providerId="ADAL" clId="{1471200A-FA13-4F6C-8CB6-038B54224977}" dt="2020-10-07T19:17:24.582" v="87" actId="20577"/>
          <ac:spMkLst>
            <pc:docMk/>
            <pc:sldMk cId="1800981068" sldId="483"/>
            <ac:spMk id="14" creationId="{10910E56-12B7-4659-A83E-149B51BC73C3}"/>
          </ac:spMkLst>
        </pc:spChg>
        <pc:spChg chg="mod">
          <ac:chgData name="Gurunand" userId="3497c6a8-6cb2-4308-974d-19fae6631586" providerId="ADAL" clId="{1471200A-FA13-4F6C-8CB6-038B54224977}" dt="2020-10-07T19:17:17.883" v="81" actId="20577"/>
          <ac:spMkLst>
            <pc:docMk/>
            <pc:sldMk cId="1800981068" sldId="483"/>
            <ac:spMk id="20" creationId="{00000000-0000-0000-0000-000000000000}"/>
          </ac:spMkLst>
        </pc:spChg>
      </pc:sldChg>
      <pc:sldChg chg="addSp add del mod">
        <pc:chgData name="Gurunand" userId="3497c6a8-6cb2-4308-974d-19fae6631586" providerId="ADAL" clId="{1471200A-FA13-4F6C-8CB6-038B54224977}" dt="2020-10-07T19:18:31.279" v="91" actId="47"/>
        <pc:sldMkLst>
          <pc:docMk/>
          <pc:sldMk cId="2390210828" sldId="485"/>
        </pc:sldMkLst>
        <pc:spChg chg="add">
          <ac:chgData name="Gurunand" userId="3497c6a8-6cb2-4308-974d-19fae6631586" providerId="ADAL" clId="{1471200A-FA13-4F6C-8CB6-038B54224977}" dt="2020-10-07T19:16:19.048" v="44" actId="22"/>
          <ac:spMkLst>
            <pc:docMk/>
            <pc:sldMk cId="2390210828" sldId="485"/>
            <ac:spMk id="4" creationId="{6E8C1C80-F5D5-49EF-B944-DFBA55BAB006}"/>
          </ac:spMkLst>
        </pc:spChg>
      </pc:sldChg>
      <pc:sldChg chg="addSp del mod">
        <pc:chgData name="Gurunand" userId="3497c6a8-6cb2-4308-974d-19fae6631586" providerId="ADAL" clId="{1471200A-FA13-4F6C-8CB6-038B54224977}" dt="2020-10-07T19:19:15.463" v="93" actId="2696"/>
        <pc:sldMkLst>
          <pc:docMk/>
          <pc:sldMk cId="1463465618" sldId="486"/>
        </pc:sldMkLst>
        <pc:spChg chg="add">
          <ac:chgData name="Gurunand" userId="3497c6a8-6cb2-4308-974d-19fae6631586" providerId="ADAL" clId="{1471200A-FA13-4F6C-8CB6-038B54224977}" dt="2020-10-07T19:17:02.225" v="69" actId="22"/>
          <ac:spMkLst>
            <pc:docMk/>
            <pc:sldMk cId="1463465618" sldId="486"/>
            <ac:spMk id="4" creationId="{D4F7E115-BA9B-42EF-A1E7-B38187B20792}"/>
          </ac:spMkLst>
        </pc:spChg>
      </pc:sldChg>
      <pc:sldChg chg="addSp delSp mod">
        <pc:chgData name="Gurunand" userId="3497c6a8-6cb2-4308-974d-19fae6631586" providerId="ADAL" clId="{1471200A-FA13-4F6C-8CB6-038B54224977}" dt="2020-10-07T19:16:11.683" v="41" actId="22"/>
        <pc:sldMkLst>
          <pc:docMk/>
          <pc:sldMk cId="467378802" sldId="492"/>
        </pc:sldMkLst>
        <pc:spChg chg="add">
          <ac:chgData name="Gurunand" userId="3497c6a8-6cb2-4308-974d-19fae6631586" providerId="ADAL" clId="{1471200A-FA13-4F6C-8CB6-038B54224977}" dt="2020-10-07T19:16:05.081" v="39" actId="22"/>
          <ac:spMkLst>
            <pc:docMk/>
            <pc:sldMk cId="467378802" sldId="492"/>
            <ac:spMk id="3" creationId="{991DD1DE-A818-4D2A-9374-07E78BE35A97}"/>
          </ac:spMkLst>
        </pc:spChg>
        <pc:spChg chg="add del">
          <ac:chgData name="Gurunand" userId="3497c6a8-6cb2-4308-974d-19fae6631586" providerId="ADAL" clId="{1471200A-FA13-4F6C-8CB6-038B54224977}" dt="2020-10-07T19:16:11.683" v="41" actId="22"/>
          <ac:spMkLst>
            <pc:docMk/>
            <pc:sldMk cId="467378802" sldId="492"/>
            <ac:spMk id="4" creationId="{CF91CA18-DFA3-4332-AF97-F73FF2FCB68A}"/>
          </ac:spMkLst>
        </pc:spChg>
      </pc:sldChg>
      <pc:sldChg chg="addSp mod">
        <pc:chgData name="Gurunand" userId="3497c6a8-6cb2-4308-974d-19fae6631586" providerId="ADAL" clId="{1471200A-FA13-4F6C-8CB6-038B54224977}" dt="2020-10-07T19:17:04.155" v="70" actId="22"/>
        <pc:sldMkLst>
          <pc:docMk/>
          <pc:sldMk cId="2317255079" sldId="493"/>
        </pc:sldMkLst>
        <pc:spChg chg="add">
          <ac:chgData name="Gurunand" userId="3497c6a8-6cb2-4308-974d-19fae6631586" providerId="ADAL" clId="{1471200A-FA13-4F6C-8CB6-038B54224977}" dt="2020-10-07T19:17:04.155" v="70" actId="22"/>
          <ac:spMkLst>
            <pc:docMk/>
            <pc:sldMk cId="2317255079" sldId="493"/>
            <ac:spMk id="5" creationId="{EC9483C0-FF35-4EDB-8E00-08523F644845}"/>
          </ac:spMkLst>
        </pc:spChg>
      </pc:sldChg>
      <pc:sldChg chg="addSp modSp mod">
        <pc:chgData name="Gurunand" userId="3497c6a8-6cb2-4308-974d-19fae6631586" providerId="ADAL" clId="{1471200A-FA13-4F6C-8CB6-038B54224977}" dt="2020-10-16T20:37:14.479" v="3092" actId="20577"/>
        <pc:sldMkLst>
          <pc:docMk/>
          <pc:sldMk cId="1603357931" sldId="494"/>
        </pc:sldMkLst>
        <pc:spChg chg="add">
          <ac:chgData name="Gurunand" userId="3497c6a8-6cb2-4308-974d-19fae6631586" providerId="ADAL" clId="{1471200A-FA13-4F6C-8CB6-038B54224977}" dt="2020-10-07T19:16:22.830" v="45" actId="22"/>
          <ac:spMkLst>
            <pc:docMk/>
            <pc:sldMk cId="1603357931" sldId="494"/>
            <ac:spMk id="5" creationId="{5C066805-A8FA-44BE-ADA9-27F45A064A52}"/>
          </ac:spMkLst>
        </pc:spChg>
        <pc:spChg chg="mod">
          <ac:chgData name="Gurunand" userId="3497c6a8-6cb2-4308-974d-19fae6631586" providerId="ADAL" clId="{1471200A-FA13-4F6C-8CB6-038B54224977}" dt="2020-10-16T20:37:14.479" v="3092" actId="20577"/>
          <ac:spMkLst>
            <pc:docMk/>
            <pc:sldMk cId="1603357931" sldId="494"/>
            <ac:spMk id="76" creationId="{44CA77D8-9CF9-4BA8-9B8A-8E2AAFCEFFE0}"/>
          </ac:spMkLst>
        </pc:spChg>
      </pc:sldChg>
      <pc:sldChg chg="addSp modSp mod">
        <pc:chgData name="Gurunand" userId="3497c6a8-6cb2-4308-974d-19fae6631586" providerId="ADAL" clId="{1471200A-FA13-4F6C-8CB6-038B54224977}" dt="2020-10-16T18:42:35.242" v="3010" actId="13926"/>
        <pc:sldMkLst>
          <pc:docMk/>
          <pc:sldMk cId="2228024324" sldId="495"/>
        </pc:sldMkLst>
        <pc:spChg chg="add">
          <ac:chgData name="Gurunand" userId="3497c6a8-6cb2-4308-974d-19fae6631586" providerId="ADAL" clId="{1471200A-FA13-4F6C-8CB6-038B54224977}" dt="2020-10-07T19:16:49.680" v="64" actId="22"/>
          <ac:spMkLst>
            <pc:docMk/>
            <pc:sldMk cId="2228024324" sldId="495"/>
            <ac:spMk id="3" creationId="{7E6DEAE8-A2C2-4F3D-968C-12FCAB8D7327}"/>
          </ac:spMkLst>
        </pc:spChg>
        <pc:graphicFrameChg chg="modGraphic">
          <ac:chgData name="Gurunand" userId="3497c6a8-6cb2-4308-974d-19fae6631586" providerId="ADAL" clId="{1471200A-FA13-4F6C-8CB6-038B54224977}" dt="2020-10-16T18:42:35.242" v="3010" actId="13926"/>
          <ac:graphicFrameMkLst>
            <pc:docMk/>
            <pc:sldMk cId="2228024324" sldId="495"/>
            <ac:graphicFrameMk id="28" creationId="{994870E9-25EF-4A43-B1A1-38CC6A36FD4D}"/>
          </ac:graphicFrameMkLst>
        </pc:graphicFrameChg>
      </pc:sldChg>
      <pc:sldChg chg="addSp delSp modSp del mod">
        <pc:chgData name="Gurunand" userId="3497c6a8-6cb2-4308-974d-19fae6631586" providerId="ADAL" clId="{1471200A-FA13-4F6C-8CB6-038B54224977}" dt="2020-10-15T23:07:35.619" v="2408" actId="2696"/>
        <pc:sldMkLst>
          <pc:docMk/>
          <pc:sldMk cId="2158428790" sldId="496"/>
        </pc:sldMkLst>
        <pc:spChg chg="add del mod">
          <ac:chgData name="Gurunand" userId="3497c6a8-6cb2-4308-974d-19fae6631586" providerId="ADAL" clId="{1471200A-FA13-4F6C-8CB6-038B54224977}" dt="2020-10-07T21:05:23.853" v="308" actId="478"/>
          <ac:spMkLst>
            <pc:docMk/>
            <pc:sldMk cId="2158428790" sldId="496"/>
            <ac:spMk id="4" creationId="{CE9C8D51-BD63-4003-80C5-D07E6D6D317D}"/>
          </ac:spMkLst>
        </pc:spChg>
        <pc:spChg chg="mod">
          <ac:chgData name="Gurunand" userId="3497c6a8-6cb2-4308-974d-19fae6631586" providerId="ADAL" clId="{1471200A-FA13-4F6C-8CB6-038B54224977}" dt="2020-10-08T18:09:02.830" v="908" actId="13926"/>
          <ac:spMkLst>
            <pc:docMk/>
            <pc:sldMk cId="2158428790" sldId="496"/>
            <ac:spMk id="7" creationId="{B2B4F709-BF32-4B9C-85EF-1E265073D9E8}"/>
          </ac:spMkLst>
        </pc:spChg>
        <pc:spChg chg="mod">
          <ac:chgData name="Gurunand" userId="3497c6a8-6cb2-4308-974d-19fae6631586" providerId="ADAL" clId="{1471200A-FA13-4F6C-8CB6-038B54224977}" dt="2020-10-07T21:08:00.193" v="337" actId="1038"/>
          <ac:spMkLst>
            <pc:docMk/>
            <pc:sldMk cId="2158428790" sldId="496"/>
            <ac:spMk id="11" creationId="{82952FFE-0367-4CA9-AFC3-BD9B1D92C917}"/>
          </ac:spMkLst>
        </pc:spChg>
        <pc:spChg chg="mod">
          <ac:chgData name="Gurunand" userId="3497c6a8-6cb2-4308-974d-19fae6631586" providerId="ADAL" clId="{1471200A-FA13-4F6C-8CB6-038B54224977}" dt="2020-10-08T18:11:21.370" v="909" actId="1076"/>
          <ac:spMkLst>
            <pc:docMk/>
            <pc:sldMk cId="2158428790" sldId="496"/>
            <ac:spMk id="32" creationId="{66C97658-9FBC-4EE3-9FD8-A943269193F6}"/>
          </ac:spMkLst>
        </pc:spChg>
        <pc:graphicFrameChg chg="add mod">
          <ac:chgData name="Gurunand" userId="3497c6a8-6cb2-4308-974d-19fae6631586" providerId="ADAL" clId="{1471200A-FA13-4F6C-8CB6-038B54224977}" dt="2020-10-13T00:16:38.551" v="960"/>
          <ac:graphicFrameMkLst>
            <pc:docMk/>
            <pc:sldMk cId="2158428790" sldId="496"/>
            <ac:graphicFrameMk id="5" creationId="{40AC94DC-C910-4E38-A198-8AB9B799595F}"/>
          </ac:graphicFrameMkLst>
        </pc:graphicFrameChg>
        <pc:graphicFrameChg chg="mod modGraphic">
          <ac:chgData name="Gurunand" userId="3497c6a8-6cb2-4308-974d-19fae6631586" providerId="ADAL" clId="{1471200A-FA13-4F6C-8CB6-038B54224977}" dt="2020-10-08T18:13:03.603" v="959"/>
          <ac:graphicFrameMkLst>
            <pc:docMk/>
            <pc:sldMk cId="2158428790" sldId="496"/>
            <ac:graphicFrameMk id="12" creationId="{F3CAD3D4-E6BB-4B9A-A523-75143986B640}"/>
          </ac:graphicFrameMkLst>
        </pc:graphicFrameChg>
        <pc:graphicFrameChg chg="mod modGraphic">
          <ac:chgData name="Gurunand" userId="3497c6a8-6cb2-4308-974d-19fae6631586" providerId="ADAL" clId="{1471200A-FA13-4F6C-8CB6-038B54224977}" dt="2020-10-15T17:52:22.948" v="2407" actId="108"/>
          <ac:graphicFrameMkLst>
            <pc:docMk/>
            <pc:sldMk cId="2158428790" sldId="496"/>
            <ac:graphicFrameMk id="14" creationId="{FEB5ADB4-20B2-4373-B991-B2EEBA794E1A}"/>
          </ac:graphicFrameMkLst>
        </pc:graphicFrameChg>
        <pc:cxnChg chg="mod">
          <ac:chgData name="Gurunand" userId="3497c6a8-6cb2-4308-974d-19fae6631586" providerId="ADAL" clId="{1471200A-FA13-4F6C-8CB6-038B54224977}" dt="2020-10-07T21:06:35.237" v="310" actId="1076"/>
          <ac:cxnSpMkLst>
            <pc:docMk/>
            <pc:sldMk cId="2158428790" sldId="496"/>
            <ac:cxnSpMk id="10" creationId="{0B4C60F1-26B8-41C5-97D8-49502DFAA189}"/>
          </ac:cxnSpMkLst>
        </pc:cxnChg>
      </pc:sldChg>
      <pc:sldChg chg="addSp del mod">
        <pc:chgData name="Gurunand" userId="3497c6a8-6cb2-4308-974d-19fae6631586" providerId="ADAL" clId="{1471200A-FA13-4F6C-8CB6-038B54224977}" dt="2020-10-07T20:50:03.915" v="292" actId="47"/>
        <pc:sldMkLst>
          <pc:docMk/>
          <pc:sldMk cId="2435948042" sldId="497"/>
        </pc:sldMkLst>
        <pc:spChg chg="add">
          <ac:chgData name="Gurunand" userId="3497c6a8-6cb2-4308-974d-19fae6631586" providerId="ADAL" clId="{1471200A-FA13-4F6C-8CB6-038B54224977}" dt="2020-10-07T19:19:07.848" v="92" actId="22"/>
          <ac:spMkLst>
            <pc:docMk/>
            <pc:sldMk cId="2435948042" sldId="497"/>
            <ac:spMk id="4" creationId="{A6DF666F-0ADA-4690-B1FB-B2229A2AFEB2}"/>
          </ac:spMkLst>
        </pc:spChg>
      </pc:sldChg>
      <pc:sldChg chg="modSp del mod">
        <pc:chgData name="Gurunand" userId="3497c6a8-6cb2-4308-974d-19fae6631586" providerId="ADAL" clId="{1471200A-FA13-4F6C-8CB6-038B54224977}" dt="2020-10-07T21:09:41.780" v="356" actId="2696"/>
        <pc:sldMkLst>
          <pc:docMk/>
          <pc:sldMk cId="2280546901" sldId="498"/>
        </pc:sldMkLst>
        <pc:spChg chg="mod">
          <ac:chgData name="Gurunand" userId="3497c6a8-6cb2-4308-974d-19fae6631586" providerId="ADAL" clId="{1471200A-FA13-4F6C-8CB6-038B54224977}" dt="2020-10-07T20:50:34.845" v="298" actId="20577"/>
          <ac:spMkLst>
            <pc:docMk/>
            <pc:sldMk cId="2280546901" sldId="498"/>
            <ac:spMk id="2" creationId="{00000000-0000-0000-0000-000000000000}"/>
          </ac:spMkLst>
        </pc:spChg>
        <pc:spChg chg="mod">
          <ac:chgData name="Gurunand" userId="3497c6a8-6cb2-4308-974d-19fae6631586" providerId="ADAL" clId="{1471200A-FA13-4F6C-8CB6-038B54224977}" dt="2020-10-07T20:49:52.079" v="291" actId="20577"/>
          <ac:spMkLst>
            <pc:docMk/>
            <pc:sldMk cId="2280546901" sldId="498"/>
            <ac:spMk id="32" creationId="{66C97658-9FBC-4EE3-9FD8-A943269193F6}"/>
          </ac:spMkLst>
        </pc:spChg>
      </pc:sldChg>
      <pc:sldChg chg="addSp delSp modSp mod">
        <pc:chgData name="Gurunand" userId="3497c6a8-6cb2-4308-974d-19fae6631586" providerId="ADAL" clId="{1471200A-FA13-4F6C-8CB6-038B54224977}" dt="2020-10-16T18:41:31.596" v="2993" actId="20577"/>
        <pc:sldMkLst>
          <pc:docMk/>
          <pc:sldMk cId="1384903469" sldId="499"/>
        </pc:sldMkLst>
        <pc:spChg chg="mod">
          <ac:chgData name="Gurunand" userId="3497c6a8-6cb2-4308-974d-19fae6631586" providerId="ADAL" clId="{1471200A-FA13-4F6C-8CB6-038B54224977}" dt="2020-10-07T21:09:01.002" v="345" actId="20577"/>
          <ac:spMkLst>
            <pc:docMk/>
            <pc:sldMk cId="1384903469" sldId="499"/>
            <ac:spMk id="2" creationId="{00000000-0000-0000-0000-000000000000}"/>
          </ac:spMkLst>
        </pc:spChg>
        <pc:spChg chg="add del">
          <ac:chgData name="Gurunand" userId="3497c6a8-6cb2-4308-974d-19fae6631586" providerId="ADAL" clId="{1471200A-FA13-4F6C-8CB6-038B54224977}" dt="2020-10-08T17:52:23.755" v="764" actId="478"/>
          <ac:spMkLst>
            <pc:docMk/>
            <pc:sldMk cId="1384903469" sldId="499"/>
            <ac:spMk id="4" creationId="{41D42A78-D4B1-4358-94AD-67E8CD807910}"/>
          </ac:spMkLst>
        </pc:spChg>
        <pc:spChg chg="mod">
          <ac:chgData name="Gurunand" userId="3497c6a8-6cb2-4308-974d-19fae6631586" providerId="ADAL" clId="{1471200A-FA13-4F6C-8CB6-038B54224977}" dt="2020-10-16T18:39:32.590" v="2978" actId="20577"/>
          <ac:spMkLst>
            <pc:docMk/>
            <pc:sldMk cId="1384903469" sldId="499"/>
            <ac:spMk id="7" creationId="{B2B4F709-BF32-4B9C-85EF-1E265073D9E8}"/>
          </ac:spMkLst>
        </pc:spChg>
        <pc:spChg chg="mod">
          <ac:chgData name="Gurunand" userId="3497c6a8-6cb2-4308-974d-19fae6631586" providerId="ADAL" clId="{1471200A-FA13-4F6C-8CB6-038B54224977}" dt="2020-10-08T17:59:10.603" v="777" actId="1076"/>
          <ac:spMkLst>
            <pc:docMk/>
            <pc:sldMk cId="1384903469" sldId="499"/>
            <ac:spMk id="32" creationId="{66C97658-9FBC-4EE3-9FD8-A943269193F6}"/>
          </ac:spMkLst>
        </pc:spChg>
        <pc:graphicFrameChg chg="add del mod">
          <ac:chgData name="Gurunand" userId="3497c6a8-6cb2-4308-974d-19fae6631586" providerId="ADAL" clId="{1471200A-FA13-4F6C-8CB6-038B54224977}" dt="2020-10-16T18:13:30.069" v="2895" actId="478"/>
          <ac:graphicFrameMkLst>
            <pc:docMk/>
            <pc:sldMk cId="1384903469" sldId="499"/>
            <ac:graphicFrameMk id="4" creationId="{4DF14398-3F03-4CFA-9D5A-0826C74DBDEA}"/>
          </ac:graphicFrameMkLst>
        </pc:graphicFrameChg>
        <pc:graphicFrameChg chg="add del mod">
          <ac:chgData name="Gurunand" userId="3497c6a8-6cb2-4308-974d-19fae6631586" providerId="ADAL" clId="{1471200A-FA13-4F6C-8CB6-038B54224977}" dt="2020-10-15T17:50:12.653" v="2398" actId="478"/>
          <ac:graphicFrameMkLst>
            <pc:docMk/>
            <pc:sldMk cId="1384903469" sldId="499"/>
            <ac:graphicFrameMk id="4" creationId="{689918EB-8721-42B3-986E-2ED204AA937E}"/>
          </ac:graphicFrameMkLst>
        </pc:graphicFrameChg>
        <pc:graphicFrameChg chg="add del mod">
          <ac:chgData name="Gurunand" userId="3497c6a8-6cb2-4308-974d-19fae6631586" providerId="ADAL" clId="{1471200A-FA13-4F6C-8CB6-038B54224977}" dt="2020-10-15T17:37:26.604" v="2316" actId="478"/>
          <ac:graphicFrameMkLst>
            <pc:docMk/>
            <pc:sldMk cId="1384903469" sldId="499"/>
            <ac:graphicFrameMk id="5" creationId="{1A80D9DC-9585-4A3F-9F6A-07B421F9B17F}"/>
          </ac:graphicFrameMkLst>
        </pc:graphicFrameChg>
        <pc:graphicFrameChg chg="del">
          <ac:chgData name="Gurunand" userId="3497c6a8-6cb2-4308-974d-19fae6631586" providerId="ADAL" clId="{1471200A-FA13-4F6C-8CB6-038B54224977}" dt="2020-10-07T21:09:07.492" v="346" actId="478"/>
          <ac:graphicFrameMkLst>
            <pc:docMk/>
            <pc:sldMk cId="1384903469" sldId="499"/>
            <ac:graphicFrameMk id="5" creationId="{40AC94DC-C910-4E38-A198-8AB9B799595F}"/>
          </ac:graphicFrameMkLst>
        </pc:graphicFrameChg>
        <pc:graphicFrameChg chg="add mod">
          <ac:chgData name="Gurunand" userId="3497c6a8-6cb2-4308-974d-19fae6631586" providerId="ADAL" clId="{1471200A-FA13-4F6C-8CB6-038B54224977}" dt="2020-10-16T18:39:07.450" v="2972"/>
          <ac:graphicFrameMkLst>
            <pc:docMk/>
            <pc:sldMk cId="1384903469" sldId="499"/>
            <ac:graphicFrameMk id="5" creationId="{DC1D1C68-F463-4C26-BD40-F40E346A09E1}"/>
          </ac:graphicFrameMkLst>
        </pc:graphicFrameChg>
        <pc:graphicFrameChg chg="add del mod">
          <ac:chgData name="Gurunand" userId="3497c6a8-6cb2-4308-974d-19fae6631586" providerId="ADAL" clId="{1471200A-FA13-4F6C-8CB6-038B54224977}" dt="2020-10-16T17:21:18.503" v="2763" actId="478"/>
          <ac:graphicFrameMkLst>
            <pc:docMk/>
            <pc:sldMk cId="1384903469" sldId="499"/>
            <ac:graphicFrameMk id="6" creationId="{F958D17E-98B3-417E-806E-B5DA9C73F9C4}"/>
          </ac:graphicFrameMkLst>
        </pc:graphicFrameChg>
        <pc:graphicFrameChg chg="mod modGraphic">
          <ac:chgData name="Gurunand" userId="3497c6a8-6cb2-4308-974d-19fae6631586" providerId="ADAL" clId="{1471200A-FA13-4F6C-8CB6-038B54224977}" dt="2020-10-16T18:41:31.596" v="2993" actId="20577"/>
          <ac:graphicFrameMkLst>
            <pc:docMk/>
            <pc:sldMk cId="1384903469" sldId="499"/>
            <ac:graphicFrameMk id="12" creationId="{F3CAD3D4-E6BB-4B9A-A523-75143986B640}"/>
          </ac:graphicFrameMkLst>
        </pc:graphicFrameChg>
        <pc:graphicFrameChg chg="mod modGraphic">
          <ac:chgData name="Gurunand" userId="3497c6a8-6cb2-4308-974d-19fae6631586" providerId="ADAL" clId="{1471200A-FA13-4F6C-8CB6-038B54224977}" dt="2020-10-16T17:21:14.284" v="2762" actId="20577"/>
          <ac:graphicFrameMkLst>
            <pc:docMk/>
            <pc:sldMk cId="1384903469" sldId="499"/>
            <ac:graphicFrameMk id="14" creationId="{FEB5ADB4-20B2-4373-B991-B2EEBA794E1A}"/>
          </ac:graphicFrameMkLst>
        </pc:graphicFrameChg>
      </pc:sldChg>
      <pc:sldChg chg="add del">
        <pc:chgData name="Gurunand" userId="3497c6a8-6cb2-4308-974d-19fae6631586" providerId="ADAL" clId="{1471200A-FA13-4F6C-8CB6-038B54224977}" dt="2020-10-13T19:01:20.757" v="962" actId="2890"/>
        <pc:sldMkLst>
          <pc:docMk/>
          <pc:sldMk cId="489988117" sldId="500"/>
        </pc:sldMkLst>
      </pc:sldChg>
      <pc:sldChg chg="addSp modSp new mod">
        <pc:chgData name="Gurunand" userId="3497c6a8-6cb2-4308-974d-19fae6631586" providerId="ADAL" clId="{1471200A-FA13-4F6C-8CB6-038B54224977}" dt="2020-10-13T19:12:58.723" v="1199" actId="22"/>
        <pc:sldMkLst>
          <pc:docMk/>
          <pc:sldMk cId="1144498750" sldId="500"/>
        </pc:sldMkLst>
        <pc:spChg chg="mod">
          <ac:chgData name="Gurunand" userId="3497c6a8-6cb2-4308-974d-19fae6631586" providerId="ADAL" clId="{1471200A-FA13-4F6C-8CB6-038B54224977}" dt="2020-10-13T19:02:42.744" v="979" actId="20577"/>
          <ac:spMkLst>
            <pc:docMk/>
            <pc:sldMk cId="1144498750" sldId="500"/>
            <ac:spMk id="2" creationId="{0F2A2CE9-7B67-443F-97DA-1E45D6288FFE}"/>
          </ac:spMkLst>
        </pc:spChg>
        <pc:spChg chg="add mod">
          <ac:chgData name="Gurunand" userId="3497c6a8-6cb2-4308-974d-19fae6631586" providerId="ADAL" clId="{1471200A-FA13-4F6C-8CB6-038B54224977}" dt="2020-10-13T19:12:18.489" v="1198" actId="20577"/>
          <ac:spMkLst>
            <pc:docMk/>
            <pc:sldMk cId="1144498750" sldId="500"/>
            <ac:spMk id="4" creationId="{B48739C1-8A82-4665-AEBA-2FD5D2610131}"/>
          </ac:spMkLst>
        </pc:spChg>
        <pc:spChg chg="add">
          <ac:chgData name="Gurunand" userId="3497c6a8-6cb2-4308-974d-19fae6631586" providerId="ADAL" clId="{1471200A-FA13-4F6C-8CB6-038B54224977}" dt="2020-10-13T19:12:58.723" v="1199" actId="22"/>
          <ac:spMkLst>
            <pc:docMk/>
            <pc:sldMk cId="1144498750" sldId="500"/>
            <ac:spMk id="6" creationId="{CDE4FC38-D80A-4C54-9093-EBE652020A64}"/>
          </ac:spMkLst>
        </pc:spChg>
        <pc:graphicFrameChg chg="add mod">
          <ac:chgData name="Gurunand" userId="3497c6a8-6cb2-4308-974d-19fae6631586" providerId="ADAL" clId="{1471200A-FA13-4F6C-8CB6-038B54224977}" dt="2020-10-13T19:06:13.562" v="991" actId="14100"/>
          <ac:graphicFrameMkLst>
            <pc:docMk/>
            <pc:sldMk cId="1144498750" sldId="500"/>
            <ac:graphicFrameMk id="3" creationId="{C0EE446C-7AD1-44B1-8F89-B7E72C506855}"/>
          </ac:graphicFrameMkLst>
        </pc:graphicFrameChg>
      </pc:sldChg>
      <pc:sldChg chg="addSp delSp modSp mod">
        <pc:chgData name="Gurunand" userId="3497c6a8-6cb2-4308-974d-19fae6631586" providerId="ADAL" clId="{1471200A-FA13-4F6C-8CB6-038B54224977}" dt="2020-10-15T17:11:56.024" v="2267" actId="14100"/>
        <pc:sldMkLst>
          <pc:docMk/>
          <pc:sldMk cId="3582841930" sldId="501"/>
        </pc:sldMkLst>
        <pc:spChg chg="mod">
          <ac:chgData name="Gurunand" userId="3497c6a8-6cb2-4308-974d-19fae6631586" providerId="ADAL" clId="{1471200A-FA13-4F6C-8CB6-038B54224977}" dt="2020-10-15T16:35:17.937" v="2011" actId="20577"/>
          <ac:spMkLst>
            <pc:docMk/>
            <pc:sldMk cId="3582841930" sldId="501"/>
            <ac:spMk id="2" creationId="{0F2A2CE9-7B67-443F-97DA-1E45D6288FFE}"/>
          </ac:spMkLst>
        </pc:spChg>
        <pc:spChg chg="add mod">
          <ac:chgData name="Gurunand" userId="3497c6a8-6cb2-4308-974d-19fae6631586" providerId="ADAL" clId="{1471200A-FA13-4F6C-8CB6-038B54224977}" dt="2020-10-15T16:54:05.093" v="2030" actId="403"/>
          <ac:spMkLst>
            <pc:docMk/>
            <pc:sldMk cId="3582841930" sldId="501"/>
            <ac:spMk id="3" creationId="{02B61303-001D-4DEA-8CF4-90BE5CFADC41}"/>
          </ac:spMkLst>
        </pc:spChg>
        <pc:spChg chg="del mod">
          <ac:chgData name="Gurunand" userId="3497c6a8-6cb2-4308-974d-19fae6631586" providerId="ADAL" clId="{1471200A-FA13-4F6C-8CB6-038B54224977}" dt="2020-10-15T16:23:44.063" v="1957" actId="478"/>
          <ac:spMkLst>
            <pc:docMk/>
            <pc:sldMk cId="3582841930" sldId="501"/>
            <ac:spMk id="4" creationId="{B48739C1-8A82-4665-AEBA-2FD5D2610131}"/>
          </ac:spMkLst>
        </pc:spChg>
        <pc:spChg chg="add mod">
          <ac:chgData name="Gurunand" userId="3497c6a8-6cb2-4308-974d-19fae6631586" providerId="ADAL" clId="{1471200A-FA13-4F6C-8CB6-038B54224977}" dt="2020-10-15T16:23:59.201" v="1959" actId="14100"/>
          <ac:spMkLst>
            <pc:docMk/>
            <pc:sldMk cId="3582841930" sldId="501"/>
            <ac:spMk id="5" creationId="{D21685CF-C1D1-405F-AB7B-F42666F8E5A2}"/>
          </ac:spMkLst>
        </pc:spChg>
        <pc:spChg chg="del mod">
          <ac:chgData name="Gurunand" userId="3497c6a8-6cb2-4308-974d-19fae6631586" providerId="ADAL" clId="{1471200A-FA13-4F6C-8CB6-038B54224977}" dt="2020-10-15T17:11:20.303" v="2264" actId="478"/>
          <ac:spMkLst>
            <pc:docMk/>
            <pc:sldMk cId="3582841930" sldId="501"/>
            <ac:spMk id="6" creationId="{CDE4FC38-D80A-4C54-9093-EBE652020A64}"/>
          </ac:spMkLst>
        </pc:spChg>
        <pc:spChg chg="add mod">
          <ac:chgData name="Gurunand" userId="3497c6a8-6cb2-4308-974d-19fae6631586" providerId="ADAL" clId="{1471200A-FA13-4F6C-8CB6-038B54224977}" dt="2020-10-15T17:11:56.024" v="2267" actId="14100"/>
          <ac:spMkLst>
            <pc:docMk/>
            <pc:sldMk cId="3582841930" sldId="501"/>
            <ac:spMk id="10" creationId="{1B70C436-7676-4AAF-BE41-64DA781D17D4}"/>
          </ac:spMkLst>
        </pc:spChg>
        <pc:spChg chg="add del">
          <ac:chgData name="Gurunand" userId="3497c6a8-6cb2-4308-974d-19fae6631586" providerId="ADAL" clId="{1471200A-FA13-4F6C-8CB6-038B54224977}" dt="2020-10-13T20:21:52.397" v="1391" actId="22"/>
          <ac:spMkLst>
            <pc:docMk/>
            <pc:sldMk cId="3582841930" sldId="501"/>
            <ac:spMk id="11" creationId="{7A963A07-6E4A-46C7-94F1-F0A8C90F85F9}"/>
          </ac:spMkLst>
        </pc:spChg>
        <pc:graphicFrameChg chg="del">
          <ac:chgData name="Gurunand" userId="3497c6a8-6cb2-4308-974d-19fae6631586" providerId="ADAL" clId="{1471200A-FA13-4F6C-8CB6-038B54224977}" dt="2020-10-13T20:04:23.400" v="1200" actId="478"/>
          <ac:graphicFrameMkLst>
            <pc:docMk/>
            <pc:sldMk cId="3582841930" sldId="501"/>
            <ac:graphicFrameMk id="3" creationId="{C0EE446C-7AD1-44B1-8F89-B7E72C506855}"/>
          </ac:graphicFrameMkLst>
        </pc:graphicFrameChg>
        <pc:graphicFrameChg chg="add mod">
          <ac:chgData name="Gurunand" userId="3497c6a8-6cb2-4308-974d-19fae6631586" providerId="ADAL" clId="{1471200A-FA13-4F6C-8CB6-038B54224977}" dt="2020-10-15T17:05:18.840" v="2072"/>
          <ac:graphicFrameMkLst>
            <pc:docMk/>
            <pc:sldMk cId="3582841930" sldId="501"/>
            <ac:graphicFrameMk id="7" creationId="{560A61A6-3F97-4324-B766-BD78924C53F5}"/>
          </ac:graphicFrameMkLst>
        </pc:graphicFrameChg>
        <pc:graphicFrameChg chg="add mod">
          <ac:chgData name="Gurunand" userId="3497c6a8-6cb2-4308-974d-19fae6631586" providerId="ADAL" clId="{1471200A-FA13-4F6C-8CB6-038B54224977}" dt="2020-10-13T20:04:30.270" v="1205"/>
          <ac:graphicFrameMkLst>
            <pc:docMk/>
            <pc:sldMk cId="3582841930" sldId="501"/>
            <ac:graphicFrameMk id="7" creationId="{889123C4-EA5D-4F80-A80D-B749B1A89C89}"/>
          </ac:graphicFrameMkLst>
        </pc:graphicFrameChg>
        <pc:graphicFrameChg chg="add del mod">
          <ac:chgData name="Gurunand" userId="3497c6a8-6cb2-4308-974d-19fae6631586" providerId="ADAL" clId="{1471200A-FA13-4F6C-8CB6-038B54224977}" dt="2020-10-15T16:21:12.682" v="1943" actId="478"/>
          <ac:graphicFrameMkLst>
            <pc:docMk/>
            <pc:sldMk cId="3582841930" sldId="501"/>
            <ac:graphicFrameMk id="8" creationId="{889123C4-EA5D-4F80-A80D-B749B1A89C89}"/>
          </ac:graphicFrameMkLst>
        </pc:graphicFrameChg>
        <pc:graphicFrameChg chg="add mod">
          <ac:chgData name="Gurunand" userId="3497c6a8-6cb2-4308-974d-19fae6631586" providerId="ADAL" clId="{1471200A-FA13-4F6C-8CB6-038B54224977}" dt="2020-10-15T16:21:19.160" v="1948"/>
          <ac:graphicFrameMkLst>
            <pc:docMk/>
            <pc:sldMk cId="3582841930" sldId="501"/>
            <ac:graphicFrameMk id="9" creationId="{889123C4-EA5D-4F80-A80D-B749B1A89C89}"/>
          </ac:graphicFrameMkLst>
        </pc:graphicFrameChg>
        <pc:graphicFrameChg chg="add mod">
          <ac:chgData name="Gurunand" userId="3497c6a8-6cb2-4308-974d-19fae6631586" providerId="ADAL" clId="{1471200A-FA13-4F6C-8CB6-038B54224977}" dt="2020-10-15T16:23:08.744" v="1955" actId="692"/>
          <ac:graphicFrameMkLst>
            <pc:docMk/>
            <pc:sldMk cId="3582841930" sldId="501"/>
            <ac:graphicFrameMk id="11" creationId="{889123C4-EA5D-4F80-A80D-B749B1A89C89}"/>
          </ac:graphicFrameMkLst>
        </pc:graphicFrameChg>
      </pc:sldChg>
      <pc:sldChg chg="addSp delSp modSp mod addCm delCm modCm">
        <pc:chgData name="Gurunand" userId="3497c6a8-6cb2-4308-974d-19fae6631586" providerId="ADAL" clId="{1471200A-FA13-4F6C-8CB6-038B54224977}" dt="2020-10-15T17:18:10.277" v="2271"/>
        <pc:sldMkLst>
          <pc:docMk/>
          <pc:sldMk cId="1144498750" sldId="502"/>
        </pc:sldMkLst>
        <pc:spChg chg="mod">
          <ac:chgData name="Gurunand" userId="3497c6a8-6cb2-4308-974d-19fae6631586" providerId="ADAL" clId="{1471200A-FA13-4F6C-8CB6-038B54224977}" dt="2020-10-15T17:10:49.961" v="2263" actId="20577"/>
          <ac:spMkLst>
            <pc:docMk/>
            <pc:sldMk cId="1144498750" sldId="502"/>
            <ac:spMk id="2" creationId="{0F2A2CE9-7B67-443F-97DA-1E45D6288FFE}"/>
          </ac:spMkLst>
        </pc:spChg>
        <pc:spChg chg="del mod">
          <ac:chgData name="Gurunand" userId="3497c6a8-6cb2-4308-974d-19fae6631586" providerId="ADAL" clId="{1471200A-FA13-4F6C-8CB6-038B54224977}" dt="2020-10-15T16:33:31.163" v="2000" actId="478"/>
          <ac:spMkLst>
            <pc:docMk/>
            <pc:sldMk cId="1144498750" sldId="502"/>
            <ac:spMk id="4" creationId="{B48739C1-8A82-4665-AEBA-2FD5D2610131}"/>
          </ac:spMkLst>
        </pc:spChg>
        <pc:spChg chg="add mod">
          <ac:chgData name="Gurunand" userId="3497c6a8-6cb2-4308-974d-19fae6631586" providerId="ADAL" clId="{1471200A-FA13-4F6C-8CB6-038B54224977}" dt="2020-10-15T16:53:38.907" v="2024" actId="403"/>
          <ac:spMkLst>
            <pc:docMk/>
            <pc:sldMk cId="1144498750" sldId="502"/>
            <ac:spMk id="5" creationId="{D2383210-7EB2-45A5-9680-5C41012AAD5C}"/>
          </ac:spMkLst>
        </pc:spChg>
        <pc:spChg chg="del mod">
          <ac:chgData name="Gurunand" userId="3497c6a8-6cb2-4308-974d-19fae6631586" providerId="ADAL" clId="{1471200A-FA13-4F6C-8CB6-038B54224977}" dt="2020-10-15T17:08:42.784" v="2232" actId="478"/>
          <ac:spMkLst>
            <pc:docMk/>
            <pc:sldMk cId="1144498750" sldId="502"/>
            <ac:spMk id="6" creationId="{CDE4FC38-D80A-4C54-9093-EBE652020A64}"/>
          </ac:spMkLst>
        </pc:spChg>
        <pc:spChg chg="add del mod">
          <ac:chgData name="Gurunand" userId="3497c6a8-6cb2-4308-974d-19fae6631586" providerId="ADAL" clId="{1471200A-FA13-4F6C-8CB6-038B54224977}" dt="2020-10-15T16:31:14.672" v="1986" actId="478"/>
          <ac:spMkLst>
            <pc:docMk/>
            <pc:sldMk cId="1144498750" sldId="502"/>
            <ac:spMk id="8" creationId="{18ABDD25-5E0A-402C-A897-957470A380AA}"/>
          </ac:spMkLst>
        </pc:spChg>
        <pc:spChg chg="add mod">
          <ac:chgData name="Gurunand" userId="3497c6a8-6cb2-4308-974d-19fae6631586" providerId="ADAL" clId="{1471200A-FA13-4F6C-8CB6-038B54224977}" dt="2020-10-15T17:10:23.354" v="2249" actId="20577"/>
          <ac:spMkLst>
            <pc:docMk/>
            <pc:sldMk cId="1144498750" sldId="502"/>
            <ac:spMk id="11" creationId="{98E1CF3E-7DA7-4F35-9501-EDAE59544965}"/>
          </ac:spMkLst>
        </pc:spChg>
        <pc:spChg chg="add mod">
          <ac:chgData name="Gurunand" userId="3497c6a8-6cb2-4308-974d-19fae6631586" providerId="ADAL" clId="{1471200A-FA13-4F6C-8CB6-038B54224977}" dt="2020-10-15T17:09:50.023" v="2248" actId="20577"/>
          <ac:spMkLst>
            <pc:docMk/>
            <pc:sldMk cId="1144498750" sldId="502"/>
            <ac:spMk id="13" creationId="{66E48507-921D-4776-882A-B4E152D707D9}"/>
          </ac:spMkLst>
        </pc:spChg>
        <pc:graphicFrameChg chg="del mod">
          <ac:chgData name="Gurunand" userId="3497c6a8-6cb2-4308-974d-19fae6631586" providerId="ADAL" clId="{1471200A-FA13-4F6C-8CB6-038B54224977}" dt="2020-10-15T16:28:46.897" v="1960" actId="478"/>
          <ac:graphicFrameMkLst>
            <pc:docMk/>
            <pc:sldMk cId="1144498750" sldId="502"/>
            <ac:graphicFrameMk id="3" creationId="{C0EE446C-7AD1-44B1-8F89-B7E72C506855}"/>
          </ac:graphicFrameMkLst>
        </pc:graphicFrameChg>
        <pc:graphicFrameChg chg="add mod">
          <ac:chgData name="Gurunand" userId="3497c6a8-6cb2-4308-974d-19fae6631586" providerId="ADAL" clId="{1471200A-FA13-4F6C-8CB6-038B54224977}" dt="2020-10-15T16:53:07.110" v="2015" actId="14100"/>
          <ac:graphicFrameMkLst>
            <pc:docMk/>
            <pc:sldMk cId="1144498750" sldId="502"/>
            <ac:graphicFrameMk id="7" creationId="{C0EE446C-7AD1-44B1-8F89-B7E72C506855}"/>
          </ac:graphicFrameMkLst>
        </pc:graphicFrameChg>
        <pc:graphicFrameChg chg="add del mod">
          <ac:chgData name="Gurunand" userId="3497c6a8-6cb2-4308-974d-19fae6631586" providerId="ADAL" clId="{1471200A-FA13-4F6C-8CB6-038B54224977}" dt="2020-10-15T17:05:02.521" v="2069" actId="21"/>
          <ac:graphicFrameMkLst>
            <pc:docMk/>
            <pc:sldMk cId="1144498750" sldId="502"/>
            <ac:graphicFrameMk id="14" creationId="{98388141-67A5-4094-9E23-4947AACF895A}"/>
          </ac:graphicFrameMkLst>
        </pc:graphicFrameChg>
        <pc:graphicFrameChg chg="add del mod">
          <ac:chgData name="Gurunand" userId="3497c6a8-6cb2-4308-974d-19fae6631586" providerId="ADAL" clId="{1471200A-FA13-4F6C-8CB6-038B54224977}" dt="2020-10-15T17:14:41.876" v="2268" actId="478"/>
          <ac:graphicFrameMkLst>
            <pc:docMk/>
            <pc:sldMk cId="1144498750" sldId="502"/>
            <ac:graphicFrameMk id="15" creationId="{266801BA-3697-4224-8615-657997BDEBBE}"/>
          </ac:graphicFrameMkLst>
        </pc:graphicFrameChg>
        <pc:graphicFrameChg chg="add mod">
          <ac:chgData name="Gurunand" userId="3497c6a8-6cb2-4308-974d-19fae6631586" providerId="ADAL" clId="{1471200A-FA13-4F6C-8CB6-038B54224977}" dt="2020-10-15T17:18:10.277" v="2271"/>
          <ac:graphicFrameMkLst>
            <pc:docMk/>
            <pc:sldMk cId="1144498750" sldId="502"/>
            <ac:graphicFrameMk id="16" creationId="{C951D9AF-7E7D-498E-BB4A-E7D2B8B1C2E8}"/>
          </ac:graphicFrameMkLst>
        </pc:graphicFrameChg>
      </pc:sldChg>
      <pc:sldChg chg="modSp mod">
        <pc:chgData name="Gurunand" userId="3497c6a8-6cb2-4308-974d-19fae6631586" providerId="ADAL" clId="{1471200A-FA13-4F6C-8CB6-038B54224977}" dt="2020-10-16T20:53:09.299" v="3114" actId="20577"/>
        <pc:sldMkLst>
          <pc:docMk/>
          <pc:sldMk cId="1146825991" sldId="503"/>
        </pc:sldMkLst>
        <pc:spChg chg="mod">
          <ac:chgData name="Gurunand" userId="3497c6a8-6cb2-4308-974d-19fae6631586" providerId="ADAL" clId="{1471200A-FA13-4F6C-8CB6-038B54224977}" dt="2020-10-16T20:53:09.299" v="3114" actId="20577"/>
          <ac:spMkLst>
            <pc:docMk/>
            <pc:sldMk cId="1146825991" sldId="503"/>
            <ac:spMk id="15" creationId="{7F764852-256F-49DF-B500-7AB466E1A418}"/>
          </ac:spMkLst>
        </pc:spChg>
      </pc:sldChg>
      <pc:sldChg chg="modSp mod">
        <pc:chgData name="Gurunand" userId="3497c6a8-6cb2-4308-974d-19fae6631586" providerId="ADAL" clId="{1471200A-FA13-4F6C-8CB6-038B54224977}" dt="2020-10-16T20:53:21.182" v="3116" actId="20577"/>
        <pc:sldMkLst>
          <pc:docMk/>
          <pc:sldMk cId="1618758624" sldId="504"/>
        </pc:sldMkLst>
        <pc:spChg chg="mod">
          <ac:chgData name="Gurunand" userId="3497c6a8-6cb2-4308-974d-19fae6631586" providerId="ADAL" clId="{1471200A-FA13-4F6C-8CB6-038B54224977}" dt="2020-10-16T20:53:21.182" v="3116" actId="20577"/>
          <ac:spMkLst>
            <pc:docMk/>
            <pc:sldMk cId="1618758624" sldId="504"/>
            <ac:spMk id="15" creationId="{7F764852-256F-49DF-B500-7AB466E1A418}"/>
          </ac:spMkLst>
        </pc:spChg>
      </pc:sldChg>
      <pc:sldChg chg="addSp delSp modSp mod">
        <pc:chgData name="Gurunand" userId="3497c6a8-6cb2-4308-974d-19fae6631586" providerId="ADAL" clId="{1471200A-FA13-4F6C-8CB6-038B54224977}" dt="2020-10-16T18:35:31.100" v="2924"/>
        <pc:sldMkLst>
          <pc:docMk/>
          <pc:sldMk cId="3575644813" sldId="506"/>
        </pc:sldMkLst>
        <pc:spChg chg="mod">
          <ac:chgData name="Gurunand" userId="3497c6a8-6cb2-4308-974d-19fae6631586" providerId="ADAL" clId="{1471200A-FA13-4F6C-8CB6-038B54224977}" dt="2020-10-16T18:29:01.769" v="2910" actId="20577"/>
          <ac:spMkLst>
            <pc:docMk/>
            <pc:sldMk cId="3575644813" sldId="506"/>
            <ac:spMk id="7" creationId="{B2B4F709-BF32-4B9C-85EF-1E265073D9E8}"/>
          </ac:spMkLst>
        </pc:spChg>
        <pc:graphicFrameChg chg="del mod">
          <ac:chgData name="Gurunand" userId="3497c6a8-6cb2-4308-974d-19fae6631586" providerId="ADAL" clId="{1471200A-FA13-4F6C-8CB6-038B54224977}" dt="2020-10-16T17:40:18.647" v="2814" actId="478"/>
          <ac:graphicFrameMkLst>
            <pc:docMk/>
            <pc:sldMk cId="3575644813" sldId="506"/>
            <ac:graphicFrameMk id="4" creationId="{6B2E8554-C240-42A1-97A3-7AD52F70C253}"/>
          </ac:graphicFrameMkLst>
        </pc:graphicFrameChg>
        <pc:graphicFrameChg chg="add del mod">
          <ac:chgData name="Gurunand" userId="3497c6a8-6cb2-4308-974d-19fae6631586" providerId="ADAL" clId="{1471200A-FA13-4F6C-8CB6-038B54224977}" dt="2020-10-16T18:11:55.159" v="2891" actId="478"/>
          <ac:graphicFrameMkLst>
            <pc:docMk/>
            <pc:sldMk cId="3575644813" sldId="506"/>
            <ac:graphicFrameMk id="4" creationId="{F13227DA-8A2B-4037-A418-F085470EC000}"/>
          </ac:graphicFrameMkLst>
        </pc:graphicFrameChg>
        <pc:graphicFrameChg chg="add mod">
          <ac:chgData name="Gurunand" userId="3497c6a8-6cb2-4308-974d-19fae6631586" providerId="ADAL" clId="{1471200A-FA13-4F6C-8CB6-038B54224977}" dt="2020-10-16T18:35:31.100" v="2924"/>
          <ac:graphicFrameMkLst>
            <pc:docMk/>
            <pc:sldMk cId="3575644813" sldId="506"/>
            <ac:graphicFrameMk id="5" creationId="{957F1C03-BC44-4497-AFC5-64624D93D439}"/>
          </ac:graphicFrameMkLst>
        </pc:graphicFrameChg>
        <pc:graphicFrameChg chg="add del mod modGraphic">
          <ac:chgData name="Gurunand" userId="3497c6a8-6cb2-4308-974d-19fae6631586" providerId="ADAL" clId="{1471200A-FA13-4F6C-8CB6-038B54224977}" dt="2020-10-16T18:31:19.673" v="2921" actId="20577"/>
          <ac:graphicFrameMkLst>
            <pc:docMk/>
            <pc:sldMk cId="3575644813" sldId="506"/>
            <ac:graphicFrameMk id="12" creationId="{F3CAD3D4-E6BB-4B9A-A523-75143986B640}"/>
          </ac:graphicFrameMkLst>
        </pc:graphicFrameChg>
        <pc:graphicFrameChg chg="modGraphic">
          <ac:chgData name="Gurunand" userId="3497c6a8-6cb2-4308-974d-19fae6631586" providerId="ADAL" clId="{1471200A-FA13-4F6C-8CB6-038B54224977}" dt="2020-10-16T17:56:11.951" v="2831" actId="13926"/>
          <ac:graphicFrameMkLst>
            <pc:docMk/>
            <pc:sldMk cId="3575644813" sldId="506"/>
            <ac:graphicFrameMk id="14" creationId="{FEB5ADB4-20B2-4373-B991-B2EEBA794E1A}"/>
          </ac:graphicFrameMkLst>
        </pc:graphicFrameChg>
      </pc:sldChg>
      <pc:sldChg chg="del">
        <pc:chgData name="Gurunand" userId="3497c6a8-6cb2-4308-974d-19fae6631586" providerId="ADAL" clId="{1471200A-FA13-4F6C-8CB6-038B54224977}" dt="2020-10-15T23:09:14.790" v="2410" actId="2696"/>
        <pc:sldMkLst>
          <pc:docMk/>
          <pc:sldMk cId="1255883085" sldId="507"/>
        </pc:sldMkLst>
      </pc:sldChg>
    </pc:docChg>
  </pc:docChgLst>
  <pc:docChgLst>
    <pc:chgData name="Matthieu Mabyre" userId="S::m.mabyre@castsoftware.com::52a89cab-5e6b-49ac-8601-6d3bc79d567b" providerId="AD" clId="Web-{4DEA1605-FAB4-4409-B6D5-E9FBD90D9D37}"/>
    <pc:docChg chg="modSld">
      <pc:chgData name="Matthieu Mabyre" userId="S::m.mabyre@castsoftware.com::52a89cab-5e6b-49ac-8601-6d3bc79d567b" providerId="AD" clId="Web-{4DEA1605-FAB4-4409-B6D5-E9FBD90D9D37}" dt="2020-11-18T15:58:29.263" v="1" actId="20577"/>
      <pc:docMkLst>
        <pc:docMk/>
      </pc:docMkLst>
      <pc:sldChg chg="modSp">
        <pc:chgData name="Matthieu Mabyre" userId="S::m.mabyre@castsoftware.com::52a89cab-5e6b-49ac-8601-6d3bc79d567b" providerId="AD" clId="Web-{4DEA1605-FAB4-4409-B6D5-E9FBD90D9D37}" dt="2020-11-18T15:58:29.263" v="1" actId="20577"/>
        <pc:sldMkLst>
          <pc:docMk/>
          <pc:sldMk cId="1691118265" sldId="524"/>
        </pc:sldMkLst>
        <pc:spChg chg="mod">
          <ac:chgData name="Matthieu Mabyre" userId="S::m.mabyre@castsoftware.com::52a89cab-5e6b-49ac-8601-6d3bc79d567b" providerId="AD" clId="Web-{4DEA1605-FAB4-4409-B6D5-E9FBD90D9D37}" dt="2020-11-18T15:58:29.263" v="1" actId="20577"/>
          <ac:spMkLst>
            <pc:docMk/>
            <pc:sldMk cId="1691118265" sldId="524"/>
            <ac:spMk id="18" creationId="{AEFE1B7A-8C89-49E9-99B9-C28FF04F35A2}"/>
          </ac:spMkLst>
        </pc:spChg>
      </pc:sldChg>
    </pc:docChg>
  </pc:docChgLst>
  <pc:docChgLst>
    <pc:chgData name="Matthieu Mabyre" userId="S::m.mabyre@castsoftware.com::52a89cab-5e6b-49ac-8601-6d3bc79d567b" providerId="AD" clId="Web-{8393B0B7-8554-4F81-BB4E-3EA8011E3EF7}"/>
    <pc:docChg chg="modSld">
      <pc:chgData name="Matthieu Mabyre" userId="S::m.mabyre@castsoftware.com::52a89cab-5e6b-49ac-8601-6d3bc79d567b" providerId="AD" clId="Web-{8393B0B7-8554-4F81-BB4E-3EA8011E3EF7}" dt="2020-11-18T11:48:07.122" v="19" actId="14100"/>
      <pc:docMkLst>
        <pc:docMk/>
      </pc:docMkLst>
      <pc:sldChg chg="addSp delSp modSp">
        <pc:chgData name="Matthieu Mabyre" userId="S::m.mabyre@castsoftware.com::52a89cab-5e6b-49ac-8601-6d3bc79d567b" providerId="AD" clId="Web-{8393B0B7-8554-4F81-BB4E-3EA8011E3EF7}" dt="2020-11-18T11:48:07.122" v="19" actId="14100"/>
        <pc:sldMkLst>
          <pc:docMk/>
          <pc:sldMk cId="3773836689" sldId="491"/>
        </pc:sldMkLst>
        <pc:spChg chg="mod">
          <ac:chgData name="Matthieu Mabyre" userId="S::m.mabyre@castsoftware.com::52a89cab-5e6b-49ac-8601-6d3bc79d567b" providerId="AD" clId="Web-{8393B0B7-8554-4F81-BB4E-3EA8011E3EF7}" dt="2020-11-18T11:47:13.683" v="10" actId="1076"/>
          <ac:spMkLst>
            <pc:docMk/>
            <pc:sldMk cId="3773836689" sldId="491"/>
            <ac:spMk id="2" creationId="{00000000-0000-0000-0000-000000000000}"/>
          </ac:spMkLst>
        </pc:spChg>
        <pc:spChg chg="del">
          <ac:chgData name="Matthieu Mabyre" userId="S::m.mabyre@castsoftware.com::52a89cab-5e6b-49ac-8601-6d3bc79d567b" providerId="AD" clId="Web-{8393B0B7-8554-4F81-BB4E-3EA8011E3EF7}" dt="2020-11-18T11:47:36.153" v="12"/>
          <ac:spMkLst>
            <pc:docMk/>
            <pc:sldMk cId="3773836689" sldId="491"/>
            <ac:spMk id="7" creationId="{47D52D81-4042-440F-9B45-C3C00C006A65}"/>
          </ac:spMkLst>
        </pc:spChg>
        <pc:spChg chg="mod">
          <ac:chgData name="Matthieu Mabyre" userId="S::m.mabyre@castsoftware.com::52a89cab-5e6b-49ac-8601-6d3bc79d567b" providerId="AD" clId="Web-{8393B0B7-8554-4F81-BB4E-3EA8011E3EF7}" dt="2020-11-18T11:48:07.122" v="19" actId="14100"/>
          <ac:spMkLst>
            <pc:docMk/>
            <pc:sldMk cId="3773836689" sldId="491"/>
            <ac:spMk id="39" creationId="{9B3B3C2B-2D6A-454B-9637-F6BD98B02D8E}"/>
          </ac:spMkLst>
        </pc:spChg>
        <pc:spChg chg="mod">
          <ac:chgData name="Matthieu Mabyre" userId="S::m.mabyre@castsoftware.com::52a89cab-5e6b-49ac-8601-6d3bc79d567b" providerId="AD" clId="Web-{8393B0B7-8554-4F81-BB4E-3EA8011E3EF7}" dt="2020-11-18T11:48:03.575" v="18" actId="1076"/>
          <ac:spMkLst>
            <pc:docMk/>
            <pc:sldMk cId="3773836689" sldId="491"/>
            <ac:spMk id="40" creationId="{062DBB7B-8D0C-4648-A550-81B348C37DC4}"/>
          </ac:spMkLst>
        </pc:spChg>
        <pc:picChg chg="add mod">
          <ac:chgData name="Matthieu Mabyre" userId="S::m.mabyre@castsoftware.com::52a89cab-5e6b-49ac-8601-6d3bc79d567b" providerId="AD" clId="Web-{8393B0B7-8554-4F81-BB4E-3EA8011E3EF7}" dt="2020-11-18T11:47:18.168" v="11" actId="14100"/>
          <ac:picMkLst>
            <pc:docMk/>
            <pc:sldMk cId="3773836689" sldId="491"/>
            <ac:picMk id="3" creationId="{622A6F41-DCE6-4E65-AEE1-81C044D9C2C1}"/>
          </ac:picMkLst>
        </pc:picChg>
      </pc:sldChg>
    </pc:docChg>
  </pc:docChgLst>
  <pc:docChgLst>
    <pc:chgData name="Matthieu Mabyre" userId="52a89cab-5e6b-49ac-8601-6d3bc79d567b" providerId="ADAL" clId="{AE44CD67-8FDA-475D-A6BB-6B9094CC6F9E}"/>
    <pc:docChg chg="undo custSel modSld">
      <pc:chgData name="Matthieu Mabyre" userId="52a89cab-5e6b-49ac-8601-6d3bc79d567b" providerId="ADAL" clId="{AE44CD67-8FDA-475D-A6BB-6B9094CC6F9E}" dt="2020-10-16T10:00:39.590" v="540" actId="20577"/>
      <pc:docMkLst>
        <pc:docMk/>
      </pc:docMkLst>
      <pc:sldChg chg="addSp delSp modSp mod">
        <pc:chgData name="Matthieu Mabyre" userId="52a89cab-5e6b-49ac-8601-6d3bc79d567b" providerId="ADAL" clId="{AE44CD67-8FDA-475D-A6BB-6B9094CC6F9E}" dt="2020-10-16T10:00:39.590" v="540" actId="20577"/>
        <pc:sldMkLst>
          <pc:docMk/>
          <pc:sldMk cId="1630227824" sldId="507"/>
        </pc:sldMkLst>
        <pc:spChg chg="mod">
          <ac:chgData name="Matthieu Mabyre" userId="52a89cab-5e6b-49ac-8601-6d3bc79d567b" providerId="ADAL" clId="{AE44CD67-8FDA-475D-A6BB-6B9094CC6F9E}" dt="2020-10-16T09:47:58.722" v="210" actId="1036"/>
          <ac:spMkLst>
            <pc:docMk/>
            <pc:sldMk cId="1630227824" sldId="507"/>
            <ac:spMk id="2" creationId="{00000000-0000-0000-0000-000000000000}"/>
          </ac:spMkLst>
        </pc:spChg>
        <pc:spChg chg="del">
          <ac:chgData name="Matthieu Mabyre" userId="52a89cab-5e6b-49ac-8601-6d3bc79d567b" providerId="ADAL" clId="{AE44CD67-8FDA-475D-A6BB-6B9094CC6F9E}" dt="2020-10-16T09:45:21.407" v="53" actId="478"/>
          <ac:spMkLst>
            <pc:docMk/>
            <pc:sldMk cId="1630227824" sldId="507"/>
            <ac:spMk id="3" creationId="{42EFBED3-ABCA-42D6-9E39-1C83A4DDDD32}"/>
          </ac:spMkLst>
        </pc:spChg>
        <pc:spChg chg="add del mod">
          <ac:chgData name="Matthieu Mabyre" userId="52a89cab-5e6b-49ac-8601-6d3bc79d567b" providerId="ADAL" clId="{AE44CD67-8FDA-475D-A6BB-6B9094CC6F9E}" dt="2020-10-16T09:51:27.486" v="315" actId="478"/>
          <ac:spMkLst>
            <pc:docMk/>
            <pc:sldMk cId="1630227824" sldId="507"/>
            <ac:spMk id="5" creationId="{A5CE75CE-2D06-4050-B4EE-91ACED8B5932}"/>
          </ac:spMkLst>
        </pc:spChg>
        <pc:spChg chg="add del mod">
          <ac:chgData name="Matthieu Mabyre" userId="52a89cab-5e6b-49ac-8601-6d3bc79d567b" providerId="ADAL" clId="{AE44CD67-8FDA-475D-A6BB-6B9094CC6F9E}" dt="2020-10-16T09:51:27.486" v="315" actId="478"/>
          <ac:spMkLst>
            <pc:docMk/>
            <pc:sldMk cId="1630227824" sldId="507"/>
            <ac:spMk id="6" creationId="{7DC1B62B-8CDD-4A88-87C7-3F1FD0AF74FA}"/>
          </ac:spMkLst>
        </pc:spChg>
        <pc:spChg chg="add del mod">
          <ac:chgData name="Matthieu Mabyre" userId="52a89cab-5e6b-49ac-8601-6d3bc79d567b" providerId="ADAL" clId="{AE44CD67-8FDA-475D-A6BB-6B9094CC6F9E}" dt="2020-10-16T09:51:27.486" v="315" actId="478"/>
          <ac:spMkLst>
            <pc:docMk/>
            <pc:sldMk cId="1630227824" sldId="507"/>
            <ac:spMk id="8" creationId="{FB4C7772-518D-4518-B3D0-ADCBBDC791E0}"/>
          </ac:spMkLst>
        </pc:spChg>
        <pc:spChg chg="add del mod">
          <ac:chgData name="Matthieu Mabyre" userId="52a89cab-5e6b-49ac-8601-6d3bc79d567b" providerId="ADAL" clId="{AE44CD67-8FDA-475D-A6BB-6B9094CC6F9E}" dt="2020-10-16T09:51:27.486" v="315" actId="478"/>
          <ac:spMkLst>
            <pc:docMk/>
            <pc:sldMk cId="1630227824" sldId="507"/>
            <ac:spMk id="10" creationId="{7FB039A5-7368-4416-961B-722FA9382F00}"/>
          </ac:spMkLst>
        </pc:spChg>
        <pc:spChg chg="add del mod">
          <ac:chgData name="Matthieu Mabyre" userId="52a89cab-5e6b-49ac-8601-6d3bc79d567b" providerId="ADAL" clId="{AE44CD67-8FDA-475D-A6BB-6B9094CC6F9E}" dt="2020-10-16T09:51:27.486" v="315" actId="478"/>
          <ac:spMkLst>
            <pc:docMk/>
            <pc:sldMk cId="1630227824" sldId="507"/>
            <ac:spMk id="12" creationId="{B169746C-5B21-4A83-86F7-45675554A4A3}"/>
          </ac:spMkLst>
        </pc:spChg>
        <pc:spChg chg="add del mod">
          <ac:chgData name="Matthieu Mabyre" userId="52a89cab-5e6b-49ac-8601-6d3bc79d567b" providerId="ADAL" clId="{AE44CD67-8FDA-475D-A6BB-6B9094CC6F9E}" dt="2020-10-16T09:51:27.486" v="315" actId="478"/>
          <ac:spMkLst>
            <pc:docMk/>
            <pc:sldMk cId="1630227824" sldId="507"/>
            <ac:spMk id="14" creationId="{8ED72A2F-7275-4590-9DF9-9D171EE85198}"/>
          </ac:spMkLst>
        </pc:spChg>
        <pc:spChg chg="add del mod">
          <ac:chgData name="Matthieu Mabyre" userId="52a89cab-5e6b-49ac-8601-6d3bc79d567b" providerId="ADAL" clId="{AE44CD67-8FDA-475D-A6BB-6B9094CC6F9E}" dt="2020-10-16T09:51:27.486" v="315" actId="478"/>
          <ac:spMkLst>
            <pc:docMk/>
            <pc:sldMk cId="1630227824" sldId="507"/>
            <ac:spMk id="16" creationId="{B0454C5A-4126-4942-B4B7-AAE1E9AFBB8E}"/>
          </ac:spMkLst>
        </pc:spChg>
        <pc:spChg chg="add del mod">
          <ac:chgData name="Matthieu Mabyre" userId="52a89cab-5e6b-49ac-8601-6d3bc79d567b" providerId="ADAL" clId="{AE44CD67-8FDA-475D-A6BB-6B9094CC6F9E}" dt="2020-10-16T09:51:27.486" v="315" actId="478"/>
          <ac:spMkLst>
            <pc:docMk/>
            <pc:sldMk cId="1630227824" sldId="507"/>
            <ac:spMk id="18" creationId="{5EDCAED0-ADE7-4E70-9DFE-6209BEAC8303}"/>
          </ac:spMkLst>
        </pc:spChg>
        <pc:spChg chg="add del mod">
          <ac:chgData name="Matthieu Mabyre" userId="52a89cab-5e6b-49ac-8601-6d3bc79d567b" providerId="ADAL" clId="{AE44CD67-8FDA-475D-A6BB-6B9094CC6F9E}" dt="2020-10-16T09:51:27.486" v="315" actId="478"/>
          <ac:spMkLst>
            <pc:docMk/>
            <pc:sldMk cId="1630227824" sldId="507"/>
            <ac:spMk id="20" creationId="{B0F69F86-1745-4475-A634-943648D388F0}"/>
          </ac:spMkLst>
        </pc:spChg>
        <pc:spChg chg="add del mod">
          <ac:chgData name="Matthieu Mabyre" userId="52a89cab-5e6b-49ac-8601-6d3bc79d567b" providerId="ADAL" clId="{AE44CD67-8FDA-475D-A6BB-6B9094CC6F9E}" dt="2020-10-16T09:51:27.486" v="315" actId="478"/>
          <ac:spMkLst>
            <pc:docMk/>
            <pc:sldMk cId="1630227824" sldId="507"/>
            <ac:spMk id="22" creationId="{8C61F1CE-D217-427A-94EF-9873925A3FDF}"/>
          </ac:spMkLst>
        </pc:spChg>
        <pc:spChg chg="add del mod">
          <ac:chgData name="Matthieu Mabyre" userId="52a89cab-5e6b-49ac-8601-6d3bc79d567b" providerId="ADAL" clId="{AE44CD67-8FDA-475D-A6BB-6B9094CC6F9E}" dt="2020-10-16T09:51:27.486" v="315" actId="478"/>
          <ac:spMkLst>
            <pc:docMk/>
            <pc:sldMk cId="1630227824" sldId="507"/>
            <ac:spMk id="24" creationId="{C83D1FB8-3288-40D8-A057-2C0E459E3078}"/>
          </ac:spMkLst>
        </pc:spChg>
        <pc:spChg chg="add del mod">
          <ac:chgData name="Matthieu Mabyre" userId="52a89cab-5e6b-49ac-8601-6d3bc79d567b" providerId="ADAL" clId="{AE44CD67-8FDA-475D-A6BB-6B9094CC6F9E}" dt="2020-10-16T09:51:27.486" v="315" actId="478"/>
          <ac:spMkLst>
            <pc:docMk/>
            <pc:sldMk cId="1630227824" sldId="507"/>
            <ac:spMk id="26" creationId="{3E6646CB-FD58-45E4-A6C0-7C83E1F35A11}"/>
          </ac:spMkLst>
        </pc:spChg>
        <pc:spChg chg="add del mod">
          <ac:chgData name="Matthieu Mabyre" userId="52a89cab-5e6b-49ac-8601-6d3bc79d567b" providerId="ADAL" clId="{AE44CD67-8FDA-475D-A6BB-6B9094CC6F9E}" dt="2020-10-16T09:51:27.486" v="315" actId="478"/>
          <ac:spMkLst>
            <pc:docMk/>
            <pc:sldMk cId="1630227824" sldId="507"/>
            <ac:spMk id="28" creationId="{E9C37036-5878-4899-8DB5-EA4FA2759FC8}"/>
          </ac:spMkLst>
        </pc:spChg>
        <pc:spChg chg="add del mod">
          <ac:chgData name="Matthieu Mabyre" userId="52a89cab-5e6b-49ac-8601-6d3bc79d567b" providerId="ADAL" clId="{AE44CD67-8FDA-475D-A6BB-6B9094CC6F9E}" dt="2020-10-16T09:51:27.486" v="315" actId="478"/>
          <ac:spMkLst>
            <pc:docMk/>
            <pc:sldMk cId="1630227824" sldId="507"/>
            <ac:spMk id="30" creationId="{C390A053-0C2F-478F-B8A4-BC32CF2C050C}"/>
          </ac:spMkLst>
        </pc:spChg>
        <pc:spChg chg="add del mod">
          <ac:chgData name="Matthieu Mabyre" userId="52a89cab-5e6b-49ac-8601-6d3bc79d567b" providerId="ADAL" clId="{AE44CD67-8FDA-475D-A6BB-6B9094CC6F9E}" dt="2020-10-16T09:51:27.486" v="315" actId="478"/>
          <ac:spMkLst>
            <pc:docMk/>
            <pc:sldMk cId="1630227824" sldId="507"/>
            <ac:spMk id="32" creationId="{D321145A-66F1-4CD1-9B04-172079059289}"/>
          </ac:spMkLst>
        </pc:spChg>
        <pc:spChg chg="add del mod">
          <ac:chgData name="Matthieu Mabyre" userId="52a89cab-5e6b-49ac-8601-6d3bc79d567b" providerId="ADAL" clId="{AE44CD67-8FDA-475D-A6BB-6B9094CC6F9E}" dt="2020-10-16T09:51:27.486" v="315" actId="478"/>
          <ac:spMkLst>
            <pc:docMk/>
            <pc:sldMk cId="1630227824" sldId="507"/>
            <ac:spMk id="34" creationId="{3E9DC468-34D1-4BDE-B545-1D785180F9BF}"/>
          </ac:spMkLst>
        </pc:spChg>
        <pc:spChg chg="mod">
          <ac:chgData name="Matthieu Mabyre" userId="52a89cab-5e6b-49ac-8601-6d3bc79d567b" providerId="ADAL" clId="{AE44CD67-8FDA-475D-A6BB-6B9094CC6F9E}" dt="2020-10-16T10:00:39.590" v="540" actId="20577"/>
          <ac:spMkLst>
            <pc:docMk/>
            <pc:sldMk cId="1630227824" sldId="507"/>
            <ac:spMk id="39" creationId="{9B3B3C2B-2D6A-454B-9637-F6BD98B02D8E}"/>
          </ac:spMkLst>
        </pc:spChg>
        <pc:spChg chg="mod">
          <ac:chgData name="Matthieu Mabyre" userId="52a89cab-5e6b-49ac-8601-6d3bc79d567b" providerId="ADAL" clId="{AE44CD67-8FDA-475D-A6BB-6B9094CC6F9E}" dt="2020-10-16T09:57:43.300" v="520" actId="1076"/>
          <ac:spMkLst>
            <pc:docMk/>
            <pc:sldMk cId="1630227824" sldId="507"/>
            <ac:spMk id="40" creationId="{062DBB7B-8D0C-4648-A550-81B348C37DC4}"/>
          </ac:spMkLst>
        </pc:spChg>
        <pc:picChg chg="mod">
          <ac:chgData name="Matthieu Mabyre" userId="52a89cab-5e6b-49ac-8601-6d3bc79d567b" providerId="ADAL" clId="{AE44CD67-8FDA-475D-A6BB-6B9094CC6F9E}" dt="2020-10-16T09:56:48.550" v="511" actId="14100"/>
          <ac:picMkLst>
            <pc:docMk/>
            <pc:sldMk cId="1630227824" sldId="507"/>
            <ac:picMk id="3" creationId="{1DD38252-3AD6-4FB0-8709-45C31BBE7D86}"/>
          </ac:picMkLst>
        </pc:picChg>
        <pc:picChg chg="add del mod ord">
          <ac:chgData name="Matthieu Mabyre" userId="52a89cab-5e6b-49ac-8601-6d3bc79d567b" providerId="ADAL" clId="{AE44CD67-8FDA-475D-A6BB-6B9094CC6F9E}" dt="2020-10-16T09:51:27.486" v="315" actId="478"/>
          <ac:picMkLst>
            <pc:docMk/>
            <pc:sldMk cId="1630227824" sldId="507"/>
            <ac:picMk id="4" creationId="{AFC980AA-A726-4C80-997F-A241B4FBD191}"/>
          </ac:picMkLst>
        </pc:picChg>
      </pc:sldChg>
    </pc:docChg>
  </pc:docChgLst>
  <pc:docChgLst>
    <pc:chgData name="Matthieu Mabyre" userId="S::m.mabyre@castsoftware.com::52a89cab-5e6b-49ac-8601-6d3bc79d567b" providerId="AD" clId="Web-{01CB7318-362C-45EA-9760-5B99F7DCE7EF}"/>
    <pc:docChg chg="modSld">
      <pc:chgData name="Matthieu Mabyre" userId="S::m.mabyre@castsoftware.com::52a89cab-5e6b-49ac-8601-6d3bc79d567b" providerId="AD" clId="Web-{01CB7318-362C-45EA-9760-5B99F7DCE7EF}" dt="2020-11-13T19:46:31.896" v="7" actId="20577"/>
      <pc:docMkLst>
        <pc:docMk/>
      </pc:docMkLst>
      <pc:sldChg chg="modSp">
        <pc:chgData name="Matthieu Mabyre" userId="S::m.mabyre@castsoftware.com::52a89cab-5e6b-49ac-8601-6d3bc79d567b" providerId="AD" clId="Web-{01CB7318-362C-45EA-9760-5B99F7DCE7EF}" dt="2020-11-13T19:46:31.896" v="7" actId="20577"/>
        <pc:sldMkLst>
          <pc:docMk/>
          <pc:sldMk cId="3136490012" sldId="516"/>
        </pc:sldMkLst>
        <pc:spChg chg="mod">
          <ac:chgData name="Matthieu Mabyre" userId="S::m.mabyre@castsoftware.com::52a89cab-5e6b-49ac-8601-6d3bc79d567b" providerId="AD" clId="Web-{01CB7318-362C-45EA-9760-5B99F7DCE7EF}" dt="2020-11-13T19:46:31.896" v="7" actId="20577"/>
          <ac:spMkLst>
            <pc:docMk/>
            <pc:sldMk cId="3136490012" sldId="516"/>
            <ac:spMk id="80" creationId="{6F5A7825-C260-4831-9B48-001AB9DF90D5}"/>
          </ac:spMkLst>
        </pc:spChg>
      </pc:sldChg>
    </pc:docChg>
  </pc:docChgLst>
  <pc:docChgLst>
    <pc:chgData name="Matthieu Mabyre" userId="S::m.mabyre@castsoftware.com::52a89cab-5e6b-49ac-8601-6d3bc79d567b" providerId="AD" clId="Web-{79CB7B64-278C-4FB8-AD1C-50C92E0C0491}"/>
    <pc:docChg chg="modSld">
      <pc:chgData name="Matthieu Mabyre" userId="S::m.mabyre@castsoftware.com::52a89cab-5e6b-49ac-8601-6d3bc79d567b" providerId="AD" clId="Web-{79CB7B64-278C-4FB8-AD1C-50C92E0C0491}" dt="2020-11-13T23:58:36.840" v="19" actId="20577"/>
      <pc:docMkLst>
        <pc:docMk/>
      </pc:docMkLst>
      <pc:sldChg chg="delSp modSp">
        <pc:chgData name="Matthieu Mabyre" userId="S::m.mabyre@castsoftware.com::52a89cab-5e6b-49ac-8601-6d3bc79d567b" providerId="AD" clId="Web-{79CB7B64-278C-4FB8-AD1C-50C92E0C0491}" dt="2020-11-13T23:58:36.840" v="19" actId="20577"/>
        <pc:sldMkLst>
          <pc:docMk/>
          <pc:sldMk cId="742559225" sldId="514"/>
        </pc:sldMkLst>
        <pc:spChg chg="del">
          <ac:chgData name="Matthieu Mabyre" userId="S::m.mabyre@castsoftware.com::52a89cab-5e6b-49ac-8601-6d3bc79d567b" providerId="AD" clId="Web-{79CB7B64-278C-4FB8-AD1C-50C92E0C0491}" dt="2020-11-13T23:57:49.636" v="0"/>
          <ac:spMkLst>
            <pc:docMk/>
            <pc:sldMk cId="742559225" sldId="514"/>
            <ac:spMk id="3" creationId="{2369E63B-56D2-46CF-8906-386A315472F9}"/>
          </ac:spMkLst>
        </pc:spChg>
        <pc:spChg chg="mod">
          <ac:chgData name="Matthieu Mabyre" userId="S::m.mabyre@castsoftware.com::52a89cab-5e6b-49ac-8601-6d3bc79d567b" providerId="AD" clId="Web-{79CB7B64-278C-4FB8-AD1C-50C92E0C0491}" dt="2020-11-13T23:58:36.840" v="19" actId="20577"/>
          <ac:spMkLst>
            <pc:docMk/>
            <pc:sldMk cId="742559225" sldId="514"/>
            <ac:spMk id="21" creationId="{00000000-0000-0000-0000-000000000000}"/>
          </ac:spMkLst>
        </pc:spChg>
      </pc:sldChg>
    </pc:docChg>
  </pc:docChgLst>
  <pc:docChgLst>
    <pc:chgData name="Matthieu Mabyre" userId="S::m.mabyre@castsoftware.com::52a89cab-5e6b-49ac-8601-6d3bc79d567b" providerId="AD" clId="Web-{D20DC85E-16A2-49A0-A3AD-0B7227E26EBC}"/>
    <pc:docChg chg="modSld">
      <pc:chgData name="Matthieu Mabyre" userId="S::m.mabyre@castsoftware.com::52a89cab-5e6b-49ac-8601-6d3bc79d567b" providerId="AD" clId="Web-{D20DC85E-16A2-49A0-A3AD-0B7227E26EBC}" dt="2020-11-17T12:32:17.909" v="0" actId="1076"/>
      <pc:docMkLst>
        <pc:docMk/>
      </pc:docMkLst>
      <pc:sldChg chg="modSp">
        <pc:chgData name="Matthieu Mabyre" userId="S::m.mabyre@castsoftware.com::52a89cab-5e6b-49ac-8601-6d3bc79d567b" providerId="AD" clId="Web-{D20DC85E-16A2-49A0-A3AD-0B7227E26EBC}" dt="2020-11-17T12:32:17.909" v="0" actId="1076"/>
        <pc:sldMkLst>
          <pc:docMk/>
          <pc:sldMk cId="108594913" sldId="522"/>
        </pc:sldMkLst>
        <pc:grpChg chg="mod">
          <ac:chgData name="Matthieu Mabyre" userId="S::m.mabyre@castsoftware.com::52a89cab-5e6b-49ac-8601-6d3bc79d567b" providerId="AD" clId="Web-{D20DC85E-16A2-49A0-A3AD-0B7227E26EBC}" dt="2020-11-17T12:32:17.909" v="0" actId="1076"/>
          <ac:grpSpMkLst>
            <pc:docMk/>
            <pc:sldMk cId="108594913" sldId="522"/>
            <ac:grpSpMk id="10" creationId="{C4153FF1-0D99-45EB-9EE7-432D02358821}"/>
          </ac:grpSpMkLst>
        </pc:grpChg>
      </pc:sldChg>
    </pc:docChg>
  </pc:docChgLst>
  <pc:docChgLst>
    <pc:chgData name="Matthieu Mabyre" userId="S::m.mabyre@castsoftware.com::52a89cab-5e6b-49ac-8601-6d3bc79d567b" providerId="AD" clId="Web-{32FD4C38-917C-4848-BC08-86B3437C82D7}"/>
    <pc:docChg chg="modSld">
      <pc:chgData name="Matthieu Mabyre" userId="S::m.mabyre@castsoftware.com::52a89cab-5e6b-49ac-8601-6d3bc79d567b" providerId="AD" clId="Web-{32FD4C38-917C-4848-BC08-86B3437C82D7}" dt="2020-11-18T13:16:57.941" v="34" actId="20577"/>
      <pc:docMkLst>
        <pc:docMk/>
      </pc:docMkLst>
      <pc:sldChg chg="modSp">
        <pc:chgData name="Matthieu Mabyre" userId="S::m.mabyre@castsoftware.com::52a89cab-5e6b-49ac-8601-6d3bc79d567b" providerId="AD" clId="Web-{32FD4C38-917C-4848-BC08-86B3437C82D7}" dt="2020-11-18T13:16:57.941" v="34" actId="20577"/>
        <pc:sldMkLst>
          <pc:docMk/>
          <pc:sldMk cId="1973551745" sldId="523"/>
        </pc:sldMkLst>
        <pc:spChg chg="mod">
          <ac:chgData name="Matthieu Mabyre" userId="S::m.mabyre@castsoftware.com::52a89cab-5e6b-49ac-8601-6d3bc79d567b" providerId="AD" clId="Web-{32FD4C38-917C-4848-BC08-86B3437C82D7}" dt="2020-11-18T13:16:57.941" v="34" actId="20577"/>
          <ac:spMkLst>
            <pc:docMk/>
            <pc:sldMk cId="1973551745" sldId="523"/>
            <ac:spMk id="39" creationId="{9B3B3C2B-2D6A-454B-9637-F6BD98B02D8E}"/>
          </ac:spMkLst>
        </pc:spChg>
      </pc:sldChg>
    </pc:docChg>
  </pc:docChgLst>
  <pc:docChgLst>
    <pc:chgData name="Matthieu Mabyre" userId="S::m.mabyre@castsoftware.com::52a89cab-5e6b-49ac-8601-6d3bc79d567b" providerId="AD" clId="Web-{0FDEE75D-0CEE-4AB8-8CEA-39F9A3BB7F3D}"/>
    <pc:docChg chg="modSld">
      <pc:chgData name="Matthieu Mabyre" userId="S::m.mabyre@castsoftware.com::52a89cab-5e6b-49ac-8601-6d3bc79d567b" providerId="AD" clId="Web-{0FDEE75D-0CEE-4AB8-8CEA-39F9A3BB7F3D}" dt="2020-10-16T09:54:12.269" v="24" actId="14100"/>
      <pc:docMkLst>
        <pc:docMk/>
      </pc:docMkLst>
      <pc:sldChg chg="addSp modSp">
        <pc:chgData name="Matthieu Mabyre" userId="S::m.mabyre@castsoftware.com::52a89cab-5e6b-49ac-8601-6d3bc79d567b" providerId="AD" clId="Web-{0FDEE75D-0CEE-4AB8-8CEA-39F9A3BB7F3D}" dt="2020-10-16T09:54:12.269" v="24" actId="14100"/>
        <pc:sldMkLst>
          <pc:docMk/>
          <pc:sldMk cId="1630227824" sldId="507"/>
        </pc:sldMkLst>
        <pc:spChg chg="mod">
          <ac:chgData name="Matthieu Mabyre" userId="S::m.mabyre@castsoftware.com::52a89cab-5e6b-49ac-8601-6d3bc79d567b" providerId="AD" clId="Web-{0FDEE75D-0CEE-4AB8-8CEA-39F9A3BB7F3D}" dt="2020-10-16T09:54:12.269" v="24" actId="14100"/>
          <ac:spMkLst>
            <pc:docMk/>
            <pc:sldMk cId="1630227824" sldId="507"/>
            <ac:spMk id="39" creationId="{9B3B3C2B-2D6A-454B-9637-F6BD98B02D8E}"/>
          </ac:spMkLst>
        </pc:spChg>
        <pc:spChg chg="mod">
          <ac:chgData name="Matthieu Mabyre" userId="S::m.mabyre@castsoftware.com::52a89cab-5e6b-49ac-8601-6d3bc79d567b" providerId="AD" clId="Web-{0FDEE75D-0CEE-4AB8-8CEA-39F9A3BB7F3D}" dt="2020-10-16T09:53:34.831" v="10" actId="1076"/>
          <ac:spMkLst>
            <pc:docMk/>
            <pc:sldMk cId="1630227824" sldId="507"/>
            <ac:spMk id="40" creationId="{062DBB7B-8D0C-4648-A550-81B348C37DC4}"/>
          </ac:spMkLst>
        </pc:spChg>
        <pc:picChg chg="add mod">
          <ac:chgData name="Matthieu Mabyre" userId="S::m.mabyre@castsoftware.com::52a89cab-5e6b-49ac-8601-6d3bc79d567b" providerId="AD" clId="Web-{0FDEE75D-0CEE-4AB8-8CEA-39F9A3BB7F3D}" dt="2020-10-16T09:53:07.346" v="5" actId="1076"/>
          <ac:picMkLst>
            <pc:docMk/>
            <pc:sldMk cId="1630227824" sldId="507"/>
            <ac:picMk id="3" creationId="{1DD38252-3AD6-4FB0-8709-45C31BBE7D86}"/>
          </ac:picMkLst>
        </pc:picChg>
      </pc:sldChg>
    </pc:docChg>
  </pc:docChgLst>
  <pc:docChgLst>
    <pc:chgData name="Matthieu Mabyre" userId="S::m.mabyre@castsoftware.com::52a89cab-5e6b-49ac-8601-6d3bc79d567b" providerId="AD" clId="Web-{E166498A-139E-4754-AF70-202A086722B9}"/>
    <pc:docChg chg="modSld">
      <pc:chgData name="Matthieu Mabyre" userId="S::m.mabyre@castsoftware.com::52a89cab-5e6b-49ac-8601-6d3bc79d567b" providerId="AD" clId="Web-{E166498A-139E-4754-AF70-202A086722B9}" dt="2020-11-18T13:54:04.727" v="22" actId="20577"/>
      <pc:docMkLst>
        <pc:docMk/>
      </pc:docMkLst>
      <pc:sldChg chg="modSp">
        <pc:chgData name="Matthieu Mabyre" userId="S::m.mabyre@castsoftware.com::52a89cab-5e6b-49ac-8601-6d3bc79d567b" providerId="AD" clId="Web-{E166498A-139E-4754-AF70-202A086722B9}" dt="2020-11-18T13:54:04.727" v="22" actId="20577"/>
        <pc:sldMkLst>
          <pc:docMk/>
          <pc:sldMk cId="467378802" sldId="492"/>
        </pc:sldMkLst>
        <pc:spChg chg="mod">
          <ac:chgData name="Matthieu Mabyre" userId="S::m.mabyre@castsoftware.com::52a89cab-5e6b-49ac-8601-6d3bc79d567b" providerId="AD" clId="Web-{E166498A-139E-4754-AF70-202A086722B9}" dt="2020-11-18T13:54:04.727" v="22" actId="20577"/>
          <ac:spMkLst>
            <pc:docMk/>
            <pc:sldMk cId="467378802" sldId="492"/>
            <ac:spMk id="7" creationId="{B633BA49-44C2-41E0-8A5F-10881248D9C0}"/>
          </ac:spMkLst>
        </pc:spChg>
      </pc:sldChg>
    </pc:docChg>
  </pc:docChgLst>
  <pc:docChgLst>
    <pc:chgData name="Ribhu Kansal" userId="S::r.kansal@castsoftware.com::3c3467c4-139b-496f-a6d1-b079f7a0729b" providerId="AD" clId="Web-{18D723E4-9735-456A-A0D8-70A3B19D0A37}"/>
    <pc:docChg chg="modSld">
      <pc:chgData name="Ribhu Kansal" userId="S::r.kansal@castsoftware.com::3c3467c4-139b-496f-a6d1-b079f7a0729b" providerId="AD" clId="Web-{18D723E4-9735-456A-A0D8-70A3B19D0A37}" dt="2020-12-16T19:04:16.919" v="231" actId="20577"/>
      <pc:docMkLst>
        <pc:docMk/>
      </pc:docMkLst>
      <pc:sldChg chg="modSp">
        <pc:chgData name="Ribhu Kansal" userId="S::r.kansal@castsoftware.com::3c3467c4-139b-496f-a6d1-b079f7a0729b" providerId="AD" clId="Web-{18D723E4-9735-456A-A0D8-70A3B19D0A37}" dt="2020-12-16T19:04:16.919" v="230" actId="20577"/>
        <pc:sldMkLst>
          <pc:docMk/>
          <pc:sldMk cId="2478486860" sldId="318"/>
        </pc:sldMkLst>
        <pc:spChg chg="mod">
          <ac:chgData name="Ribhu Kansal" userId="S::r.kansal@castsoftware.com::3c3467c4-139b-496f-a6d1-b079f7a0729b" providerId="AD" clId="Web-{18D723E4-9735-456A-A0D8-70A3B19D0A37}" dt="2020-12-16T19:04:16.919" v="230" actId="20577"/>
          <ac:spMkLst>
            <pc:docMk/>
            <pc:sldMk cId="2478486860" sldId="318"/>
            <ac:spMk id="4" creationId="{00000000-0000-0000-0000-000000000000}"/>
          </ac:spMkLst>
        </pc:spChg>
        <pc:spChg chg="mod">
          <ac:chgData name="Ribhu Kansal" userId="S::r.kansal@castsoftware.com::3c3467c4-139b-496f-a6d1-b079f7a0729b" providerId="AD" clId="Web-{18D723E4-9735-456A-A0D8-70A3B19D0A37}" dt="2020-12-16T19:00:40.273" v="50" actId="20577"/>
          <ac:spMkLst>
            <pc:docMk/>
            <pc:sldMk cId="2478486860" sldId="318"/>
            <ac:spMk id="6" creationId="{00000000-0000-0000-0000-000000000000}"/>
          </ac:spMkLst>
        </pc:spChg>
      </pc:sldChg>
      <pc:sldChg chg="addSp modSp">
        <pc:chgData name="Ribhu Kansal" userId="S::r.kansal@castsoftware.com::3c3467c4-139b-496f-a6d1-b079f7a0729b" providerId="AD" clId="Web-{18D723E4-9735-456A-A0D8-70A3B19D0A37}" dt="2020-12-16T18:57:52.833" v="9" actId="20577"/>
        <pc:sldMkLst>
          <pc:docMk/>
          <pc:sldMk cId="1691118265" sldId="524"/>
        </pc:sldMkLst>
        <pc:spChg chg="add mod">
          <ac:chgData name="Ribhu Kansal" userId="S::r.kansal@castsoftware.com::3c3467c4-139b-496f-a6d1-b079f7a0729b" providerId="AD" clId="Web-{18D723E4-9735-456A-A0D8-70A3B19D0A37}" dt="2020-12-16T18:57:52.833" v="9" actId="20577"/>
          <ac:spMkLst>
            <pc:docMk/>
            <pc:sldMk cId="1691118265" sldId="524"/>
            <ac:spMk id="10" creationId="{9F095EDC-63B9-475A-83C6-056997846135}"/>
          </ac:spMkLst>
        </pc:spChg>
      </pc:sldChg>
    </pc:docChg>
  </pc:docChgLst>
  <pc:docChgLst>
    <pc:chgData name="Matthieu Mabyre" userId="S::m.mabyre@castsoftware.com::52a89cab-5e6b-49ac-8601-6d3bc79d567b" providerId="AD" clId="Web-{8DB778F3-E216-41D7-8208-26CA0ACC997D}"/>
    <pc:docChg chg="modSld">
      <pc:chgData name="Matthieu Mabyre" userId="S::m.mabyre@castsoftware.com::52a89cab-5e6b-49ac-8601-6d3bc79d567b" providerId="AD" clId="Web-{8DB778F3-E216-41D7-8208-26CA0ACC997D}" dt="2020-11-13T18:19:56.766" v="21" actId="20577"/>
      <pc:docMkLst>
        <pc:docMk/>
      </pc:docMkLst>
      <pc:sldChg chg="modSp">
        <pc:chgData name="Matthieu Mabyre" userId="S::m.mabyre@castsoftware.com::52a89cab-5e6b-49ac-8601-6d3bc79d567b" providerId="AD" clId="Web-{8DB778F3-E216-41D7-8208-26CA0ACC997D}" dt="2020-11-13T18:19:56.766" v="20" actId="20577"/>
        <pc:sldMkLst>
          <pc:docMk/>
          <pc:sldMk cId="1691118265" sldId="524"/>
        </pc:sldMkLst>
        <pc:spChg chg="mod">
          <ac:chgData name="Matthieu Mabyre" userId="S::m.mabyre@castsoftware.com::52a89cab-5e6b-49ac-8601-6d3bc79d567b" providerId="AD" clId="Web-{8DB778F3-E216-41D7-8208-26CA0ACC997D}" dt="2020-11-13T18:19:56.766" v="20" actId="20577"/>
          <ac:spMkLst>
            <pc:docMk/>
            <pc:sldMk cId="1691118265" sldId="524"/>
            <ac:spMk id="14" creationId="{C1C0AD37-CCF3-468A-98B5-F34CF1C88E45}"/>
          </ac:spMkLst>
        </pc:spChg>
      </pc:sldChg>
    </pc:docChg>
  </pc:docChgLst>
  <pc:docChgLst>
    <pc:chgData name="Matthieu Mabyre" userId="52a89cab-5e6b-49ac-8601-6d3bc79d567b" providerId="ADAL" clId="{DE5D2969-5929-47D1-BC7F-B6E1A0F221A2}"/>
    <pc:docChg chg="undo custSel modSld">
      <pc:chgData name="Matthieu Mabyre" userId="52a89cab-5e6b-49ac-8601-6d3bc79d567b" providerId="ADAL" clId="{DE5D2969-5929-47D1-BC7F-B6E1A0F221A2}" dt="2020-12-01T12:47:57" v="1492" actId="478"/>
      <pc:docMkLst>
        <pc:docMk/>
      </pc:docMkLst>
      <pc:sldChg chg="modSp mod">
        <pc:chgData name="Matthieu Mabyre" userId="52a89cab-5e6b-49ac-8601-6d3bc79d567b" providerId="ADAL" clId="{DE5D2969-5929-47D1-BC7F-B6E1A0F221A2}" dt="2020-12-01T11:35:57.413" v="270" actId="1038"/>
        <pc:sldMkLst>
          <pc:docMk/>
          <pc:sldMk cId="3705176354" sldId="428"/>
        </pc:sldMkLst>
        <pc:spChg chg="mod">
          <ac:chgData name="Matthieu Mabyre" userId="52a89cab-5e6b-49ac-8601-6d3bc79d567b" providerId="ADAL" clId="{DE5D2969-5929-47D1-BC7F-B6E1A0F221A2}" dt="2020-12-01T09:31:04.421" v="40" actId="20577"/>
          <ac:spMkLst>
            <pc:docMk/>
            <pc:sldMk cId="3705176354" sldId="428"/>
            <ac:spMk id="2" creationId="{00000000-0000-0000-0000-000000000000}"/>
          </ac:spMkLst>
        </pc:spChg>
        <pc:spChg chg="mod">
          <ac:chgData name="Matthieu Mabyre" userId="52a89cab-5e6b-49ac-8601-6d3bc79d567b" providerId="ADAL" clId="{DE5D2969-5929-47D1-BC7F-B6E1A0F221A2}" dt="2020-12-01T11:35:38.363" v="252" actId="20577"/>
          <ac:spMkLst>
            <pc:docMk/>
            <pc:sldMk cId="3705176354" sldId="428"/>
            <ac:spMk id="21" creationId="{00000000-0000-0000-0000-000000000000}"/>
          </ac:spMkLst>
        </pc:spChg>
        <pc:spChg chg="mod">
          <ac:chgData name="Matthieu Mabyre" userId="52a89cab-5e6b-49ac-8601-6d3bc79d567b" providerId="ADAL" clId="{DE5D2969-5929-47D1-BC7F-B6E1A0F221A2}" dt="2020-12-01T09:48:47.330" v="195" actId="692"/>
          <ac:spMkLst>
            <pc:docMk/>
            <pc:sldMk cId="3705176354" sldId="428"/>
            <ac:spMk id="73" creationId="{4C88BB89-4068-499B-8F3F-29D9CFDEB8D9}"/>
          </ac:spMkLst>
        </pc:spChg>
        <pc:spChg chg="mod">
          <ac:chgData name="Matthieu Mabyre" userId="52a89cab-5e6b-49ac-8601-6d3bc79d567b" providerId="ADAL" clId="{DE5D2969-5929-47D1-BC7F-B6E1A0F221A2}" dt="2020-12-01T11:27:34.735" v="198" actId="692"/>
          <ac:spMkLst>
            <pc:docMk/>
            <pc:sldMk cId="3705176354" sldId="428"/>
            <ac:spMk id="75" creationId="{C3667D43-2D3C-46D6-BEB3-58980BA9DA59}"/>
          </ac:spMkLst>
        </pc:spChg>
        <pc:spChg chg="mod">
          <ac:chgData name="Matthieu Mabyre" userId="52a89cab-5e6b-49ac-8601-6d3bc79d567b" providerId="ADAL" clId="{DE5D2969-5929-47D1-BC7F-B6E1A0F221A2}" dt="2020-12-01T09:31:46.892" v="66" actId="20577"/>
          <ac:spMkLst>
            <pc:docMk/>
            <pc:sldMk cId="3705176354" sldId="428"/>
            <ac:spMk id="81" creationId="{00000000-0000-0000-0000-000000000000}"/>
          </ac:spMkLst>
        </pc:spChg>
        <pc:spChg chg="mod">
          <ac:chgData name="Matthieu Mabyre" userId="52a89cab-5e6b-49ac-8601-6d3bc79d567b" providerId="ADAL" clId="{DE5D2969-5929-47D1-BC7F-B6E1A0F221A2}" dt="2020-12-01T11:30:43.585" v="199" actId="14100"/>
          <ac:spMkLst>
            <pc:docMk/>
            <pc:sldMk cId="3705176354" sldId="428"/>
            <ac:spMk id="82" creationId="{00000000-0000-0000-0000-000000000000}"/>
          </ac:spMkLst>
        </pc:spChg>
        <pc:spChg chg="mod">
          <ac:chgData name="Matthieu Mabyre" userId="52a89cab-5e6b-49ac-8601-6d3bc79d567b" providerId="ADAL" clId="{DE5D2969-5929-47D1-BC7F-B6E1A0F221A2}" dt="2020-12-01T11:30:43.585" v="199" actId="14100"/>
          <ac:spMkLst>
            <pc:docMk/>
            <pc:sldMk cId="3705176354" sldId="428"/>
            <ac:spMk id="83" creationId="{00000000-0000-0000-0000-000000000000}"/>
          </ac:spMkLst>
        </pc:spChg>
        <pc:spChg chg="mod">
          <ac:chgData name="Matthieu Mabyre" userId="52a89cab-5e6b-49ac-8601-6d3bc79d567b" providerId="ADAL" clId="{DE5D2969-5929-47D1-BC7F-B6E1A0F221A2}" dt="2020-12-01T11:30:43.585" v="199" actId="14100"/>
          <ac:spMkLst>
            <pc:docMk/>
            <pc:sldMk cId="3705176354" sldId="428"/>
            <ac:spMk id="84" creationId="{00000000-0000-0000-0000-000000000000}"/>
          </ac:spMkLst>
        </pc:spChg>
        <pc:spChg chg="mod">
          <ac:chgData name="Matthieu Mabyre" userId="52a89cab-5e6b-49ac-8601-6d3bc79d567b" providerId="ADAL" clId="{DE5D2969-5929-47D1-BC7F-B6E1A0F221A2}" dt="2020-12-01T09:48:52.743" v="196" actId="108"/>
          <ac:spMkLst>
            <pc:docMk/>
            <pc:sldMk cId="3705176354" sldId="428"/>
            <ac:spMk id="90" creationId="{00000000-0000-0000-0000-000000000000}"/>
          </ac:spMkLst>
        </pc:spChg>
        <pc:spChg chg="mod">
          <ac:chgData name="Matthieu Mabyre" userId="52a89cab-5e6b-49ac-8601-6d3bc79d567b" providerId="ADAL" clId="{DE5D2969-5929-47D1-BC7F-B6E1A0F221A2}" dt="2020-12-01T11:31:06.188" v="201" actId="14100"/>
          <ac:spMkLst>
            <pc:docMk/>
            <pc:sldMk cId="3705176354" sldId="428"/>
            <ac:spMk id="93" creationId="{00000000-0000-0000-0000-000000000000}"/>
          </ac:spMkLst>
        </pc:spChg>
        <pc:spChg chg="mod">
          <ac:chgData name="Matthieu Mabyre" userId="52a89cab-5e6b-49ac-8601-6d3bc79d567b" providerId="ADAL" clId="{DE5D2969-5929-47D1-BC7F-B6E1A0F221A2}" dt="2020-12-01T11:31:06.188" v="201" actId="14100"/>
          <ac:spMkLst>
            <pc:docMk/>
            <pc:sldMk cId="3705176354" sldId="428"/>
            <ac:spMk id="94" creationId="{00000000-0000-0000-0000-000000000000}"/>
          </ac:spMkLst>
        </pc:spChg>
        <pc:spChg chg="mod">
          <ac:chgData name="Matthieu Mabyre" userId="52a89cab-5e6b-49ac-8601-6d3bc79d567b" providerId="ADAL" clId="{DE5D2969-5929-47D1-BC7F-B6E1A0F221A2}" dt="2020-12-01T11:31:06.188" v="201" actId="14100"/>
          <ac:spMkLst>
            <pc:docMk/>
            <pc:sldMk cId="3705176354" sldId="428"/>
            <ac:spMk id="95" creationId="{00000000-0000-0000-0000-000000000000}"/>
          </ac:spMkLst>
        </pc:spChg>
        <pc:spChg chg="mod">
          <ac:chgData name="Matthieu Mabyre" userId="52a89cab-5e6b-49ac-8601-6d3bc79d567b" providerId="ADAL" clId="{DE5D2969-5929-47D1-BC7F-B6E1A0F221A2}" dt="2020-12-01T11:27:26.087" v="197" actId="108"/>
          <ac:spMkLst>
            <pc:docMk/>
            <pc:sldMk cId="3705176354" sldId="428"/>
            <ac:spMk id="96" creationId="{00000000-0000-0000-0000-000000000000}"/>
          </ac:spMkLst>
        </pc:spChg>
        <pc:spChg chg="mod">
          <ac:chgData name="Matthieu Mabyre" userId="52a89cab-5e6b-49ac-8601-6d3bc79d567b" providerId="ADAL" clId="{DE5D2969-5929-47D1-BC7F-B6E1A0F221A2}" dt="2020-12-01T11:31:25.217" v="202" actId="14100"/>
          <ac:spMkLst>
            <pc:docMk/>
            <pc:sldMk cId="3705176354" sldId="428"/>
            <ac:spMk id="99" creationId="{00000000-0000-0000-0000-000000000000}"/>
          </ac:spMkLst>
        </pc:spChg>
        <pc:spChg chg="mod">
          <ac:chgData name="Matthieu Mabyre" userId="52a89cab-5e6b-49ac-8601-6d3bc79d567b" providerId="ADAL" clId="{DE5D2969-5929-47D1-BC7F-B6E1A0F221A2}" dt="2020-12-01T11:31:25.217" v="202" actId="14100"/>
          <ac:spMkLst>
            <pc:docMk/>
            <pc:sldMk cId="3705176354" sldId="428"/>
            <ac:spMk id="100" creationId="{00000000-0000-0000-0000-000000000000}"/>
          </ac:spMkLst>
        </pc:spChg>
        <pc:spChg chg="mod">
          <ac:chgData name="Matthieu Mabyre" userId="52a89cab-5e6b-49ac-8601-6d3bc79d567b" providerId="ADAL" clId="{DE5D2969-5929-47D1-BC7F-B6E1A0F221A2}" dt="2020-12-01T11:31:25.217" v="202" actId="14100"/>
          <ac:spMkLst>
            <pc:docMk/>
            <pc:sldMk cId="3705176354" sldId="428"/>
            <ac:spMk id="101" creationId="{00000000-0000-0000-0000-000000000000}"/>
          </ac:spMkLst>
        </pc:spChg>
        <pc:spChg chg="mod">
          <ac:chgData name="Matthieu Mabyre" userId="52a89cab-5e6b-49ac-8601-6d3bc79d567b" providerId="ADAL" clId="{DE5D2969-5929-47D1-BC7F-B6E1A0F221A2}" dt="2020-12-01T09:32:07.575" v="84" actId="20577"/>
          <ac:spMkLst>
            <pc:docMk/>
            <pc:sldMk cId="3705176354" sldId="428"/>
            <ac:spMk id="102" creationId="{00000000-0000-0000-0000-000000000000}"/>
          </ac:spMkLst>
        </pc:spChg>
        <pc:spChg chg="mod">
          <ac:chgData name="Matthieu Mabyre" userId="52a89cab-5e6b-49ac-8601-6d3bc79d567b" providerId="ADAL" clId="{DE5D2969-5929-47D1-BC7F-B6E1A0F221A2}" dt="2020-12-01T11:32:13.079" v="204" actId="14100"/>
          <ac:spMkLst>
            <pc:docMk/>
            <pc:sldMk cId="3705176354" sldId="428"/>
            <ac:spMk id="105" creationId="{00000000-0000-0000-0000-000000000000}"/>
          </ac:spMkLst>
        </pc:spChg>
        <pc:spChg chg="mod">
          <ac:chgData name="Matthieu Mabyre" userId="52a89cab-5e6b-49ac-8601-6d3bc79d567b" providerId="ADAL" clId="{DE5D2969-5929-47D1-BC7F-B6E1A0F221A2}" dt="2020-12-01T11:32:13.079" v="204" actId="14100"/>
          <ac:spMkLst>
            <pc:docMk/>
            <pc:sldMk cId="3705176354" sldId="428"/>
            <ac:spMk id="106" creationId="{00000000-0000-0000-0000-000000000000}"/>
          </ac:spMkLst>
        </pc:spChg>
        <pc:spChg chg="mod">
          <ac:chgData name="Matthieu Mabyre" userId="52a89cab-5e6b-49ac-8601-6d3bc79d567b" providerId="ADAL" clId="{DE5D2969-5929-47D1-BC7F-B6E1A0F221A2}" dt="2020-12-01T11:32:13.079" v="204" actId="14100"/>
          <ac:spMkLst>
            <pc:docMk/>
            <pc:sldMk cId="3705176354" sldId="428"/>
            <ac:spMk id="107" creationId="{00000000-0000-0000-0000-000000000000}"/>
          </ac:spMkLst>
        </pc:spChg>
        <pc:spChg chg="mod">
          <ac:chgData name="Matthieu Mabyre" userId="52a89cab-5e6b-49ac-8601-6d3bc79d567b" providerId="ADAL" clId="{DE5D2969-5929-47D1-BC7F-B6E1A0F221A2}" dt="2020-12-01T09:32:14.958" v="90" actId="20577"/>
          <ac:spMkLst>
            <pc:docMk/>
            <pc:sldMk cId="3705176354" sldId="428"/>
            <ac:spMk id="108" creationId="{00000000-0000-0000-0000-000000000000}"/>
          </ac:spMkLst>
        </pc:spChg>
        <pc:spChg chg="mod">
          <ac:chgData name="Matthieu Mabyre" userId="52a89cab-5e6b-49ac-8601-6d3bc79d567b" providerId="ADAL" clId="{DE5D2969-5929-47D1-BC7F-B6E1A0F221A2}" dt="2020-12-01T11:30:56.861" v="200" actId="14100"/>
          <ac:spMkLst>
            <pc:docMk/>
            <pc:sldMk cId="3705176354" sldId="428"/>
            <ac:spMk id="110" creationId="{00000000-0000-0000-0000-000000000000}"/>
          </ac:spMkLst>
        </pc:spChg>
        <pc:spChg chg="mod">
          <ac:chgData name="Matthieu Mabyre" userId="52a89cab-5e6b-49ac-8601-6d3bc79d567b" providerId="ADAL" clId="{DE5D2969-5929-47D1-BC7F-B6E1A0F221A2}" dt="2020-12-01T11:30:56.861" v="200" actId="14100"/>
          <ac:spMkLst>
            <pc:docMk/>
            <pc:sldMk cId="3705176354" sldId="428"/>
            <ac:spMk id="111" creationId="{00000000-0000-0000-0000-000000000000}"/>
          </ac:spMkLst>
        </pc:spChg>
        <pc:spChg chg="mod">
          <ac:chgData name="Matthieu Mabyre" userId="52a89cab-5e6b-49ac-8601-6d3bc79d567b" providerId="ADAL" clId="{DE5D2969-5929-47D1-BC7F-B6E1A0F221A2}" dt="2020-12-01T11:30:56.861" v="200" actId="14100"/>
          <ac:spMkLst>
            <pc:docMk/>
            <pc:sldMk cId="3705176354" sldId="428"/>
            <ac:spMk id="112" creationId="{00000000-0000-0000-0000-000000000000}"/>
          </ac:spMkLst>
        </pc:spChg>
        <pc:spChg chg="mod">
          <ac:chgData name="Matthieu Mabyre" userId="52a89cab-5e6b-49ac-8601-6d3bc79d567b" providerId="ADAL" clId="{DE5D2969-5929-47D1-BC7F-B6E1A0F221A2}" dt="2020-12-01T09:48:29.947" v="190" actId="20577"/>
          <ac:spMkLst>
            <pc:docMk/>
            <pc:sldMk cId="3705176354" sldId="428"/>
            <ac:spMk id="116" creationId="{00000000-0000-0000-0000-000000000000}"/>
          </ac:spMkLst>
        </pc:spChg>
        <pc:spChg chg="mod">
          <ac:chgData name="Matthieu Mabyre" userId="52a89cab-5e6b-49ac-8601-6d3bc79d567b" providerId="ADAL" clId="{DE5D2969-5929-47D1-BC7F-B6E1A0F221A2}" dt="2020-12-01T09:31:32.215" v="60" actId="20577"/>
          <ac:spMkLst>
            <pc:docMk/>
            <pc:sldMk cId="3705176354" sldId="428"/>
            <ac:spMk id="117" creationId="{00000000-0000-0000-0000-000000000000}"/>
          </ac:spMkLst>
        </pc:spChg>
        <pc:spChg chg="mod">
          <ac:chgData name="Matthieu Mabyre" userId="52a89cab-5e6b-49ac-8601-6d3bc79d567b" providerId="ADAL" clId="{DE5D2969-5929-47D1-BC7F-B6E1A0F221A2}" dt="2020-12-01T11:32:31.745" v="205" actId="14100"/>
          <ac:spMkLst>
            <pc:docMk/>
            <pc:sldMk cId="3705176354" sldId="428"/>
            <ac:spMk id="120" creationId="{00000000-0000-0000-0000-000000000000}"/>
          </ac:spMkLst>
        </pc:spChg>
        <pc:spChg chg="mod">
          <ac:chgData name="Matthieu Mabyre" userId="52a89cab-5e6b-49ac-8601-6d3bc79d567b" providerId="ADAL" clId="{DE5D2969-5929-47D1-BC7F-B6E1A0F221A2}" dt="2020-12-01T11:32:31.745" v="205" actId="14100"/>
          <ac:spMkLst>
            <pc:docMk/>
            <pc:sldMk cId="3705176354" sldId="428"/>
            <ac:spMk id="121" creationId="{00000000-0000-0000-0000-000000000000}"/>
          </ac:spMkLst>
        </pc:spChg>
        <pc:spChg chg="mod">
          <ac:chgData name="Matthieu Mabyre" userId="52a89cab-5e6b-49ac-8601-6d3bc79d567b" providerId="ADAL" clId="{DE5D2969-5929-47D1-BC7F-B6E1A0F221A2}" dt="2020-12-01T11:32:31.745" v="205" actId="14100"/>
          <ac:spMkLst>
            <pc:docMk/>
            <pc:sldMk cId="3705176354" sldId="428"/>
            <ac:spMk id="122" creationId="{00000000-0000-0000-0000-000000000000}"/>
          </ac:spMkLst>
        </pc:spChg>
        <pc:spChg chg="mod">
          <ac:chgData name="Matthieu Mabyre" userId="52a89cab-5e6b-49ac-8601-6d3bc79d567b" providerId="ADAL" clId="{DE5D2969-5929-47D1-BC7F-B6E1A0F221A2}" dt="2020-12-01T09:31:22.228" v="46" actId="20577"/>
          <ac:spMkLst>
            <pc:docMk/>
            <pc:sldMk cId="3705176354" sldId="428"/>
            <ac:spMk id="123" creationId="{00000000-0000-0000-0000-000000000000}"/>
          </ac:spMkLst>
        </pc:spChg>
        <pc:spChg chg="mod">
          <ac:chgData name="Matthieu Mabyre" userId="52a89cab-5e6b-49ac-8601-6d3bc79d567b" providerId="ADAL" clId="{DE5D2969-5929-47D1-BC7F-B6E1A0F221A2}" dt="2020-12-01T11:35:57.413" v="270" actId="1038"/>
          <ac:spMkLst>
            <pc:docMk/>
            <pc:sldMk cId="3705176354" sldId="428"/>
            <ac:spMk id="135" creationId="{00000000-0000-0000-0000-000000000000}"/>
          </ac:spMkLst>
        </pc:spChg>
        <pc:grpChg chg="mod">
          <ac:chgData name="Matthieu Mabyre" userId="52a89cab-5e6b-49ac-8601-6d3bc79d567b" providerId="ADAL" clId="{DE5D2969-5929-47D1-BC7F-B6E1A0F221A2}" dt="2020-12-01T11:30:43.585" v="199" actId="14100"/>
          <ac:grpSpMkLst>
            <pc:docMk/>
            <pc:sldMk cId="3705176354" sldId="428"/>
            <ac:grpSpMk id="80" creationId="{00000000-0000-0000-0000-000000000000}"/>
          </ac:grpSpMkLst>
        </pc:grpChg>
        <pc:grpChg chg="mod">
          <ac:chgData name="Matthieu Mabyre" userId="52a89cab-5e6b-49ac-8601-6d3bc79d567b" providerId="ADAL" clId="{DE5D2969-5929-47D1-BC7F-B6E1A0F221A2}" dt="2020-12-01T11:31:06.188" v="201" actId="14100"/>
          <ac:grpSpMkLst>
            <pc:docMk/>
            <pc:sldMk cId="3705176354" sldId="428"/>
            <ac:grpSpMk id="92" creationId="{00000000-0000-0000-0000-000000000000}"/>
          </ac:grpSpMkLst>
        </pc:grpChg>
        <pc:grpChg chg="mod">
          <ac:chgData name="Matthieu Mabyre" userId="52a89cab-5e6b-49ac-8601-6d3bc79d567b" providerId="ADAL" clId="{DE5D2969-5929-47D1-BC7F-B6E1A0F221A2}" dt="2020-12-01T11:31:25.217" v="202" actId="14100"/>
          <ac:grpSpMkLst>
            <pc:docMk/>
            <pc:sldMk cId="3705176354" sldId="428"/>
            <ac:grpSpMk id="98" creationId="{00000000-0000-0000-0000-000000000000}"/>
          </ac:grpSpMkLst>
        </pc:grpChg>
        <pc:grpChg chg="mod">
          <ac:chgData name="Matthieu Mabyre" userId="52a89cab-5e6b-49ac-8601-6d3bc79d567b" providerId="ADAL" clId="{DE5D2969-5929-47D1-BC7F-B6E1A0F221A2}" dt="2020-12-01T11:32:13.079" v="204" actId="14100"/>
          <ac:grpSpMkLst>
            <pc:docMk/>
            <pc:sldMk cId="3705176354" sldId="428"/>
            <ac:grpSpMk id="104" creationId="{00000000-0000-0000-0000-000000000000}"/>
          </ac:grpSpMkLst>
        </pc:grpChg>
        <pc:grpChg chg="mod">
          <ac:chgData name="Matthieu Mabyre" userId="52a89cab-5e6b-49ac-8601-6d3bc79d567b" providerId="ADAL" clId="{DE5D2969-5929-47D1-BC7F-B6E1A0F221A2}" dt="2020-12-01T11:30:56.861" v="200" actId="14100"/>
          <ac:grpSpMkLst>
            <pc:docMk/>
            <pc:sldMk cId="3705176354" sldId="428"/>
            <ac:grpSpMk id="109" creationId="{00000000-0000-0000-0000-000000000000}"/>
          </ac:grpSpMkLst>
        </pc:grpChg>
        <pc:grpChg chg="mod">
          <ac:chgData name="Matthieu Mabyre" userId="52a89cab-5e6b-49ac-8601-6d3bc79d567b" providerId="ADAL" clId="{DE5D2969-5929-47D1-BC7F-B6E1A0F221A2}" dt="2020-12-01T11:32:31.745" v="205" actId="14100"/>
          <ac:grpSpMkLst>
            <pc:docMk/>
            <pc:sldMk cId="3705176354" sldId="428"/>
            <ac:grpSpMk id="119" creationId="{00000000-0000-0000-0000-000000000000}"/>
          </ac:grpSpMkLst>
        </pc:grpChg>
      </pc:sldChg>
      <pc:sldChg chg="addSp delSp modSp mod">
        <pc:chgData name="Matthieu Mabyre" userId="52a89cab-5e6b-49ac-8601-6d3bc79d567b" providerId="ADAL" clId="{DE5D2969-5929-47D1-BC7F-B6E1A0F221A2}" dt="2020-12-01T12:38:10.027" v="1284" actId="478"/>
        <pc:sldMkLst>
          <pc:docMk/>
          <pc:sldMk cId="2762800380" sldId="448"/>
        </pc:sldMkLst>
        <pc:spChg chg="del">
          <ac:chgData name="Matthieu Mabyre" userId="52a89cab-5e6b-49ac-8601-6d3bc79d567b" providerId="ADAL" clId="{DE5D2969-5929-47D1-BC7F-B6E1A0F221A2}" dt="2020-12-01T12:32:18.103" v="826" actId="478"/>
          <ac:spMkLst>
            <pc:docMk/>
            <pc:sldMk cId="2762800380" sldId="448"/>
            <ac:spMk id="5" creationId="{AC47A9DA-69B3-41AB-B9FE-CF9AF26CE056}"/>
          </ac:spMkLst>
        </pc:spChg>
        <pc:spChg chg="mod">
          <ac:chgData name="Matthieu Mabyre" userId="52a89cab-5e6b-49ac-8601-6d3bc79d567b" providerId="ADAL" clId="{DE5D2969-5929-47D1-BC7F-B6E1A0F221A2}" dt="2020-12-01T12:32:12.385" v="825" actId="14100"/>
          <ac:spMkLst>
            <pc:docMk/>
            <pc:sldMk cId="2762800380" sldId="448"/>
            <ac:spMk id="8" creationId="{0F250931-7AE3-41E3-A718-D4E1AD2BB6FC}"/>
          </ac:spMkLst>
        </pc:spChg>
        <pc:spChg chg="mod">
          <ac:chgData name="Matthieu Mabyre" userId="52a89cab-5e6b-49ac-8601-6d3bc79d567b" providerId="ADAL" clId="{DE5D2969-5929-47D1-BC7F-B6E1A0F221A2}" dt="2020-12-01T12:32:33.877" v="833" actId="14100"/>
          <ac:spMkLst>
            <pc:docMk/>
            <pc:sldMk cId="2762800380" sldId="448"/>
            <ac:spMk id="11" creationId="{5109CF6C-4157-403A-8F06-2DA5CB32E773}"/>
          </ac:spMkLst>
        </pc:spChg>
        <pc:spChg chg="del">
          <ac:chgData name="Matthieu Mabyre" userId="52a89cab-5e6b-49ac-8601-6d3bc79d567b" providerId="ADAL" clId="{DE5D2969-5929-47D1-BC7F-B6E1A0F221A2}" dt="2020-12-01T12:38:10.027" v="1284" actId="478"/>
          <ac:spMkLst>
            <pc:docMk/>
            <pc:sldMk cId="2762800380" sldId="448"/>
            <ac:spMk id="36" creationId="{9D2CEEBD-871C-4105-A93A-ACE7EAF2721F}"/>
          </ac:spMkLst>
        </pc:spChg>
        <pc:spChg chg="mod">
          <ac:chgData name="Matthieu Mabyre" userId="52a89cab-5e6b-49ac-8601-6d3bc79d567b" providerId="ADAL" clId="{DE5D2969-5929-47D1-BC7F-B6E1A0F221A2}" dt="2020-12-01T12:30:19.477" v="799" actId="14100"/>
          <ac:spMkLst>
            <pc:docMk/>
            <pc:sldMk cId="2762800380" sldId="448"/>
            <ac:spMk id="41" creationId="{45964E5A-BE5E-45C2-8E43-74F4B9DD344A}"/>
          </ac:spMkLst>
        </pc:spChg>
        <pc:spChg chg="mod">
          <ac:chgData name="Matthieu Mabyre" userId="52a89cab-5e6b-49ac-8601-6d3bc79d567b" providerId="ADAL" clId="{DE5D2969-5929-47D1-BC7F-B6E1A0F221A2}" dt="2020-12-01T12:30:19.477" v="799" actId="14100"/>
          <ac:spMkLst>
            <pc:docMk/>
            <pc:sldMk cId="2762800380" sldId="448"/>
            <ac:spMk id="44" creationId="{51E3BAEC-16CE-4528-B1C9-357E4FA66480}"/>
          </ac:spMkLst>
        </pc:spChg>
        <pc:spChg chg="mod">
          <ac:chgData name="Matthieu Mabyre" userId="52a89cab-5e6b-49ac-8601-6d3bc79d567b" providerId="ADAL" clId="{DE5D2969-5929-47D1-BC7F-B6E1A0F221A2}" dt="2020-12-01T12:30:19.477" v="799" actId="14100"/>
          <ac:spMkLst>
            <pc:docMk/>
            <pc:sldMk cId="2762800380" sldId="448"/>
            <ac:spMk id="45" creationId="{EBCBCBD1-E21B-4393-8D88-21097657E3FB}"/>
          </ac:spMkLst>
        </pc:spChg>
        <pc:spChg chg="mod">
          <ac:chgData name="Matthieu Mabyre" userId="52a89cab-5e6b-49ac-8601-6d3bc79d567b" providerId="ADAL" clId="{DE5D2969-5929-47D1-BC7F-B6E1A0F221A2}" dt="2020-12-01T12:30:19.477" v="799" actId="14100"/>
          <ac:spMkLst>
            <pc:docMk/>
            <pc:sldMk cId="2762800380" sldId="448"/>
            <ac:spMk id="46" creationId="{706A9863-1AD8-497E-8475-4F9C3C938702}"/>
          </ac:spMkLst>
        </pc:spChg>
        <pc:spChg chg="mod">
          <ac:chgData name="Matthieu Mabyre" userId="52a89cab-5e6b-49ac-8601-6d3bc79d567b" providerId="ADAL" clId="{DE5D2969-5929-47D1-BC7F-B6E1A0F221A2}" dt="2020-12-01T12:30:19.477" v="799" actId="14100"/>
          <ac:spMkLst>
            <pc:docMk/>
            <pc:sldMk cId="2762800380" sldId="448"/>
            <ac:spMk id="47" creationId="{6928B57C-8C22-45F2-AE7C-2AFDD3C368DB}"/>
          </ac:spMkLst>
        </pc:spChg>
        <pc:spChg chg="mod">
          <ac:chgData name="Matthieu Mabyre" userId="52a89cab-5e6b-49ac-8601-6d3bc79d567b" providerId="ADAL" clId="{DE5D2969-5929-47D1-BC7F-B6E1A0F221A2}" dt="2020-12-01T12:30:00.254" v="798" actId="1037"/>
          <ac:spMkLst>
            <pc:docMk/>
            <pc:sldMk cId="2762800380" sldId="448"/>
            <ac:spMk id="48" creationId="{550B5241-A055-4A97-AFA6-0C804F2553E0}"/>
          </ac:spMkLst>
        </pc:spChg>
        <pc:spChg chg="mod">
          <ac:chgData name="Matthieu Mabyre" userId="52a89cab-5e6b-49ac-8601-6d3bc79d567b" providerId="ADAL" clId="{DE5D2969-5929-47D1-BC7F-B6E1A0F221A2}" dt="2020-12-01T12:38:00.460" v="1283" actId="20577"/>
          <ac:spMkLst>
            <pc:docMk/>
            <pc:sldMk cId="2762800380" sldId="448"/>
            <ac:spMk id="80" creationId="{6F5A7825-C260-4831-9B48-001AB9DF90D5}"/>
          </ac:spMkLst>
        </pc:spChg>
        <pc:grpChg chg="mod">
          <ac:chgData name="Matthieu Mabyre" userId="52a89cab-5e6b-49ac-8601-6d3bc79d567b" providerId="ADAL" clId="{DE5D2969-5929-47D1-BC7F-B6E1A0F221A2}" dt="2020-12-01T12:30:19.477" v="799" actId="14100"/>
          <ac:grpSpMkLst>
            <pc:docMk/>
            <pc:sldMk cId="2762800380" sldId="448"/>
            <ac:grpSpMk id="12" creationId="{2FFA7AA6-EF1B-47F4-83B4-7ADD97B76433}"/>
          </ac:grpSpMkLst>
        </pc:grpChg>
        <pc:grpChg chg="mod">
          <ac:chgData name="Matthieu Mabyre" userId="52a89cab-5e6b-49ac-8601-6d3bc79d567b" providerId="ADAL" clId="{DE5D2969-5929-47D1-BC7F-B6E1A0F221A2}" dt="2020-12-01T12:30:19.477" v="799" actId="14100"/>
          <ac:grpSpMkLst>
            <pc:docMk/>
            <pc:sldMk cId="2762800380" sldId="448"/>
            <ac:grpSpMk id="42" creationId="{88DAE97C-633A-4A00-9D3B-FF12DDC9AD78}"/>
          </ac:grpSpMkLst>
        </pc:grpChg>
        <pc:picChg chg="add mod ord">
          <ac:chgData name="Matthieu Mabyre" userId="52a89cab-5e6b-49ac-8601-6d3bc79d567b" providerId="ADAL" clId="{DE5D2969-5929-47D1-BC7F-B6E1A0F221A2}" dt="2020-12-01T12:31:57.769" v="823" actId="167"/>
          <ac:picMkLst>
            <pc:docMk/>
            <pc:sldMk cId="2762800380" sldId="448"/>
            <ac:picMk id="3" creationId="{E110ADFF-FFC7-4EDC-AA76-DC8EC21D8374}"/>
          </ac:picMkLst>
        </pc:picChg>
      </pc:sldChg>
      <pc:sldChg chg="addSp delSp modSp mod">
        <pc:chgData name="Matthieu Mabyre" userId="52a89cab-5e6b-49ac-8601-6d3bc79d567b" providerId="ADAL" clId="{DE5D2969-5929-47D1-BC7F-B6E1A0F221A2}" dt="2020-12-01T12:47:57" v="1492" actId="478"/>
        <pc:sldMkLst>
          <pc:docMk/>
          <pc:sldMk cId="780727013" sldId="452"/>
        </pc:sldMkLst>
        <pc:spChg chg="mod">
          <ac:chgData name="Matthieu Mabyre" userId="52a89cab-5e6b-49ac-8601-6d3bc79d567b" providerId="ADAL" clId="{DE5D2969-5929-47D1-BC7F-B6E1A0F221A2}" dt="2020-12-01T12:40:37.576" v="1374" actId="14100"/>
          <ac:spMkLst>
            <pc:docMk/>
            <pc:sldMk cId="780727013" sldId="452"/>
            <ac:spMk id="8" creationId="{002C3AD6-2F5E-4534-B638-C704D9D3D569}"/>
          </ac:spMkLst>
        </pc:spChg>
        <pc:spChg chg="mod">
          <ac:chgData name="Matthieu Mabyre" userId="52a89cab-5e6b-49ac-8601-6d3bc79d567b" providerId="ADAL" clId="{DE5D2969-5929-47D1-BC7F-B6E1A0F221A2}" dt="2020-12-01T12:40:46.272" v="1375" actId="14100"/>
          <ac:spMkLst>
            <pc:docMk/>
            <pc:sldMk cId="780727013" sldId="452"/>
            <ac:spMk id="9" creationId="{BE896D1A-4DC9-460D-A48A-70595726F044}"/>
          </ac:spMkLst>
        </pc:spChg>
        <pc:spChg chg="del">
          <ac:chgData name="Matthieu Mabyre" userId="52a89cab-5e6b-49ac-8601-6d3bc79d567b" providerId="ADAL" clId="{DE5D2969-5929-47D1-BC7F-B6E1A0F221A2}" dt="2020-12-01T12:40:08.326" v="1360" actId="478"/>
          <ac:spMkLst>
            <pc:docMk/>
            <pc:sldMk cId="780727013" sldId="452"/>
            <ac:spMk id="11" creationId="{0B94B40B-7832-46D5-B46C-5B66F529AF88}"/>
          </ac:spMkLst>
        </pc:spChg>
        <pc:spChg chg="mod">
          <ac:chgData name="Matthieu Mabyre" userId="52a89cab-5e6b-49ac-8601-6d3bc79d567b" providerId="ADAL" clId="{DE5D2969-5929-47D1-BC7F-B6E1A0F221A2}" dt="2020-12-01T12:47:34.346" v="1491" actId="20577"/>
          <ac:spMkLst>
            <pc:docMk/>
            <pc:sldMk cId="780727013" sldId="452"/>
            <ac:spMk id="15" creationId="{7F764852-256F-49DF-B500-7AB466E1A418}"/>
          </ac:spMkLst>
        </pc:spChg>
        <pc:spChg chg="mod">
          <ac:chgData name="Matthieu Mabyre" userId="52a89cab-5e6b-49ac-8601-6d3bc79d567b" providerId="ADAL" clId="{DE5D2969-5929-47D1-BC7F-B6E1A0F221A2}" dt="2020-12-01T12:38:49.940" v="1290" actId="20577"/>
          <ac:spMkLst>
            <pc:docMk/>
            <pc:sldMk cId="780727013" sldId="452"/>
            <ac:spMk id="28" creationId="{DE1FCFDF-848D-4479-B9CD-70D6D0FD7B86}"/>
          </ac:spMkLst>
        </pc:spChg>
        <pc:spChg chg="del">
          <ac:chgData name="Matthieu Mabyre" userId="52a89cab-5e6b-49ac-8601-6d3bc79d567b" providerId="ADAL" clId="{DE5D2969-5929-47D1-BC7F-B6E1A0F221A2}" dt="2020-12-01T12:47:57" v="1492" actId="478"/>
          <ac:spMkLst>
            <pc:docMk/>
            <pc:sldMk cId="780727013" sldId="452"/>
            <ac:spMk id="43" creationId="{E9D7FB98-E8B3-4ADF-A555-327477FF7A93}"/>
          </ac:spMkLst>
        </pc:spChg>
        <pc:spChg chg="mod">
          <ac:chgData name="Matthieu Mabyre" userId="52a89cab-5e6b-49ac-8601-6d3bc79d567b" providerId="ADAL" clId="{DE5D2969-5929-47D1-BC7F-B6E1A0F221A2}" dt="2020-12-01T12:39:18.644" v="1341" actId="1037"/>
          <ac:spMkLst>
            <pc:docMk/>
            <pc:sldMk cId="780727013" sldId="452"/>
            <ac:spMk id="49" creationId="{4593EDF8-B17E-4F23-96F2-7B57265E27C7}"/>
          </ac:spMkLst>
        </pc:spChg>
        <pc:graphicFrameChg chg="ord">
          <ac:chgData name="Matthieu Mabyre" userId="52a89cab-5e6b-49ac-8601-6d3bc79d567b" providerId="ADAL" clId="{DE5D2969-5929-47D1-BC7F-B6E1A0F221A2}" dt="2020-12-01T12:40:03.593" v="1359" actId="167"/>
          <ac:graphicFrameMkLst>
            <pc:docMk/>
            <pc:sldMk cId="780727013" sldId="452"/>
            <ac:graphicFrameMk id="6" creationId="{23E94604-D1AD-4603-96E5-4A4CDF27D10D}"/>
          </ac:graphicFrameMkLst>
        </pc:graphicFrameChg>
        <pc:graphicFrameChg chg="modGraphic">
          <ac:chgData name="Matthieu Mabyre" userId="52a89cab-5e6b-49ac-8601-6d3bc79d567b" providerId="ADAL" clId="{DE5D2969-5929-47D1-BC7F-B6E1A0F221A2}" dt="2020-12-01T12:43:21.507" v="1407" actId="20577"/>
          <ac:graphicFrameMkLst>
            <pc:docMk/>
            <pc:sldMk cId="780727013" sldId="452"/>
            <ac:graphicFrameMk id="10" creationId="{215B3BAA-C7A4-4B52-A79A-C282D5DEF2CC}"/>
          </ac:graphicFrameMkLst>
        </pc:graphicFrameChg>
        <pc:picChg chg="add mod ord">
          <ac:chgData name="Matthieu Mabyre" userId="52a89cab-5e6b-49ac-8601-6d3bc79d567b" providerId="ADAL" clId="{DE5D2969-5929-47D1-BC7F-B6E1A0F221A2}" dt="2020-12-01T12:39:59.182" v="1358" actId="1038"/>
          <ac:picMkLst>
            <pc:docMk/>
            <pc:sldMk cId="780727013" sldId="452"/>
            <ac:picMk id="3" creationId="{24BD01B7-CCA3-41F6-9D11-E4869ACD50A6}"/>
          </ac:picMkLst>
        </pc:picChg>
      </pc:sldChg>
      <pc:sldChg chg="addSp delSp modSp mod">
        <pc:chgData name="Matthieu Mabyre" userId="52a89cab-5e6b-49ac-8601-6d3bc79d567b" providerId="ADAL" clId="{DE5D2969-5929-47D1-BC7F-B6E1A0F221A2}" dt="2020-12-01T12:26:37.339" v="784"/>
        <pc:sldMkLst>
          <pc:docMk/>
          <pc:sldMk cId="467378802" sldId="492"/>
        </pc:sldMkLst>
        <pc:spChg chg="mod">
          <ac:chgData name="Matthieu Mabyre" userId="52a89cab-5e6b-49ac-8601-6d3bc79d567b" providerId="ADAL" clId="{DE5D2969-5929-47D1-BC7F-B6E1A0F221A2}" dt="2020-12-01T12:25:05.193" v="782" actId="20577"/>
          <ac:spMkLst>
            <pc:docMk/>
            <pc:sldMk cId="467378802" sldId="492"/>
            <ac:spMk id="7" creationId="{B633BA49-44C2-41E0-8A5F-10881248D9C0}"/>
          </ac:spMkLst>
        </pc:spChg>
        <pc:spChg chg="mod">
          <ac:chgData name="Matthieu Mabyre" userId="52a89cab-5e6b-49ac-8601-6d3bc79d567b" providerId="ADAL" clId="{DE5D2969-5929-47D1-BC7F-B6E1A0F221A2}" dt="2020-12-01T12:24:16.190" v="772" actId="1036"/>
          <ac:spMkLst>
            <pc:docMk/>
            <pc:sldMk cId="467378802" sldId="492"/>
            <ac:spMk id="9" creationId="{00000000-0000-0000-0000-000000000000}"/>
          </ac:spMkLst>
        </pc:spChg>
        <pc:spChg chg="mod">
          <ac:chgData name="Matthieu Mabyre" userId="52a89cab-5e6b-49ac-8601-6d3bc79d567b" providerId="ADAL" clId="{DE5D2969-5929-47D1-BC7F-B6E1A0F221A2}" dt="2020-12-01T12:24:16.190" v="772" actId="1036"/>
          <ac:spMkLst>
            <pc:docMk/>
            <pc:sldMk cId="467378802" sldId="492"/>
            <ac:spMk id="11" creationId="{00000000-0000-0000-0000-000000000000}"/>
          </ac:spMkLst>
        </pc:spChg>
        <pc:spChg chg="del">
          <ac:chgData name="Matthieu Mabyre" userId="52a89cab-5e6b-49ac-8601-6d3bc79d567b" providerId="ADAL" clId="{DE5D2969-5929-47D1-BC7F-B6E1A0F221A2}" dt="2020-12-01T12:23:48.841" v="768" actId="478"/>
          <ac:spMkLst>
            <pc:docMk/>
            <pc:sldMk cId="467378802" sldId="492"/>
            <ac:spMk id="18" creationId="{A0A14B17-35D7-4D64-A7D8-90BDBFD2A6FB}"/>
          </ac:spMkLst>
        </pc:spChg>
        <pc:spChg chg="mod">
          <ac:chgData name="Matthieu Mabyre" userId="52a89cab-5e6b-49ac-8601-6d3bc79d567b" providerId="ADAL" clId="{DE5D2969-5929-47D1-BC7F-B6E1A0F221A2}" dt="2020-12-01T12:24:16.190" v="772" actId="1036"/>
          <ac:spMkLst>
            <pc:docMk/>
            <pc:sldMk cId="467378802" sldId="492"/>
            <ac:spMk id="24" creationId="{00000000-0000-0000-0000-000000000000}"/>
          </ac:spMkLst>
        </pc:spChg>
        <pc:spChg chg="mod">
          <ac:chgData name="Matthieu Mabyre" userId="52a89cab-5e6b-49ac-8601-6d3bc79d567b" providerId="ADAL" clId="{DE5D2969-5929-47D1-BC7F-B6E1A0F221A2}" dt="2020-12-01T12:24:16.190" v="772" actId="1036"/>
          <ac:spMkLst>
            <pc:docMk/>
            <pc:sldMk cId="467378802" sldId="492"/>
            <ac:spMk id="25" creationId="{00000000-0000-0000-0000-000000000000}"/>
          </ac:spMkLst>
        </pc:spChg>
        <pc:graphicFrameChg chg="add mod">
          <ac:chgData name="Matthieu Mabyre" userId="52a89cab-5e6b-49ac-8601-6d3bc79d567b" providerId="ADAL" clId="{DE5D2969-5929-47D1-BC7F-B6E1A0F221A2}" dt="2020-12-01T12:26:37.339" v="784"/>
          <ac:graphicFrameMkLst>
            <pc:docMk/>
            <pc:sldMk cId="467378802" sldId="492"/>
            <ac:graphicFrameMk id="17" creationId="{D55BBF1E-FA20-46EB-BBE3-B34CE16E1125}"/>
          </ac:graphicFrameMkLst>
        </pc:graphicFrameChg>
        <pc:graphicFrameChg chg="mod modGraphic">
          <ac:chgData name="Matthieu Mabyre" userId="52a89cab-5e6b-49ac-8601-6d3bc79d567b" providerId="ADAL" clId="{DE5D2969-5929-47D1-BC7F-B6E1A0F221A2}" dt="2020-12-01T12:24:16.190" v="772" actId="1036"/>
          <ac:graphicFrameMkLst>
            <pc:docMk/>
            <pc:sldMk cId="467378802" sldId="492"/>
            <ac:graphicFrameMk id="20" creationId="{C706CF1C-16BE-40AB-AD10-3D3B1B2FD25F}"/>
          </ac:graphicFrameMkLst>
        </pc:graphicFrameChg>
        <pc:graphicFrameChg chg="mod modGraphic">
          <ac:chgData name="Matthieu Mabyre" userId="52a89cab-5e6b-49ac-8601-6d3bc79d567b" providerId="ADAL" clId="{DE5D2969-5929-47D1-BC7F-B6E1A0F221A2}" dt="2020-12-01T12:24:16.190" v="772" actId="1036"/>
          <ac:graphicFrameMkLst>
            <pc:docMk/>
            <pc:sldMk cId="467378802" sldId="492"/>
            <ac:graphicFrameMk id="22" creationId="{25ADC611-E4BA-4F2F-9BF9-A6228171DDE2}"/>
          </ac:graphicFrameMkLst>
        </pc:graphicFrameChg>
        <pc:graphicFrameChg chg="mod modGraphic">
          <ac:chgData name="Matthieu Mabyre" userId="52a89cab-5e6b-49ac-8601-6d3bc79d567b" providerId="ADAL" clId="{DE5D2969-5929-47D1-BC7F-B6E1A0F221A2}" dt="2020-12-01T12:23:07.866" v="729" actId="20577"/>
          <ac:graphicFrameMkLst>
            <pc:docMk/>
            <pc:sldMk cId="467378802" sldId="492"/>
            <ac:graphicFrameMk id="23" creationId="{00000000-0000-0000-0000-000000000000}"/>
          </ac:graphicFrameMkLst>
        </pc:graphicFrameChg>
        <pc:graphicFrameChg chg="mod modGraphic">
          <ac:chgData name="Matthieu Mabyre" userId="52a89cab-5e6b-49ac-8601-6d3bc79d567b" providerId="ADAL" clId="{DE5D2969-5929-47D1-BC7F-B6E1A0F221A2}" dt="2020-12-01T12:24:16.190" v="772" actId="1036"/>
          <ac:graphicFrameMkLst>
            <pc:docMk/>
            <pc:sldMk cId="467378802" sldId="492"/>
            <ac:graphicFrameMk id="26" creationId="{A088A704-3458-4A85-A10E-CBFB205EDF51}"/>
          </ac:graphicFrameMkLst>
        </pc:graphicFrameChg>
      </pc:sldChg>
    </pc:docChg>
  </pc:docChgLst>
  <pc:docChgLst>
    <pc:chgData name="Gurunand Pai" userId="3497c6a8-6cb2-4308-974d-19fae6631586" providerId="ADAL" clId="{E676EFE6-B6DF-49C6-B07B-A6C4531522AE}"/>
    <pc:docChg chg="undo custSel addSld delSld modSld sldOrd modSection">
      <pc:chgData name="Gurunand Pai" userId="3497c6a8-6cb2-4308-974d-19fae6631586" providerId="ADAL" clId="{E676EFE6-B6DF-49C6-B07B-A6C4531522AE}" dt="2020-11-16T20:29:44.957" v="1242" actId="1076"/>
      <pc:docMkLst>
        <pc:docMk/>
      </pc:docMkLst>
      <pc:sldChg chg="addSp delSp modSp mod">
        <pc:chgData name="Gurunand Pai" userId="3497c6a8-6cb2-4308-974d-19fae6631586" providerId="ADAL" clId="{E676EFE6-B6DF-49C6-B07B-A6C4531522AE}" dt="2020-11-15T03:37:19.601" v="819" actId="1076"/>
        <pc:sldMkLst>
          <pc:docMk/>
          <pc:sldMk cId="1144498750" sldId="502"/>
        </pc:sldMkLst>
        <pc:spChg chg="mod">
          <ac:chgData name="Gurunand Pai" userId="3497c6a8-6cb2-4308-974d-19fae6631586" providerId="ADAL" clId="{E676EFE6-B6DF-49C6-B07B-A6C4531522AE}" dt="2020-11-15T03:32:47.621" v="809" actId="20577"/>
          <ac:spMkLst>
            <pc:docMk/>
            <pc:sldMk cId="1144498750" sldId="502"/>
            <ac:spMk id="2" creationId="{0F2A2CE9-7B67-443F-97DA-1E45D6288FFE}"/>
          </ac:spMkLst>
        </pc:spChg>
        <pc:spChg chg="del">
          <ac:chgData name="Gurunand Pai" userId="3497c6a8-6cb2-4308-974d-19fae6631586" providerId="ADAL" clId="{E676EFE6-B6DF-49C6-B07B-A6C4531522AE}" dt="2020-11-15T03:34:18.666" v="817" actId="478"/>
          <ac:spMkLst>
            <pc:docMk/>
            <pc:sldMk cId="1144498750" sldId="502"/>
            <ac:spMk id="3" creationId="{8652559F-A79D-442C-B094-E6B4237CCF70}"/>
          </ac:spMkLst>
        </pc:spChg>
        <pc:spChg chg="mod">
          <ac:chgData name="Gurunand Pai" userId="3497c6a8-6cb2-4308-974d-19fae6631586" providerId="ADAL" clId="{E676EFE6-B6DF-49C6-B07B-A6C4531522AE}" dt="2020-11-15T03:33:34.243" v="816" actId="20577"/>
          <ac:spMkLst>
            <pc:docMk/>
            <pc:sldMk cId="1144498750" sldId="502"/>
            <ac:spMk id="11" creationId="{98E1CF3E-7DA7-4F35-9501-EDAE59544965}"/>
          </ac:spMkLst>
        </pc:spChg>
        <pc:graphicFrameChg chg="add mod">
          <ac:chgData name="Gurunand Pai" userId="3497c6a8-6cb2-4308-974d-19fae6631586" providerId="ADAL" clId="{E676EFE6-B6DF-49C6-B07B-A6C4531522AE}" dt="2020-11-15T03:37:19.601" v="819" actId="1076"/>
          <ac:graphicFrameMkLst>
            <pc:docMk/>
            <pc:sldMk cId="1144498750" sldId="502"/>
            <ac:graphicFrameMk id="4" creationId="{C652AC52-0610-426D-84D3-7EE084B8B806}"/>
          </ac:graphicFrameMkLst>
        </pc:graphicFrameChg>
        <pc:graphicFrameChg chg="add mod">
          <ac:chgData name="Gurunand Pai" userId="3497c6a8-6cb2-4308-974d-19fae6631586" providerId="ADAL" clId="{E676EFE6-B6DF-49C6-B07B-A6C4531522AE}" dt="2020-11-15T03:32:09.629" v="808" actId="14100"/>
          <ac:graphicFrameMkLst>
            <pc:docMk/>
            <pc:sldMk cId="1144498750" sldId="502"/>
            <ac:graphicFrameMk id="8" creationId="{C0EE446C-7AD1-44B1-8F89-B7E72C506855}"/>
          </ac:graphicFrameMkLst>
        </pc:graphicFrameChg>
        <pc:graphicFrameChg chg="del mod">
          <ac:chgData name="Gurunand Pai" userId="3497c6a8-6cb2-4308-974d-19fae6631586" providerId="ADAL" clId="{E676EFE6-B6DF-49C6-B07B-A6C4531522AE}" dt="2020-11-15T03:31:48.959" v="804" actId="478"/>
          <ac:graphicFrameMkLst>
            <pc:docMk/>
            <pc:sldMk cId="1144498750" sldId="502"/>
            <ac:graphicFrameMk id="10" creationId="{C0EE446C-7AD1-44B1-8F89-B7E72C506855}"/>
          </ac:graphicFrameMkLst>
        </pc:graphicFrameChg>
      </pc:sldChg>
      <pc:sldChg chg="delSp modSp add del mod">
        <pc:chgData name="Gurunand Pai" userId="3497c6a8-6cb2-4308-974d-19fae6631586" providerId="ADAL" clId="{E676EFE6-B6DF-49C6-B07B-A6C4531522AE}" dt="2020-11-15T03:46:54.701" v="834" actId="113"/>
        <pc:sldMkLst>
          <pc:docMk/>
          <pc:sldMk cId="3575644813" sldId="506"/>
        </pc:sldMkLst>
        <pc:spChg chg="del mod">
          <ac:chgData name="Gurunand Pai" userId="3497c6a8-6cb2-4308-974d-19fae6631586" providerId="ADAL" clId="{E676EFE6-B6DF-49C6-B07B-A6C4531522AE}" dt="2020-11-15T01:53:08.671" v="692" actId="478"/>
          <ac:spMkLst>
            <pc:docMk/>
            <pc:sldMk cId="3575644813" sldId="506"/>
            <ac:spMk id="3" creationId="{D86D7F3A-FE87-4613-9278-BBA3D1EE8C3E}"/>
          </ac:spMkLst>
        </pc:spChg>
        <pc:spChg chg="del">
          <ac:chgData name="Gurunand Pai" userId="3497c6a8-6cb2-4308-974d-19fae6631586" providerId="ADAL" clId="{E676EFE6-B6DF-49C6-B07B-A6C4531522AE}" dt="2020-11-15T00:34:35.477" v="379" actId="478"/>
          <ac:spMkLst>
            <pc:docMk/>
            <pc:sldMk cId="3575644813" sldId="506"/>
            <ac:spMk id="7" creationId="{B2B4F709-BF32-4B9C-85EF-1E265073D9E8}"/>
          </ac:spMkLst>
        </pc:spChg>
        <pc:spChg chg="del">
          <ac:chgData name="Gurunand Pai" userId="3497c6a8-6cb2-4308-974d-19fae6631586" providerId="ADAL" clId="{E676EFE6-B6DF-49C6-B07B-A6C4531522AE}" dt="2020-11-14T22:42:52.515" v="79" actId="478"/>
          <ac:spMkLst>
            <pc:docMk/>
            <pc:sldMk cId="3575644813" sldId="506"/>
            <ac:spMk id="32" creationId="{66C97658-9FBC-4EE3-9FD8-A943269193F6}"/>
          </ac:spMkLst>
        </pc:spChg>
        <pc:graphicFrameChg chg="mod modGraphic">
          <ac:chgData name="Gurunand Pai" userId="3497c6a8-6cb2-4308-974d-19fae6631586" providerId="ADAL" clId="{E676EFE6-B6DF-49C6-B07B-A6C4531522AE}" dt="2020-11-15T01:16:06.679" v="500" actId="2165"/>
          <ac:graphicFrameMkLst>
            <pc:docMk/>
            <pc:sldMk cId="3575644813" sldId="506"/>
            <ac:graphicFrameMk id="12" creationId="{F3CAD3D4-E6BB-4B9A-A523-75143986B640}"/>
          </ac:graphicFrameMkLst>
        </pc:graphicFrameChg>
        <pc:graphicFrameChg chg="mod modGraphic">
          <ac:chgData name="Gurunand Pai" userId="3497c6a8-6cb2-4308-974d-19fae6631586" providerId="ADAL" clId="{E676EFE6-B6DF-49C6-B07B-A6C4531522AE}" dt="2020-11-15T03:46:54.701" v="834" actId="113"/>
          <ac:graphicFrameMkLst>
            <pc:docMk/>
            <pc:sldMk cId="3575644813" sldId="506"/>
            <ac:graphicFrameMk id="14" creationId="{FEB5ADB4-20B2-4373-B991-B2EEBA794E1A}"/>
          </ac:graphicFrameMkLst>
        </pc:graphicFrameChg>
      </pc:sldChg>
      <pc:sldChg chg="delSp modSp mod">
        <pc:chgData name="Gurunand Pai" userId="3497c6a8-6cb2-4308-974d-19fae6631586" providerId="ADAL" clId="{E676EFE6-B6DF-49C6-B07B-A6C4531522AE}" dt="2020-11-16T20:10:33.210" v="1203" actId="478"/>
        <pc:sldMkLst>
          <pc:docMk/>
          <pc:sldMk cId="2474220997" sldId="518"/>
        </pc:sldMkLst>
        <pc:spChg chg="del">
          <ac:chgData name="Gurunand Pai" userId="3497c6a8-6cb2-4308-974d-19fae6631586" providerId="ADAL" clId="{E676EFE6-B6DF-49C6-B07B-A6C4531522AE}" dt="2020-11-16T20:10:33.210" v="1203" actId="478"/>
          <ac:spMkLst>
            <pc:docMk/>
            <pc:sldMk cId="2474220997" sldId="518"/>
            <ac:spMk id="3" creationId="{4E46AC8F-4CE7-4262-9D6F-5948E67FE521}"/>
          </ac:spMkLst>
        </pc:spChg>
        <pc:spChg chg="del">
          <ac:chgData name="Gurunand Pai" userId="3497c6a8-6cb2-4308-974d-19fae6631586" providerId="ADAL" clId="{E676EFE6-B6DF-49C6-B07B-A6C4531522AE}" dt="2020-11-15T03:48:30.586" v="856" actId="478"/>
          <ac:spMkLst>
            <pc:docMk/>
            <pc:sldMk cId="2474220997" sldId="518"/>
            <ac:spMk id="7" creationId="{B2B4F709-BF32-4B9C-85EF-1E265073D9E8}"/>
          </ac:spMkLst>
        </pc:spChg>
        <pc:spChg chg="del">
          <ac:chgData name="Gurunand Pai" userId="3497c6a8-6cb2-4308-974d-19fae6631586" providerId="ADAL" clId="{E676EFE6-B6DF-49C6-B07B-A6C4531522AE}" dt="2020-11-16T19:05:00.771" v="897" actId="478"/>
          <ac:spMkLst>
            <pc:docMk/>
            <pc:sldMk cId="2474220997" sldId="518"/>
            <ac:spMk id="32" creationId="{66C97658-9FBC-4EE3-9FD8-A943269193F6}"/>
          </ac:spMkLst>
        </pc:spChg>
        <pc:graphicFrameChg chg="mod modGraphic">
          <ac:chgData name="Gurunand Pai" userId="3497c6a8-6cb2-4308-974d-19fae6631586" providerId="ADAL" clId="{E676EFE6-B6DF-49C6-B07B-A6C4531522AE}" dt="2020-11-16T19:53:14.219" v="1125"/>
          <ac:graphicFrameMkLst>
            <pc:docMk/>
            <pc:sldMk cId="2474220997" sldId="518"/>
            <ac:graphicFrameMk id="12" creationId="{F3CAD3D4-E6BB-4B9A-A523-75143986B640}"/>
          </ac:graphicFrameMkLst>
        </pc:graphicFrameChg>
        <pc:graphicFrameChg chg="mod modGraphic">
          <ac:chgData name="Gurunand Pai" userId="3497c6a8-6cb2-4308-974d-19fae6631586" providerId="ADAL" clId="{E676EFE6-B6DF-49C6-B07B-A6C4531522AE}" dt="2020-11-16T19:23:43.591" v="960" actId="20577"/>
          <ac:graphicFrameMkLst>
            <pc:docMk/>
            <pc:sldMk cId="2474220997" sldId="518"/>
            <ac:graphicFrameMk id="14" creationId="{FEB5ADB4-20B2-4373-B991-B2EEBA794E1A}"/>
          </ac:graphicFrameMkLst>
        </pc:graphicFrameChg>
      </pc:sldChg>
      <pc:sldChg chg="addSp delSp modSp mod">
        <pc:chgData name="Gurunand Pai" userId="3497c6a8-6cb2-4308-974d-19fae6631586" providerId="ADAL" clId="{E676EFE6-B6DF-49C6-B07B-A6C4531522AE}" dt="2020-11-16T20:29:44.957" v="1242" actId="1076"/>
        <pc:sldMkLst>
          <pc:docMk/>
          <pc:sldMk cId="3550771503" sldId="519"/>
        </pc:sldMkLst>
        <pc:spChg chg="mod">
          <ac:chgData name="Gurunand Pai" userId="3497c6a8-6cb2-4308-974d-19fae6631586" providerId="ADAL" clId="{E676EFE6-B6DF-49C6-B07B-A6C4531522AE}" dt="2020-11-16T20:25:02.905" v="1209" actId="20577"/>
          <ac:spMkLst>
            <pc:docMk/>
            <pc:sldMk cId="3550771503" sldId="519"/>
            <ac:spMk id="2" creationId="{0F2A2CE9-7B67-443F-97DA-1E45D6288FFE}"/>
          </ac:spMkLst>
        </pc:spChg>
        <pc:spChg chg="del">
          <ac:chgData name="Gurunand Pai" userId="3497c6a8-6cb2-4308-974d-19fae6631586" providerId="ADAL" clId="{E676EFE6-B6DF-49C6-B07B-A6C4531522AE}" dt="2020-11-16T20:26:09.433" v="1220" actId="478"/>
          <ac:spMkLst>
            <pc:docMk/>
            <pc:sldMk cId="3550771503" sldId="519"/>
            <ac:spMk id="3" creationId="{681A0391-D6B2-4FB4-B1E0-6C4B705D6BFB}"/>
          </ac:spMkLst>
        </pc:spChg>
        <pc:spChg chg="add del">
          <ac:chgData name="Gurunand Pai" userId="3497c6a8-6cb2-4308-974d-19fae6631586" providerId="ADAL" clId="{E676EFE6-B6DF-49C6-B07B-A6C4531522AE}" dt="2020-11-16T20:27:52.743" v="1240" actId="478"/>
          <ac:spMkLst>
            <pc:docMk/>
            <pc:sldMk cId="3550771503" sldId="519"/>
            <ac:spMk id="4" creationId="{A75B6F57-E3D8-462A-8D02-3430266B7EE5}"/>
          </ac:spMkLst>
        </pc:spChg>
        <pc:spChg chg="mod">
          <ac:chgData name="Gurunand Pai" userId="3497c6a8-6cb2-4308-974d-19fae6631586" providerId="ADAL" clId="{E676EFE6-B6DF-49C6-B07B-A6C4531522AE}" dt="2020-11-16T20:25:54.552" v="1219" actId="20577"/>
          <ac:spMkLst>
            <pc:docMk/>
            <pc:sldMk cId="3550771503" sldId="519"/>
            <ac:spMk id="11" creationId="{98E1CF3E-7DA7-4F35-9501-EDAE59544965}"/>
          </ac:spMkLst>
        </pc:spChg>
        <pc:graphicFrameChg chg="add mod">
          <ac:chgData name="Gurunand Pai" userId="3497c6a8-6cb2-4308-974d-19fae6631586" providerId="ADAL" clId="{E676EFE6-B6DF-49C6-B07B-A6C4531522AE}" dt="2020-11-16T20:29:44.957" v="1242" actId="1076"/>
          <ac:graphicFrameMkLst>
            <pc:docMk/>
            <pc:sldMk cId="3550771503" sldId="519"/>
            <ac:graphicFrameMk id="6" creationId="{C592FF6C-F017-41D0-8C14-4DB674AC371F}"/>
          </ac:graphicFrameMkLst>
        </pc:graphicFrameChg>
        <pc:graphicFrameChg chg="add mod">
          <ac:chgData name="Gurunand Pai" userId="3497c6a8-6cb2-4308-974d-19fae6631586" providerId="ADAL" clId="{E676EFE6-B6DF-49C6-B07B-A6C4531522AE}" dt="2020-11-16T20:27:46.561" v="1239" actId="14861"/>
          <ac:graphicFrameMkLst>
            <pc:docMk/>
            <pc:sldMk cId="3550771503" sldId="519"/>
            <ac:graphicFrameMk id="8" creationId="{C0EE446C-7AD1-44B1-8F89-B7E72C506855}"/>
          </ac:graphicFrameMkLst>
        </pc:graphicFrameChg>
        <pc:graphicFrameChg chg="del mod">
          <ac:chgData name="Gurunand Pai" userId="3497c6a8-6cb2-4308-974d-19fae6631586" providerId="ADAL" clId="{E676EFE6-B6DF-49C6-B07B-A6C4531522AE}" dt="2020-11-16T20:26:40.657" v="1225" actId="478"/>
          <ac:graphicFrameMkLst>
            <pc:docMk/>
            <pc:sldMk cId="3550771503" sldId="519"/>
            <ac:graphicFrameMk id="10" creationId="{C0EE446C-7AD1-44B1-8F89-B7E72C506855}"/>
          </ac:graphicFrameMkLst>
        </pc:graphicFrameChg>
      </pc:sldChg>
      <pc:sldChg chg="addSp delSp modSp add mod">
        <pc:chgData name="Gurunand Pai" userId="3497c6a8-6cb2-4308-974d-19fae6631586" providerId="ADAL" clId="{E676EFE6-B6DF-49C6-B07B-A6C4531522AE}" dt="2020-11-16T18:55:37.291" v="868" actId="13926"/>
        <pc:sldMkLst>
          <pc:docMk/>
          <pc:sldMk cId="2652568716" sldId="551"/>
        </pc:sldMkLst>
        <pc:spChg chg="del">
          <ac:chgData name="Gurunand Pai" userId="3497c6a8-6cb2-4308-974d-19fae6631586" providerId="ADAL" clId="{E676EFE6-B6DF-49C6-B07B-A6C4531522AE}" dt="2020-11-15T02:15:55.734" v="778" actId="478"/>
          <ac:spMkLst>
            <pc:docMk/>
            <pc:sldMk cId="2652568716" sldId="551"/>
            <ac:spMk id="3" creationId="{D86D7F3A-FE87-4613-9278-BBA3D1EE8C3E}"/>
          </ac:spMkLst>
        </pc:spChg>
        <pc:spChg chg="mod">
          <ac:chgData name="Gurunand Pai" userId="3497c6a8-6cb2-4308-974d-19fae6631586" providerId="ADAL" clId="{E676EFE6-B6DF-49C6-B07B-A6C4531522AE}" dt="2020-11-16T18:55:37.291" v="868" actId="13926"/>
          <ac:spMkLst>
            <pc:docMk/>
            <pc:sldMk cId="2652568716" sldId="551"/>
            <ac:spMk id="7" creationId="{B2B4F709-BF32-4B9C-85EF-1E265073D9E8}"/>
          </ac:spMkLst>
        </pc:spChg>
        <pc:graphicFrameChg chg="add mod">
          <ac:chgData name="Gurunand Pai" userId="3497c6a8-6cb2-4308-974d-19fae6631586" providerId="ADAL" clId="{E676EFE6-B6DF-49C6-B07B-A6C4531522AE}" dt="2020-11-15T02:18:58.873" v="780" actId="1076"/>
          <ac:graphicFrameMkLst>
            <pc:docMk/>
            <pc:sldMk cId="2652568716" sldId="551"/>
            <ac:graphicFrameMk id="4" creationId="{AE6CE135-1173-43DA-9B07-8B272075AF36}"/>
          </ac:graphicFrameMkLst>
        </pc:graphicFrameChg>
        <pc:graphicFrameChg chg="mod modGraphic">
          <ac:chgData name="Gurunand Pai" userId="3497c6a8-6cb2-4308-974d-19fae6631586" providerId="ADAL" clId="{E676EFE6-B6DF-49C6-B07B-A6C4531522AE}" dt="2020-11-16T18:55:33.257" v="867" actId="13926"/>
          <ac:graphicFrameMkLst>
            <pc:docMk/>
            <pc:sldMk cId="2652568716" sldId="551"/>
            <ac:graphicFrameMk id="12" creationId="{F3CAD3D4-E6BB-4B9A-A523-75143986B640}"/>
          </ac:graphicFrameMkLst>
        </pc:graphicFrameChg>
        <pc:graphicFrameChg chg="mod modGraphic">
          <ac:chgData name="Gurunand Pai" userId="3497c6a8-6cb2-4308-974d-19fae6631586" providerId="ADAL" clId="{E676EFE6-B6DF-49C6-B07B-A6C4531522AE}" dt="2020-11-16T03:22:32.687" v="859"/>
          <ac:graphicFrameMkLst>
            <pc:docMk/>
            <pc:sldMk cId="2652568716" sldId="551"/>
            <ac:graphicFrameMk id="14" creationId="{FEB5ADB4-20B2-4373-B991-B2EEBA794E1A}"/>
          </ac:graphicFrameMkLst>
        </pc:graphicFrameChg>
      </pc:sldChg>
      <pc:sldChg chg="delSp modSp add del mod ord">
        <pc:chgData name="Gurunand Pai" userId="3497c6a8-6cb2-4308-974d-19fae6631586" providerId="ADAL" clId="{E676EFE6-B6DF-49C6-B07B-A6C4531522AE}" dt="2020-11-14T23:16:10.659" v="136" actId="47"/>
        <pc:sldMkLst>
          <pc:docMk/>
          <pc:sldMk cId="1847091655" sldId="552"/>
        </pc:sldMkLst>
        <pc:spChg chg="del">
          <ac:chgData name="Gurunand Pai" userId="3497c6a8-6cb2-4308-974d-19fae6631586" providerId="ADAL" clId="{E676EFE6-B6DF-49C6-B07B-A6C4531522AE}" dt="2020-11-14T22:38:08.615" v="56" actId="478"/>
          <ac:spMkLst>
            <pc:docMk/>
            <pc:sldMk cId="1847091655" sldId="552"/>
            <ac:spMk id="32" creationId="{66C97658-9FBC-4EE3-9FD8-A943269193F6}"/>
          </ac:spMkLst>
        </pc:spChg>
        <pc:graphicFrameChg chg="mod modGraphic">
          <ac:chgData name="Gurunand Pai" userId="3497c6a8-6cb2-4308-974d-19fae6631586" providerId="ADAL" clId="{E676EFE6-B6DF-49C6-B07B-A6C4531522AE}" dt="2020-11-14T22:38:17.333" v="57"/>
          <ac:graphicFrameMkLst>
            <pc:docMk/>
            <pc:sldMk cId="1847091655" sldId="552"/>
            <ac:graphicFrameMk id="14" creationId="{FEB5ADB4-20B2-4373-B991-B2EEBA794E1A}"/>
          </ac:graphicFrameMkLst>
        </pc:graphicFrameChg>
      </pc:sldChg>
      <pc:sldChg chg="delSp modSp add mod">
        <pc:chgData name="Gurunand Pai" userId="3497c6a8-6cb2-4308-974d-19fae6631586" providerId="ADAL" clId="{E676EFE6-B6DF-49C6-B07B-A6C4531522AE}" dt="2020-11-15T20:07:24.149" v="858" actId="108"/>
        <pc:sldMkLst>
          <pc:docMk/>
          <pc:sldMk cId="2453373365" sldId="553"/>
        </pc:sldMkLst>
        <pc:spChg chg="del">
          <ac:chgData name="Gurunand Pai" userId="3497c6a8-6cb2-4308-974d-19fae6631586" providerId="ADAL" clId="{E676EFE6-B6DF-49C6-B07B-A6C4531522AE}" dt="2020-11-15T01:52:32.382" v="690" actId="478"/>
          <ac:spMkLst>
            <pc:docMk/>
            <pc:sldMk cId="2453373365" sldId="553"/>
            <ac:spMk id="3" creationId="{D86D7F3A-FE87-4613-9278-BBA3D1EE8C3E}"/>
          </ac:spMkLst>
        </pc:spChg>
        <pc:spChg chg="del">
          <ac:chgData name="Gurunand Pai" userId="3497c6a8-6cb2-4308-974d-19fae6631586" providerId="ADAL" clId="{E676EFE6-B6DF-49C6-B07B-A6C4531522AE}" dt="2020-11-15T00:34:51.529" v="381" actId="478"/>
          <ac:spMkLst>
            <pc:docMk/>
            <pc:sldMk cId="2453373365" sldId="553"/>
            <ac:spMk id="7" creationId="{B2B4F709-BF32-4B9C-85EF-1E265073D9E8}"/>
          </ac:spMkLst>
        </pc:spChg>
        <pc:graphicFrameChg chg="mod modGraphic">
          <ac:chgData name="Gurunand Pai" userId="3497c6a8-6cb2-4308-974d-19fae6631586" providerId="ADAL" clId="{E676EFE6-B6DF-49C6-B07B-A6C4531522AE}" dt="2020-11-15T01:28:43.739" v="618" actId="113"/>
          <ac:graphicFrameMkLst>
            <pc:docMk/>
            <pc:sldMk cId="2453373365" sldId="553"/>
            <ac:graphicFrameMk id="12" creationId="{F3CAD3D4-E6BB-4B9A-A523-75143986B640}"/>
          </ac:graphicFrameMkLst>
        </pc:graphicFrameChg>
        <pc:graphicFrameChg chg="mod modGraphic">
          <ac:chgData name="Gurunand Pai" userId="3497c6a8-6cb2-4308-974d-19fae6631586" providerId="ADAL" clId="{E676EFE6-B6DF-49C6-B07B-A6C4531522AE}" dt="2020-11-15T20:07:24.149" v="858" actId="108"/>
          <ac:graphicFrameMkLst>
            <pc:docMk/>
            <pc:sldMk cId="2453373365" sldId="553"/>
            <ac:graphicFrameMk id="14" creationId="{FEB5ADB4-20B2-4373-B991-B2EEBA794E1A}"/>
          </ac:graphicFrameMkLst>
        </pc:graphicFrameChg>
      </pc:sldChg>
      <pc:sldChg chg="addSp delSp modSp add mod">
        <pc:chgData name="Gurunand Pai" userId="3497c6a8-6cb2-4308-974d-19fae6631586" providerId="ADAL" clId="{E676EFE6-B6DF-49C6-B07B-A6C4531522AE}" dt="2020-11-16T20:15:51.724" v="1207" actId="20577"/>
        <pc:sldMkLst>
          <pc:docMk/>
          <pc:sldMk cId="2789353353" sldId="554"/>
        </pc:sldMkLst>
        <pc:spChg chg="del">
          <ac:chgData name="Gurunand Pai" userId="3497c6a8-6cb2-4308-974d-19fae6631586" providerId="ADAL" clId="{E676EFE6-B6DF-49C6-B07B-A6C4531522AE}" dt="2020-11-16T20:07:35.089" v="1194" actId="478"/>
          <ac:spMkLst>
            <pc:docMk/>
            <pc:sldMk cId="2789353353" sldId="554"/>
            <ac:spMk id="3" creationId="{4E46AC8F-4CE7-4262-9D6F-5948E67FE521}"/>
          </ac:spMkLst>
        </pc:spChg>
        <pc:spChg chg="mod">
          <ac:chgData name="Gurunand Pai" userId="3497c6a8-6cb2-4308-974d-19fae6631586" providerId="ADAL" clId="{E676EFE6-B6DF-49C6-B07B-A6C4531522AE}" dt="2020-11-16T20:15:51.724" v="1207" actId="20577"/>
          <ac:spMkLst>
            <pc:docMk/>
            <pc:sldMk cId="2789353353" sldId="554"/>
            <ac:spMk id="7" creationId="{B2B4F709-BF32-4B9C-85EF-1E265073D9E8}"/>
          </ac:spMkLst>
        </pc:spChg>
        <pc:spChg chg="mod">
          <ac:chgData name="Gurunand Pai" userId="3497c6a8-6cb2-4308-974d-19fae6631586" providerId="ADAL" clId="{E676EFE6-B6DF-49C6-B07B-A6C4531522AE}" dt="2020-11-16T19:38:14.934" v="995" actId="1076"/>
          <ac:spMkLst>
            <pc:docMk/>
            <pc:sldMk cId="2789353353" sldId="554"/>
            <ac:spMk id="32" creationId="{66C97658-9FBC-4EE3-9FD8-A943269193F6}"/>
          </ac:spMkLst>
        </pc:spChg>
        <pc:graphicFrameChg chg="add del mod">
          <ac:chgData name="Gurunand Pai" userId="3497c6a8-6cb2-4308-974d-19fae6631586" providerId="ADAL" clId="{E676EFE6-B6DF-49C6-B07B-A6C4531522AE}" dt="2020-11-16T20:08:38.114" v="1196" actId="478"/>
          <ac:graphicFrameMkLst>
            <pc:docMk/>
            <pc:sldMk cId="2789353353" sldId="554"/>
            <ac:graphicFrameMk id="4" creationId="{AC350DE7-61BB-405E-A2D0-BEC8BA75B2F9}"/>
          </ac:graphicFrameMkLst>
        </pc:graphicFrameChg>
        <pc:graphicFrameChg chg="add del mod">
          <ac:chgData name="Gurunand Pai" userId="3497c6a8-6cb2-4308-974d-19fae6631586" providerId="ADAL" clId="{E676EFE6-B6DF-49C6-B07B-A6C4531522AE}" dt="2020-11-16T20:09:48.598" v="1200" actId="478"/>
          <ac:graphicFrameMkLst>
            <pc:docMk/>
            <pc:sldMk cId="2789353353" sldId="554"/>
            <ac:graphicFrameMk id="5" creationId="{4070C0A3-09AA-4A17-BAD1-15B5307F09FB}"/>
          </ac:graphicFrameMkLst>
        </pc:graphicFrameChg>
        <pc:graphicFrameChg chg="add mod">
          <ac:chgData name="Gurunand Pai" userId="3497c6a8-6cb2-4308-974d-19fae6631586" providerId="ADAL" clId="{E676EFE6-B6DF-49C6-B07B-A6C4531522AE}" dt="2020-11-16T20:10:25.049" v="1202" actId="1076"/>
          <ac:graphicFrameMkLst>
            <pc:docMk/>
            <pc:sldMk cId="2789353353" sldId="554"/>
            <ac:graphicFrameMk id="6" creationId="{71C57938-474C-4FB9-A3B9-3B7E30E2FA3B}"/>
          </ac:graphicFrameMkLst>
        </pc:graphicFrameChg>
        <pc:graphicFrameChg chg="mod modGraphic">
          <ac:chgData name="Gurunand Pai" userId="3497c6a8-6cb2-4308-974d-19fae6631586" providerId="ADAL" clId="{E676EFE6-B6DF-49C6-B07B-A6C4531522AE}" dt="2020-11-16T20:05:31.635" v="1191" actId="20577"/>
          <ac:graphicFrameMkLst>
            <pc:docMk/>
            <pc:sldMk cId="2789353353" sldId="554"/>
            <ac:graphicFrameMk id="12" creationId="{F3CAD3D4-E6BB-4B9A-A523-75143986B640}"/>
          </ac:graphicFrameMkLst>
        </pc:graphicFrameChg>
        <pc:graphicFrameChg chg="mod modGraphic">
          <ac:chgData name="Gurunand Pai" userId="3497c6a8-6cb2-4308-974d-19fae6631586" providerId="ADAL" clId="{E676EFE6-B6DF-49C6-B07B-A6C4531522AE}" dt="2020-11-16T19:38:45.582" v="999" actId="20577"/>
          <ac:graphicFrameMkLst>
            <pc:docMk/>
            <pc:sldMk cId="2789353353" sldId="554"/>
            <ac:graphicFrameMk id="14" creationId="{FEB5ADB4-20B2-4373-B991-B2EEBA794E1A}"/>
          </ac:graphicFrameMkLst>
        </pc:graphicFrameChg>
      </pc:sldChg>
      <pc:sldChg chg="new del">
        <pc:chgData name="Gurunand Pai" userId="3497c6a8-6cb2-4308-974d-19fae6631586" providerId="ADAL" clId="{E676EFE6-B6DF-49C6-B07B-A6C4531522AE}" dt="2020-11-16T19:07:17.935" v="913" actId="680"/>
        <pc:sldMkLst>
          <pc:docMk/>
          <pc:sldMk cId="1762802180" sldId="555"/>
        </pc:sldMkLst>
      </pc:sldChg>
    </pc:docChg>
  </pc:docChgLst>
  <pc:docChgLst>
    <pc:chgData name="Mimi Das" userId="1ccd627b-09a1-4ab0-bb2a-a85f73382fc8" providerId="ADAL" clId="{B01A9BCD-6AB3-4C1C-95B8-357428B52E11}"/>
    <pc:docChg chg="undo custSel modSld">
      <pc:chgData name="Mimi Das" userId="1ccd627b-09a1-4ab0-bb2a-a85f73382fc8" providerId="ADAL" clId="{B01A9BCD-6AB3-4C1C-95B8-357428B52E11}" dt="2020-11-17T21:50:20.442" v="182" actId="313"/>
      <pc:docMkLst>
        <pc:docMk/>
      </pc:docMkLst>
      <pc:sldChg chg="addSp delSp modSp mod">
        <pc:chgData name="Mimi Das" userId="1ccd627b-09a1-4ab0-bb2a-a85f73382fc8" providerId="ADAL" clId="{B01A9BCD-6AB3-4C1C-95B8-357428B52E11}" dt="2020-11-17T21:50:00.883" v="181"/>
        <pc:sldMkLst>
          <pc:docMk/>
          <pc:sldMk cId="1603357931" sldId="494"/>
        </pc:sldMkLst>
        <pc:spChg chg="mod">
          <ac:chgData name="Mimi Das" userId="1ccd627b-09a1-4ab0-bb2a-a85f73382fc8" providerId="ADAL" clId="{B01A9BCD-6AB3-4C1C-95B8-357428B52E11}" dt="2020-11-17T21:20:49.739" v="82" actId="207"/>
          <ac:spMkLst>
            <pc:docMk/>
            <pc:sldMk cId="1603357931" sldId="494"/>
            <ac:spMk id="3" creationId="{2F2C581C-D9B2-4838-8C09-46CD41005351}"/>
          </ac:spMkLst>
        </pc:spChg>
        <pc:spChg chg="mod">
          <ac:chgData name="Mimi Das" userId="1ccd627b-09a1-4ab0-bb2a-a85f73382fc8" providerId="ADAL" clId="{B01A9BCD-6AB3-4C1C-95B8-357428B52E11}" dt="2020-11-17T21:13:12.573" v="37" actId="20577"/>
          <ac:spMkLst>
            <pc:docMk/>
            <pc:sldMk cId="1603357931" sldId="494"/>
            <ac:spMk id="7" creationId="{00000000-0000-0000-0000-000000000000}"/>
          </ac:spMkLst>
        </pc:spChg>
        <pc:spChg chg="mod">
          <ac:chgData name="Mimi Das" userId="1ccd627b-09a1-4ab0-bb2a-a85f73382fc8" providerId="ADAL" clId="{B01A9BCD-6AB3-4C1C-95B8-357428B52E11}" dt="2020-11-17T21:50:00.883" v="181"/>
          <ac:spMkLst>
            <pc:docMk/>
            <pc:sldMk cId="1603357931" sldId="494"/>
            <ac:spMk id="63" creationId="{00000000-0000-0000-0000-000000000000}"/>
          </ac:spMkLst>
        </pc:spChg>
        <pc:spChg chg="mod">
          <ac:chgData name="Mimi Das" userId="1ccd627b-09a1-4ab0-bb2a-a85f73382fc8" providerId="ADAL" clId="{B01A9BCD-6AB3-4C1C-95B8-357428B52E11}" dt="2020-11-17T21:14:41.441" v="58" actId="108"/>
          <ac:spMkLst>
            <pc:docMk/>
            <pc:sldMk cId="1603357931" sldId="494"/>
            <ac:spMk id="85" creationId="{93270201-2855-4A17-8ABF-8A9A55B9823C}"/>
          </ac:spMkLst>
        </pc:spChg>
        <pc:spChg chg="mod">
          <ac:chgData name="Mimi Das" userId="1ccd627b-09a1-4ab0-bb2a-a85f73382fc8" providerId="ADAL" clId="{B01A9BCD-6AB3-4C1C-95B8-357428B52E11}" dt="2020-11-17T21:19:28.812" v="77" actId="1076"/>
          <ac:spMkLst>
            <pc:docMk/>
            <pc:sldMk cId="1603357931" sldId="494"/>
            <ac:spMk id="92" creationId="{9EC83152-F7D4-432A-802C-2174B52C3151}"/>
          </ac:spMkLst>
        </pc:spChg>
        <pc:spChg chg="mod">
          <ac:chgData name="Mimi Das" userId="1ccd627b-09a1-4ab0-bb2a-a85f73382fc8" providerId="ADAL" clId="{B01A9BCD-6AB3-4C1C-95B8-357428B52E11}" dt="2020-11-17T21:19:16.499" v="76" actId="1076"/>
          <ac:spMkLst>
            <pc:docMk/>
            <pc:sldMk cId="1603357931" sldId="494"/>
            <ac:spMk id="93" creationId="{4EB9CAA8-08FD-4656-855E-C34289D88373}"/>
          </ac:spMkLst>
        </pc:spChg>
        <pc:spChg chg="mod">
          <ac:chgData name="Mimi Das" userId="1ccd627b-09a1-4ab0-bb2a-a85f73382fc8" providerId="ADAL" clId="{B01A9BCD-6AB3-4C1C-95B8-357428B52E11}" dt="2020-11-17T21:13:06.270" v="32" actId="20577"/>
          <ac:spMkLst>
            <pc:docMk/>
            <pc:sldMk cId="1603357931" sldId="494"/>
            <ac:spMk id="98" creationId="{797A19AC-51AA-4E53-97C6-D75A0509A945}"/>
          </ac:spMkLst>
        </pc:spChg>
        <pc:spChg chg="mod">
          <ac:chgData name="Mimi Das" userId="1ccd627b-09a1-4ab0-bb2a-a85f73382fc8" providerId="ADAL" clId="{B01A9BCD-6AB3-4C1C-95B8-357428B52E11}" dt="2020-11-17T21:15:16.149" v="63" actId="1076"/>
          <ac:spMkLst>
            <pc:docMk/>
            <pc:sldMk cId="1603357931" sldId="494"/>
            <ac:spMk id="99" creationId="{AD26B806-1686-4320-A099-98ED8B5BC584}"/>
          </ac:spMkLst>
        </pc:spChg>
        <pc:spChg chg="mod">
          <ac:chgData name="Mimi Das" userId="1ccd627b-09a1-4ab0-bb2a-a85f73382fc8" providerId="ADAL" clId="{B01A9BCD-6AB3-4C1C-95B8-357428B52E11}" dt="2020-11-17T21:50:00.883" v="181"/>
          <ac:spMkLst>
            <pc:docMk/>
            <pc:sldMk cId="1603357931" sldId="494"/>
            <ac:spMk id="100" creationId="{048E3908-7294-4547-8E52-B606DA7B6777}"/>
          </ac:spMkLst>
        </pc:spChg>
        <pc:spChg chg="mod">
          <ac:chgData name="Mimi Das" userId="1ccd627b-09a1-4ab0-bb2a-a85f73382fc8" providerId="ADAL" clId="{B01A9BCD-6AB3-4C1C-95B8-357428B52E11}" dt="2020-11-17T21:15:16.149" v="63" actId="1076"/>
          <ac:spMkLst>
            <pc:docMk/>
            <pc:sldMk cId="1603357931" sldId="494"/>
            <ac:spMk id="101" creationId="{9AB865B9-3DA3-4CEC-9F77-085163561F63}"/>
          </ac:spMkLst>
        </pc:spChg>
        <pc:spChg chg="mod">
          <ac:chgData name="Mimi Das" userId="1ccd627b-09a1-4ab0-bb2a-a85f73382fc8" providerId="ADAL" clId="{B01A9BCD-6AB3-4C1C-95B8-357428B52E11}" dt="2020-11-17T21:15:16.149" v="63" actId="1076"/>
          <ac:spMkLst>
            <pc:docMk/>
            <pc:sldMk cId="1603357931" sldId="494"/>
            <ac:spMk id="102" creationId="{19DC4A5B-0D16-4976-809D-BBFB493593B4}"/>
          </ac:spMkLst>
        </pc:spChg>
        <pc:spChg chg="mod">
          <ac:chgData name="Mimi Das" userId="1ccd627b-09a1-4ab0-bb2a-a85f73382fc8" providerId="ADAL" clId="{B01A9BCD-6AB3-4C1C-95B8-357428B52E11}" dt="2020-11-17T21:15:16.149" v="63" actId="1076"/>
          <ac:spMkLst>
            <pc:docMk/>
            <pc:sldMk cId="1603357931" sldId="494"/>
            <ac:spMk id="103" creationId="{38A255C9-E597-4108-8958-6BD25F39DA5B}"/>
          </ac:spMkLst>
        </pc:spChg>
        <pc:spChg chg="mod">
          <ac:chgData name="Mimi Das" userId="1ccd627b-09a1-4ab0-bb2a-a85f73382fc8" providerId="ADAL" clId="{B01A9BCD-6AB3-4C1C-95B8-357428B52E11}" dt="2020-11-17T21:11:35.118" v="7" actId="20577"/>
          <ac:spMkLst>
            <pc:docMk/>
            <pc:sldMk cId="1603357931" sldId="494"/>
            <ac:spMk id="105" creationId="{06F3B4E8-CE2B-4541-964C-81EED7B4448F}"/>
          </ac:spMkLst>
        </pc:spChg>
        <pc:spChg chg="mod">
          <ac:chgData name="Mimi Das" userId="1ccd627b-09a1-4ab0-bb2a-a85f73382fc8" providerId="ADAL" clId="{B01A9BCD-6AB3-4C1C-95B8-357428B52E11}" dt="2020-11-17T21:15:46.334" v="65" actId="208"/>
          <ac:spMkLst>
            <pc:docMk/>
            <pc:sldMk cId="1603357931" sldId="494"/>
            <ac:spMk id="111" creationId="{4AF91EFF-0E28-4EE9-8501-6DBF8C1703E0}"/>
          </ac:spMkLst>
        </pc:spChg>
        <pc:spChg chg="mod">
          <ac:chgData name="Mimi Das" userId="1ccd627b-09a1-4ab0-bb2a-a85f73382fc8" providerId="ADAL" clId="{B01A9BCD-6AB3-4C1C-95B8-357428B52E11}" dt="2020-11-17T21:15:29.122" v="64"/>
          <ac:spMkLst>
            <pc:docMk/>
            <pc:sldMk cId="1603357931" sldId="494"/>
            <ac:spMk id="112" creationId="{4358EC31-D932-41E0-876E-86A3AAD5F5EE}"/>
          </ac:spMkLst>
        </pc:spChg>
        <pc:spChg chg="mod">
          <ac:chgData name="Mimi Das" userId="1ccd627b-09a1-4ab0-bb2a-a85f73382fc8" providerId="ADAL" clId="{B01A9BCD-6AB3-4C1C-95B8-357428B52E11}" dt="2020-11-17T21:12:58.676" v="27" actId="20577"/>
          <ac:spMkLst>
            <pc:docMk/>
            <pc:sldMk cId="1603357931" sldId="494"/>
            <ac:spMk id="117" creationId="{2635E75B-B6B5-4934-AF9A-21DA4AD7EF40}"/>
          </ac:spMkLst>
        </pc:spChg>
        <pc:spChg chg="mod">
          <ac:chgData name="Mimi Das" userId="1ccd627b-09a1-4ab0-bb2a-a85f73382fc8" providerId="ADAL" clId="{B01A9BCD-6AB3-4C1C-95B8-357428B52E11}" dt="2020-11-17T21:50:00.883" v="181"/>
          <ac:spMkLst>
            <pc:docMk/>
            <pc:sldMk cId="1603357931" sldId="494"/>
            <ac:spMk id="119" creationId="{9D4E1B1B-7796-4B76-92BA-AA23BC253587}"/>
          </ac:spMkLst>
        </pc:spChg>
        <pc:spChg chg="mod">
          <ac:chgData name="Mimi Das" userId="1ccd627b-09a1-4ab0-bb2a-a85f73382fc8" providerId="ADAL" clId="{B01A9BCD-6AB3-4C1C-95B8-357428B52E11}" dt="2020-11-17T21:50:00.883" v="181"/>
          <ac:spMkLst>
            <pc:docMk/>
            <pc:sldMk cId="1603357931" sldId="494"/>
            <ac:spMk id="124" creationId="{BD607604-1889-45A2-8660-D06ED8EAD667}"/>
          </ac:spMkLst>
        </pc:spChg>
        <pc:spChg chg="mod">
          <ac:chgData name="Mimi Das" userId="1ccd627b-09a1-4ab0-bb2a-a85f73382fc8" providerId="ADAL" clId="{B01A9BCD-6AB3-4C1C-95B8-357428B52E11}" dt="2020-11-17T21:50:00.883" v="181"/>
          <ac:spMkLst>
            <pc:docMk/>
            <pc:sldMk cId="1603357931" sldId="494"/>
            <ac:spMk id="125" creationId="{C0E3D7CA-4DC9-42A4-9130-344444DF2E8C}"/>
          </ac:spMkLst>
        </pc:spChg>
        <pc:spChg chg="mod">
          <ac:chgData name="Mimi Das" userId="1ccd627b-09a1-4ab0-bb2a-a85f73382fc8" providerId="ADAL" clId="{B01A9BCD-6AB3-4C1C-95B8-357428B52E11}" dt="2020-11-17T21:13:19.079" v="42" actId="20577"/>
          <ac:spMkLst>
            <pc:docMk/>
            <pc:sldMk cId="1603357931" sldId="494"/>
            <ac:spMk id="126" creationId="{0A182F45-470D-4A59-B728-E8FCF6876681}"/>
          </ac:spMkLst>
        </pc:spChg>
        <pc:spChg chg="mod">
          <ac:chgData name="Mimi Das" userId="1ccd627b-09a1-4ab0-bb2a-a85f73382fc8" providerId="ADAL" clId="{B01A9BCD-6AB3-4C1C-95B8-357428B52E11}" dt="2020-11-17T21:50:00.883" v="181"/>
          <ac:spMkLst>
            <pc:docMk/>
            <pc:sldMk cId="1603357931" sldId="494"/>
            <ac:spMk id="131" creationId="{9CEF88A0-D6AD-43DE-B77A-FDF4DBCDC5BA}"/>
          </ac:spMkLst>
        </pc:spChg>
        <pc:grpChg chg="del">
          <ac:chgData name="Mimi Das" userId="1ccd627b-09a1-4ab0-bb2a-a85f73382fc8" providerId="ADAL" clId="{B01A9BCD-6AB3-4C1C-95B8-357428B52E11}" dt="2020-11-17T21:15:05.722" v="61" actId="478"/>
          <ac:grpSpMkLst>
            <pc:docMk/>
            <pc:sldMk cId="1603357931" sldId="494"/>
            <ac:grpSpMk id="69" creationId="{FEA4FE33-499B-4FA1-804F-4B64E159BD83}"/>
          </ac:grpSpMkLst>
        </pc:grpChg>
        <pc:grpChg chg="add mod">
          <ac:chgData name="Mimi Das" userId="1ccd627b-09a1-4ab0-bb2a-a85f73382fc8" providerId="ADAL" clId="{B01A9BCD-6AB3-4C1C-95B8-357428B52E11}" dt="2020-11-17T21:15:16.149" v="63" actId="1076"/>
          <ac:grpSpMkLst>
            <pc:docMk/>
            <pc:sldMk cId="1603357931" sldId="494"/>
            <ac:grpSpMk id="83" creationId="{CC5F54A4-7320-408E-B3BC-4E0D4CFB665C}"/>
          </ac:grpSpMkLst>
        </pc:grpChg>
        <pc:graphicFrameChg chg="mod modGraphic">
          <ac:chgData name="Mimi Das" userId="1ccd627b-09a1-4ab0-bb2a-a85f73382fc8" providerId="ADAL" clId="{B01A9BCD-6AB3-4C1C-95B8-357428B52E11}" dt="2020-11-17T21:17:19.554" v="68" actId="113"/>
          <ac:graphicFrameMkLst>
            <pc:docMk/>
            <pc:sldMk cId="1603357931" sldId="494"/>
            <ac:graphicFrameMk id="79" creationId="{6A363F86-1778-4564-BD43-5E278ECA6ED2}"/>
          </ac:graphicFrameMkLst>
        </pc:graphicFrameChg>
        <pc:graphicFrameChg chg="mod">
          <ac:chgData name="Mimi Das" userId="1ccd627b-09a1-4ab0-bb2a-a85f73382fc8" providerId="ADAL" clId="{B01A9BCD-6AB3-4C1C-95B8-357428B52E11}" dt="2020-11-17T21:17:45.994" v="69"/>
          <ac:graphicFrameMkLst>
            <pc:docMk/>
            <pc:sldMk cId="1603357931" sldId="494"/>
            <ac:graphicFrameMk id="87" creationId="{F4B0AEF1-759E-46F9-A4E5-3DB68C5A8F74}"/>
          </ac:graphicFrameMkLst>
        </pc:graphicFrameChg>
        <pc:graphicFrameChg chg="mod">
          <ac:chgData name="Mimi Das" userId="1ccd627b-09a1-4ab0-bb2a-a85f73382fc8" providerId="ADAL" clId="{B01A9BCD-6AB3-4C1C-95B8-357428B52E11}" dt="2020-11-17T21:18:07.047" v="70"/>
          <ac:graphicFrameMkLst>
            <pc:docMk/>
            <pc:sldMk cId="1603357931" sldId="494"/>
            <ac:graphicFrameMk id="88" creationId="{D76C5FD8-58DE-40E5-B9C1-AF1541B109AF}"/>
          </ac:graphicFrameMkLst>
        </pc:graphicFrameChg>
        <pc:graphicFrameChg chg="mod">
          <ac:chgData name="Mimi Das" userId="1ccd627b-09a1-4ab0-bb2a-a85f73382fc8" providerId="ADAL" clId="{B01A9BCD-6AB3-4C1C-95B8-357428B52E11}" dt="2020-11-17T21:18:23.373" v="71"/>
          <ac:graphicFrameMkLst>
            <pc:docMk/>
            <pc:sldMk cId="1603357931" sldId="494"/>
            <ac:graphicFrameMk id="89" creationId="{2B610F03-452B-46BD-904F-126408A33993}"/>
          </ac:graphicFrameMkLst>
        </pc:graphicFrameChg>
        <pc:graphicFrameChg chg="mod">
          <ac:chgData name="Mimi Das" userId="1ccd627b-09a1-4ab0-bb2a-a85f73382fc8" providerId="ADAL" clId="{B01A9BCD-6AB3-4C1C-95B8-357428B52E11}" dt="2020-11-17T21:18:35.866" v="72"/>
          <ac:graphicFrameMkLst>
            <pc:docMk/>
            <pc:sldMk cId="1603357931" sldId="494"/>
            <ac:graphicFrameMk id="90" creationId="{1F692A77-864C-4D31-8F89-CC014D704488}"/>
          </ac:graphicFrameMkLst>
        </pc:graphicFrameChg>
        <pc:graphicFrameChg chg="mod modGraphic">
          <ac:chgData name="Mimi Das" userId="1ccd627b-09a1-4ab0-bb2a-a85f73382fc8" providerId="ADAL" clId="{B01A9BCD-6AB3-4C1C-95B8-357428B52E11}" dt="2020-11-17T21:18:55.579" v="75"/>
          <ac:graphicFrameMkLst>
            <pc:docMk/>
            <pc:sldMk cId="1603357931" sldId="494"/>
            <ac:graphicFrameMk id="91" creationId="{229BCE03-EF5A-4C55-B888-9E1438234AB8}"/>
          </ac:graphicFrameMkLst>
        </pc:graphicFrameChg>
      </pc:sldChg>
      <pc:sldChg chg="addSp delSp modSp mod">
        <pc:chgData name="Mimi Das" userId="1ccd627b-09a1-4ab0-bb2a-a85f73382fc8" providerId="ADAL" clId="{B01A9BCD-6AB3-4C1C-95B8-357428B52E11}" dt="2020-11-17T21:50:20.442" v="182" actId="313"/>
        <pc:sldMkLst>
          <pc:docMk/>
          <pc:sldMk cId="518674020" sldId="520"/>
        </pc:sldMkLst>
        <pc:spChg chg="mod">
          <ac:chgData name="Mimi Das" userId="1ccd627b-09a1-4ab0-bb2a-a85f73382fc8" providerId="ADAL" clId="{B01A9BCD-6AB3-4C1C-95B8-357428B52E11}" dt="2020-11-17T21:29:34.462" v="179" actId="207"/>
          <ac:spMkLst>
            <pc:docMk/>
            <pc:sldMk cId="518674020" sldId="520"/>
            <ac:spMk id="3" creationId="{449CE7A4-71B9-46DF-A50C-C23CC9173D94}"/>
          </ac:spMkLst>
        </pc:spChg>
        <pc:spChg chg="mod">
          <ac:chgData name="Mimi Das" userId="1ccd627b-09a1-4ab0-bb2a-a85f73382fc8" providerId="ADAL" clId="{B01A9BCD-6AB3-4C1C-95B8-357428B52E11}" dt="2020-11-17T21:22:40.030" v="108" actId="20577"/>
          <ac:spMkLst>
            <pc:docMk/>
            <pc:sldMk cId="518674020" sldId="520"/>
            <ac:spMk id="7" creationId="{00000000-0000-0000-0000-000000000000}"/>
          </ac:spMkLst>
        </pc:spChg>
        <pc:spChg chg="mod">
          <ac:chgData name="Mimi Das" userId="1ccd627b-09a1-4ab0-bb2a-a85f73382fc8" providerId="ADAL" clId="{B01A9BCD-6AB3-4C1C-95B8-357428B52E11}" dt="2020-11-17T21:50:20.442" v="182" actId="313"/>
          <ac:spMkLst>
            <pc:docMk/>
            <pc:sldMk cId="518674020" sldId="520"/>
            <ac:spMk id="63" creationId="{00000000-0000-0000-0000-000000000000}"/>
          </ac:spMkLst>
        </pc:spChg>
        <pc:spChg chg="mod">
          <ac:chgData name="Mimi Das" userId="1ccd627b-09a1-4ab0-bb2a-a85f73382fc8" providerId="ADAL" clId="{B01A9BCD-6AB3-4C1C-95B8-357428B52E11}" dt="2020-11-17T21:25:25.639" v="135" actId="1076"/>
          <ac:spMkLst>
            <pc:docMk/>
            <pc:sldMk cId="518674020" sldId="520"/>
            <ac:spMk id="80" creationId="{AAC5A87E-E2B9-436C-8599-5CD3BF7BE889}"/>
          </ac:spMkLst>
        </pc:spChg>
        <pc:spChg chg="mod">
          <ac:chgData name="Mimi Das" userId="1ccd627b-09a1-4ab0-bb2a-a85f73382fc8" providerId="ADAL" clId="{B01A9BCD-6AB3-4C1C-95B8-357428B52E11}" dt="2020-11-17T21:25:25.639" v="135" actId="1076"/>
          <ac:spMkLst>
            <pc:docMk/>
            <pc:sldMk cId="518674020" sldId="520"/>
            <ac:spMk id="81" creationId="{E7905EB2-ECD5-4F23-8225-AC6B8F21BD57}"/>
          </ac:spMkLst>
        </pc:spChg>
        <pc:spChg chg="mod">
          <ac:chgData name="Mimi Das" userId="1ccd627b-09a1-4ab0-bb2a-a85f73382fc8" providerId="ADAL" clId="{B01A9BCD-6AB3-4C1C-95B8-357428B52E11}" dt="2020-11-17T21:25:25.639" v="135" actId="1076"/>
          <ac:spMkLst>
            <pc:docMk/>
            <pc:sldMk cId="518674020" sldId="520"/>
            <ac:spMk id="82" creationId="{DC61B07A-44A0-4DCB-9542-8C788E6199E6}"/>
          </ac:spMkLst>
        </pc:spChg>
        <pc:spChg chg="mod">
          <ac:chgData name="Mimi Das" userId="1ccd627b-09a1-4ab0-bb2a-a85f73382fc8" providerId="ADAL" clId="{B01A9BCD-6AB3-4C1C-95B8-357428B52E11}" dt="2020-11-17T21:29:20.781" v="174" actId="1076"/>
          <ac:spMkLst>
            <pc:docMk/>
            <pc:sldMk cId="518674020" sldId="520"/>
            <ac:spMk id="93" creationId="{4EB9CAA8-08FD-4656-855E-C34289D88373}"/>
          </ac:spMkLst>
        </pc:spChg>
        <pc:spChg chg="mod">
          <ac:chgData name="Mimi Das" userId="1ccd627b-09a1-4ab0-bb2a-a85f73382fc8" providerId="ADAL" clId="{B01A9BCD-6AB3-4C1C-95B8-357428B52E11}" dt="2020-11-17T21:29:12.029" v="172" actId="1076"/>
          <ac:spMkLst>
            <pc:docMk/>
            <pc:sldMk cId="518674020" sldId="520"/>
            <ac:spMk id="97" creationId="{E6A69622-26C7-49FC-9060-CC4C986E151E}"/>
          </ac:spMkLst>
        </pc:spChg>
        <pc:spChg chg="mod">
          <ac:chgData name="Mimi Das" userId="1ccd627b-09a1-4ab0-bb2a-a85f73382fc8" providerId="ADAL" clId="{B01A9BCD-6AB3-4C1C-95B8-357428B52E11}" dt="2020-11-17T21:22:28.256" v="104" actId="20577"/>
          <ac:spMkLst>
            <pc:docMk/>
            <pc:sldMk cId="518674020" sldId="520"/>
            <ac:spMk id="98" creationId="{797A19AC-51AA-4E53-97C6-D75A0509A945}"/>
          </ac:spMkLst>
        </pc:spChg>
        <pc:spChg chg="mod">
          <ac:chgData name="Mimi Das" userId="1ccd627b-09a1-4ab0-bb2a-a85f73382fc8" providerId="ADAL" clId="{B01A9BCD-6AB3-4C1C-95B8-357428B52E11}" dt="2020-11-17T21:24:11.265" v="125" actId="1076"/>
          <ac:spMkLst>
            <pc:docMk/>
            <pc:sldMk cId="518674020" sldId="520"/>
            <ac:spMk id="99" creationId="{A0C7ADCE-746C-4777-ACF3-1B68767C1F64}"/>
          </ac:spMkLst>
        </pc:spChg>
        <pc:spChg chg="mod">
          <ac:chgData name="Mimi Das" userId="1ccd627b-09a1-4ab0-bb2a-a85f73382fc8" providerId="ADAL" clId="{B01A9BCD-6AB3-4C1C-95B8-357428B52E11}" dt="2020-11-17T21:50:00.883" v="181"/>
          <ac:spMkLst>
            <pc:docMk/>
            <pc:sldMk cId="518674020" sldId="520"/>
            <ac:spMk id="100" creationId="{048E3908-7294-4547-8E52-B606DA7B6777}"/>
          </ac:spMkLst>
        </pc:spChg>
        <pc:spChg chg="mod">
          <ac:chgData name="Mimi Das" userId="1ccd627b-09a1-4ab0-bb2a-a85f73382fc8" providerId="ADAL" clId="{B01A9BCD-6AB3-4C1C-95B8-357428B52E11}" dt="2020-11-17T21:24:11.265" v="125" actId="1076"/>
          <ac:spMkLst>
            <pc:docMk/>
            <pc:sldMk cId="518674020" sldId="520"/>
            <ac:spMk id="101" creationId="{80E93244-21FF-47A0-8215-E5E691E30814}"/>
          </ac:spMkLst>
        </pc:spChg>
        <pc:spChg chg="mod">
          <ac:chgData name="Mimi Das" userId="1ccd627b-09a1-4ab0-bb2a-a85f73382fc8" providerId="ADAL" clId="{B01A9BCD-6AB3-4C1C-95B8-357428B52E11}" dt="2020-11-17T21:24:11.265" v="125" actId="1076"/>
          <ac:spMkLst>
            <pc:docMk/>
            <pc:sldMk cId="518674020" sldId="520"/>
            <ac:spMk id="102" creationId="{C972D739-78EC-4C08-8B8F-8DE227E627BD}"/>
          </ac:spMkLst>
        </pc:spChg>
        <pc:spChg chg="mod">
          <ac:chgData name="Mimi Das" userId="1ccd627b-09a1-4ab0-bb2a-a85f73382fc8" providerId="ADAL" clId="{B01A9BCD-6AB3-4C1C-95B8-357428B52E11}" dt="2020-11-17T21:24:11.265" v="125" actId="1076"/>
          <ac:spMkLst>
            <pc:docMk/>
            <pc:sldMk cId="518674020" sldId="520"/>
            <ac:spMk id="103" creationId="{AD765059-27CA-49F3-A32F-65E2079E6460}"/>
          </ac:spMkLst>
        </pc:spChg>
        <pc:spChg chg="mod">
          <ac:chgData name="Mimi Das" userId="1ccd627b-09a1-4ab0-bb2a-a85f73382fc8" providerId="ADAL" clId="{B01A9BCD-6AB3-4C1C-95B8-357428B52E11}" dt="2020-11-17T21:22:09.451" v="87" actId="20577"/>
          <ac:spMkLst>
            <pc:docMk/>
            <pc:sldMk cId="518674020" sldId="520"/>
            <ac:spMk id="105" creationId="{06F3B4E8-CE2B-4541-964C-81EED7B4448F}"/>
          </ac:spMkLst>
        </pc:spChg>
        <pc:spChg chg="mod">
          <ac:chgData name="Mimi Das" userId="1ccd627b-09a1-4ab0-bb2a-a85f73382fc8" providerId="ADAL" clId="{B01A9BCD-6AB3-4C1C-95B8-357428B52E11}" dt="2020-11-17T21:24:00.780" v="124" actId="1076"/>
          <ac:spMkLst>
            <pc:docMk/>
            <pc:sldMk cId="518674020" sldId="520"/>
            <ac:spMk id="106" creationId="{C2EA9762-99AD-4FA0-B05B-FDC71934D7D9}"/>
          </ac:spMkLst>
        </pc:spChg>
        <pc:spChg chg="mod">
          <ac:chgData name="Mimi Das" userId="1ccd627b-09a1-4ab0-bb2a-a85f73382fc8" providerId="ADAL" clId="{B01A9BCD-6AB3-4C1C-95B8-357428B52E11}" dt="2020-11-17T21:24:00.780" v="124" actId="1076"/>
          <ac:spMkLst>
            <pc:docMk/>
            <pc:sldMk cId="518674020" sldId="520"/>
            <ac:spMk id="107" creationId="{894F6978-DF39-4E84-8780-97BD9671FF37}"/>
          </ac:spMkLst>
        </pc:spChg>
        <pc:spChg chg="mod">
          <ac:chgData name="Mimi Das" userId="1ccd627b-09a1-4ab0-bb2a-a85f73382fc8" providerId="ADAL" clId="{B01A9BCD-6AB3-4C1C-95B8-357428B52E11}" dt="2020-11-17T21:24:00.780" v="124" actId="1076"/>
          <ac:spMkLst>
            <pc:docMk/>
            <pc:sldMk cId="518674020" sldId="520"/>
            <ac:spMk id="108" creationId="{A4CFCE4B-D62F-4D9C-982C-39F08A086623}"/>
          </ac:spMkLst>
        </pc:spChg>
        <pc:spChg chg="mod">
          <ac:chgData name="Mimi Das" userId="1ccd627b-09a1-4ab0-bb2a-a85f73382fc8" providerId="ADAL" clId="{B01A9BCD-6AB3-4C1C-95B8-357428B52E11}" dt="2020-11-17T21:24:00.780" v="124" actId="1076"/>
          <ac:spMkLst>
            <pc:docMk/>
            <pc:sldMk cId="518674020" sldId="520"/>
            <ac:spMk id="109" creationId="{0D1C3128-EAB4-4ECD-AA3B-C7C1C412D20D}"/>
          </ac:spMkLst>
        </pc:spChg>
        <pc:spChg chg="mod">
          <ac:chgData name="Mimi Das" userId="1ccd627b-09a1-4ab0-bb2a-a85f73382fc8" providerId="ADAL" clId="{B01A9BCD-6AB3-4C1C-95B8-357428B52E11}" dt="2020-11-17T21:24:24.284" v="126" actId="208"/>
          <ac:spMkLst>
            <pc:docMk/>
            <pc:sldMk cId="518674020" sldId="520"/>
            <ac:spMk id="111" creationId="{4AF91EFF-0E28-4EE9-8501-6DBF8C1703E0}"/>
          </ac:spMkLst>
        </pc:spChg>
        <pc:spChg chg="mod">
          <ac:chgData name="Mimi Das" userId="1ccd627b-09a1-4ab0-bb2a-a85f73382fc8" providerId="ADAL" clId="{B01A9BCD-6AB3-4C1C-95B8-357428B52E11}" dt="2020-11-17T21:23:25.711" v="117"/>
          <ac:spMkLst>
            <pc:docMk/>
            <pc:sldMk cId="518674020" sldId="520"/>
            <ac:spMk id="112" creationId="{4358EC31-D932-41E0-876E-86A3AAD5F5EE}"/>
          </ac:spMkLst>
        </pc:spChg>
        <pc:spChg chg="mod">
          <ac:chgData name="Mimi Das" userId="1ccd627b-09a1-4ab0-bb2a-a85f73382fc8" providerId="ADAL" clId="{B01A9BCD-6AB3-4C1C-95B8-357428B52E11}" dt="2020-11-17T21:25:25.639" v="135" actId="1076"/>
          <ac:spMkLst>
            <pc:docMk/>
            <pc:sldMk cId="518674020" sldId="520"/>
            <ac:spMk id="114" creationId="{A315E9B7-7014-430C-AF42-4722116E5E79}"/>
          </ac:spMkLst>
        </pc:spChg>
        <pc:spChg chg="mod">
          <ac:chgData name="Mimi Das" userId="1ccd627b-09a1-4ab0-bb2a-a85f73382fc8" providerId="ADAL" clId="{B01A9BCD-6AB3-4C1C-95B8-357428B52E11}" dt="2020-11-17T21:22:23.091" v="99" actId="20577"/>
          <ac:spMkLst>
            <pc:docMk/>
            <pc:sldMk cId="518674020" sldId="520"/>
            <ac:spMk id="117" creationId="{2635E75B-B6B5-4934-AF9A-21DA4AD7EF40}"/>
          </ac:spMkLst>
        </pc:spChg>
        <pc:spChg chg="mod">
          <ac:chgData name="Mimi Das" userId="1ccd627b-09a1-4ab0-bb2a-a85f73382fc8" providerId="ADAL" clId="{B01A9BCD-6AB3-4C1C-95B8-357428B52E11}" dt="2020-11-17T21:50:00.883" v="181"/>
          <ac:spMkLst>
            <pc:docMk/>
            <pc:sldMk cId="518674020" sldId="520"/>
            <ac:spMk id="119" creationId="{9D4E1B1B-7796-4B76-92BA-AA23BC253587}"/>
          </ac:spMkLst>
        </pc:spChg>
        <pc:spChg chg="mod">
          <ac:chgData name="Mimi Das" userId="1ccd627b-09a1-4ab0-bb2a-a85f73382fc8" providerId="ADAL" clId="{B01A9BCD-6AB3-4C1C-95B8-357428B52E11}" dt="2020-11-17T21:50:00.883" v="181"/>
          <ac:spMkLst>
            <pc:docMk/>
            <pc:sldMk cId="518674020" sldId="520"/>
            <ac:spMk id="124" creationId="{BD607604-1889-45A2-8660-D06ED8EAD667}"/>
          </ac:spMkLst>
        </pc:spChg>
        <pc:spChg chg="mod">
          <ac:chgData name="Mimi Das" userId="1ccd627b-09a1-4ab0-bb2a-a85f73382fc8" providerId="ADAL" clId="{B01A9BCD-6AB3-4C1C-95B8-357428B52E11}" dt="2020-11-17T21:49:53.840" v="180" actId="313"/>
          <ac:spMkLst>
            <pc:docMk/>
            <pc:sldMk cId="518674020" sldId="520"/>
            <ac:spMk id="125" creationId="{C0E3D7CA-4DC9-42A4-9130-344444DF2E8C}"/>
          </ac:spMkLst>
        </pc:spChg>
        <pc:spChg chg="mod">
          <ac:chgData name="Mimi Das" userId="1ccd627b-09a1-4ab0-bb2a-a85f73382fc8" providerId="ADAL" clId="{B01A9BCD-6AB3-4C1C-95B8-357428B52E11}" dt="2020-11-17T21:24:31.223" v="128" actId="208"/>
          <ac:spMkLst>
            <pc:docMk/>
            <pc:sldMk cId="518674020" sldId="520"/>
            <ac:spMk id="126" creationId="{0A182F45-470D-4A59-B728-E8FCF6876681}"/>
          </ac:spMkLst>
        </pc:spChg>
        <pc:spChg chg="mod">
          <ac:chgData name="Mimi Das" userId="1ccd627b-09a1-4ab0-bb2a-a85f73382fc8" providerId="ADAL" clId="{B01A9BCD-6AB3-4C1C-95B8-357428B52E11}" dt="2020-11-17T21:50:00.883" v="181"/>
          <ac:spMkLst>
            <pc:docMk/>
            <pc:sldMk cId="518674020" sldId="520"/>
            <ac:spMk id="131" creationId="{9CEF88A0-D6AD-43DE-B77A-FDF4DBCDC5BA}"/>
          </ac:spMkLst>
        </pc:spChg>
        <pc:spChg chg="mod">
          <ac:chgData name="Mimi Das" userId="1ccd627b-09a1-4ab0-bb2a-a85f73382fc8" providerId="ADAL" clId="{B01A9BCD-6AB3-4C1C-95B8-357428B52E11}" dt="2020-11-17T21:23:19.958" v="116"/>
          <ac:spMkLst>
            <pc:docMk/>
            <pc:sldMk cId="518674020" sldId="520"/>
            <ac:spMk id="132" creationId="{07D8E15C-1CFC-4C6E-9A6D-647D2BFDB667}"/>
          </ac:spMkLst>
        </pc:spChg>
        <pc:grpChg chg="del">
          <ac:chgData name="Mimi Das" userId="1ccd627b-09a1-4ab0-bb2a-a85f73382fc8" providerId="ADAL" clId="{B01A9BCD-6AB3-4C1C-95B8-357428B52E11}" dt="2020-11-17T21:23:33.297" v="118" actId="478"/>
          <ac:grpSpMkLst>
            <pc:docMk/>
            <pc:sldMk cId="518674020" sldId="520"/>
            <ac:grpSpMk id="69" creationId="{FEA4FE33-499B-4FA1-804F-4B64E159BD83}"/>
          </ac:grpSpMkLst>
        </pc:grpChg>
        <pc:grpChg chg="mod">
          <ac:chgData name="Mimi Das" userId="1ccd627b-09a1-4ab0-bb2a-a85f73382fc8" providerId="ADAL" clId="{B01A9BCD-6AB3-4C1C-95B8-357428B52E11}" dt="2020-11-17T21:25:25.639" v="135" actId="1076"/>
          <ac:grpSpMkLst>
            <pc:docMk/>
            <pc:sldMk cId="518674020" sldId="520"/>
            <ac:grpSpMk id="78" creationId="{EAC34022-3D24-47F1-BE10-839CF6C74219}"/>
          </ac:grpSpMkLst>
        </pc:grpChg>
        <pc:grpChg chg="add mod">
          <ac:chgData name="Mimi Das" userId="1ccd627b-09a1-4ab0-bb2a-a85f73382fc8" providerId="ADAL" clId="{B01A9BCD-6AB3-4C1C-95B8-357428B52E11}" dt="2020-11-17T21:24:11.265" v="125" actId="1076"/>
          <ac:grpSpMkLst>
            <pc:docMk/>
            <pc:sldMk cId="518674020" sldId="520"/>
            <ac:grpSpMk id="83" creationId="{498D1918-3BFA-4D2B-96C5-55BAC37CB268}"/>
          </ac:grpSpMkLst>
        </pc:grpChg>
        <pc:grpChg chg="add mod">
          <ac:chgData name="Mimi Das" userId="1ccd627b-09a1-4ab0-bb2a-a85f73382fc8" providerId="ADAL" clId="{B01A9BCD-6AB3-4C1C-95B8-357428B52E11}" dt="2020-11-17T21:24:00.780" v="124" actId="1076"/>
          <ac:grpSpMkLst>
            <pc:docMk/>
            <pc:sldMk cId="518674020" sldId="520"/>
            <ac:grpSpMk id="104" creationId="{DC129FFD-0FE9-4DB9-A186-C86A97EABB29}"/>
          </ac:grpSpMkLst>
        </pc:grpChg>
        <pc:grpChg chg="del">
          <ac:chgData name="Mimi Das" userId="1ccd627b-09a1-4ab0-bb2a-a85f73382fc8" providerId="ADAL" clId="{B01A9BCD-6AB3-4C1C-95B8-357428B52E11}" dt="2020-11-17T21:23:46.773" v="121" actId="478"/>
          <ac:grpSpMkLst>
            <pc:docMk/>
            <pc:sldMk cId="518674020" sldId="520"/>
            <ac:grpSpMk id="136" creationId="{C3A798B4-55F9-4785-AF8F-A2DB7C6FCBF1}"/>
          </ac:grpSpMkLst>
        </pc:grpChg>
        <pc:graphicFrameChg chg="mod">
          <ac:chgData name="Mimi Das" userId="1ccd627b-09a1-4ab0-bb2a-a85f73382fc8" providerId="ADAL" clId="{B01A9BCD-6AB3-4C1C-95B8-357428B52E11}" dt="2020-11-17T21:27:41.142" v="164"/>
          <ac:graphicFrameMkLst>
            <pc:docMk/>
            <pc:sldMk cId="518674020" sldId="520"/>
            <ac:graphicFrameMk id="79" creationId="{6A363F86-1778-4564-BD43-5E278ECA6ED2}"/>
          </ac:graphicFrameMkLst>
        </pc:graphicFrameChg>
        <pc:graphicFrameChg chg="mod">
          <ac:chgData name="Mimi Das" userId="1ccd627b-09a1-4ab0-bb2a-a85f73382fc8" providerId="ADAL" clId="{B01A9BCD-6AB3-4C1C-95B8-357428B52E11}" dt="2020-11-17T21:27:55.118" v="165"/>
          <ac:graphicFrameMkLst>
            <pc:docMk/>
            <pc:sldMk cId="518674020" sldId="520"/>
            <ac:graphicFrameMk id="87" creationId="{F4B0AEF1-759E-46F9-A4E5-3DB68C5A8F74}"/>
          </ac:graphicFrameMkLst>
        </pc:graphicFrameChg>
        <pc:graphicFrameChg chg="mod">
          <ac:chgData name="Mimi Das" userId="1ccd627b-09a1-4ab0-bb2a-a85f73382fc8" providerId="ADAL" clId="{B01A9BCD-6AB3-4C1C-95B8-357428B52E11}" dt="2020-11-17T21:28:08.480" v="166"/>
          <ac:graphicFrameMkLst>
            <pc:docMk/>
            <pc:sldMk cId="518674020" sldId="520"/>
            <ac:graphicFrameMk id="88" creationId="{D76C5FD8-58DE-40E5-B9C1-AF1541B109AF}"/>
          </ac:graphicFrameMkLst>
        </pc:graphicFrameChg>
        <pc:graphicFrameChg chg="mod modGraphic">
          <ac:chgData name="Mimi Das" userId="1ccd627b-09a1-4ab0-bb2a-a85f73382fc8" providerId="ADAL" clId="{B01A9BCD-6AB3-4C1C-95B8-357428B52E11}" dt="2020-11-17T21:28:26.185" v="169"/>
          <ac:graphicFrameMkLst>
            <pc:docMk/>
            <pc:sldMk cId="518674020" sldId="520"/>
            <ac:graphicFrameMk id="89" creationId="{2B610F03-452B-46BD-904F-126408A33993}"/>
          </ac:graphicFrameMkLst>
        </pc:graphicFrameChg>
        <pc:graphicFrameChg chg="mod">
          <ac:chgData name="Mimi Das" userId="1ccd627b-09a1-4ab0-bb2a-a85f73382fc8" providerId="ADAL" clId="{B01A9BCD-6AB3-4C1C-95B8-357428B52E11}" dt="2020-11-17T21:28:47.758" v="170"/>
          <ac:graphicFrameMkLst>
            <pc:docMk/>
            <pc:sldMk cId="518674020" sldId="520"/>
            <ac:graphicFrameMk id="90" creationId="{1F692A77-864C-4D31-8F89-CC014D704488}"/>
          </ac:graphicFrameMkLst>
        </pc:graphicFrameChg>
        <pc:graphicFrameChg chg="mod modGraphic">
          <ac:chgData name="Mimi Das" userId="1ccd627b-09a1-4ab0-bb2a-a85f73382fc8" providerId="ADAL" clId="{B01A9BCD-6AB3-4C1C-95B8-357428B52E11}" dt="2020-11-17T21:29:02.803" v="171"/>
          <ac:graphicFrameMkLst>
            <pc:docMk/>
            <pc:sldMk cId="518674020" sldId="520"/>
            <ac:graphicFrameMk id="91" creationId="{229BCE03-EF5A-4C55-B888-9E1438234AB8}"/>
          </ac:graphicFrameMkLst>
        </pc:graphicFrameChg>
      </pc:sldChg>
    </pc:docChg>
  </pc:docChgLst>
  <pc:docChgLst>
    <pc:chgData name="Matthieu Mabyre" userId="S::m.mabyre@castsoftware.com::52a89cab-5e6b-49ac-8601-6d3bc79d567b" providerId="AD" clId="Web-{4EAEE902-AB81-48D1-AA48-3CCCE56190BB}"/>
    <pc:docChg chg="addSld modSld modSection">
      <pc:chgData name="Matthieu Mabyre" userId="S::m.mabyre@castsoftware.com::52a89cab-5e6b-49ac-8601-6d3bc79d567b" providerId="AD" clId="Web-{4EAEE902-AB81-48D1-AA48-3CCCE56190BB}" dt="2020-10-15T23:14:36.528" v="20" actId="20577"/>
      <pc:docMkLst>
        <pc:docMk/>
      </pc:docMkLst>
      <pc:sldChg chg="addSp delSp modSp add replId">
        <pc:chgData name="Matthieu Mabyre" userId="S::m.mabyre@castsoftware.com::52a89cab-5e6b-49ac-8601-6d3bc79d567b" providerId="AD" clId="Web-{4EAEE902-AB81-48D1-AA48-3CCCE56190BB}" dt="2020-10-15T23:14:36.528" v="20" actId="20577"/>
        <pc:sldMkLst>
          <pc:docMk/>
          <pc:sldMk cId="1630227824" sldId="507"/>
        </pc:sldMkLst>
        <pc:spChg chg="mod">
          <ac:chgData name="Matthieu Mabyre" userId="S::m.mabyre@castsoftware.com::52a89cab-5e6b-49ac-8601-6d3bc79d567b" providerId="AD" clId="Web-{4EAEE902-AB81-48D1-AA48-3CCCE56190BB}" dt="2020-10-15T23:14:13.856" v="8" actId="20577"/>
          <ac:spMkLst>
            <pc:docMk/>
            <pc:sldMk cId="1630227824" sldId="507"/>
            <ac:spMk id="2" creationId="{00000000-0000-0000-0000-000000000000}"/>
          </ac:spMkLst>
        </pc:spChg>
        <pc:spChg chg="add">
          <ac:chgData name="Matthieu Mabyre" userId="S::m.mabyre@castsoftware.com::52a89cab-5e6b-49ac-8601-6d3bc79d567b" providerId="AD" clId="Web-{4EAEE902-AB81-48D1-AA48-3CCCE56190BB}" dt="2020-10-15T23:14:07.856" v="1"/>
          <ac:spMkLst>
            <pc:docMk/>
            <pc:sldMk cId="1630227824" sldId="507"/>
            <ac:spMk id="3" creationId="{42EFBED3-ABCA-42D6-9E39-1C83A4DDDD32}"/>
          </ac:spMkLst>
        </pc:spChg>
        <pc:spChg chg="del">
          <ac:chgData name="Matthieu Mabyre" userId="S::m.mabyre@castsoftware.com::52a89cab-5e6b-49ac-8601-6d3bc79d567b" providerId="AD" clId="Web-{4EAEE902-AB81-48D1-AA48-3CCCE56190BB}" dt="2020-10-15T23:14:22.387" v="17"/>
          <ac:spMkLst>
            <pc:docMk/>
            <pc:sldMk cId="1630227824" sldId="507"/>
            <ac:spMk id="5" creationId="{5BBBC7CB-737E-45AF-818A-2DB14AE1A6B6}"/>
          </ac:spMkLst>
        </pc:spChg>
        <pc:spChg chg="del">
          <ac:chgData name="Matthieu Mabyre" userId="S::m.mabyre@castsoftware.com::52a89cab-5e6b-49ac-8601-6d3bc79d567b" providerId="AD" clId="Web-{4EAEE902-AB81-48D1-AA48-3CCCE56190BB}" dt="2020-10-15T23:14:22.387" v="16"/>
          <ac:spMkLst>
            <pc:docMk/>
            <pc:sldMk cId="1630227824" sldId="507"/>
            <ac:spMk id="6" creationId="{C75D9CED-3E84-402F-BC2C-A4F0DFD0FD82}"/>
          </ac:spMkLst>
        </pc:spChg>
        <pc:spChg chg="del">
          <ac:chgData name="Matthieu Mabyre" userId="S::m.mabyre@castsoftware.com::52a89cab-5e6b-49ac-8601-6d3bc79d567b" providerId="AD" clId="Web-{4EAEE902-AB81-48D1-AA48-3CCCE56190BB}" dt="2020-10-15T23:14:22.387" v="15"/>
          <ac:spMkLst>
            <pc:docMk/>
            <pc:sldMk cId="1630227824" sldId="507"/>
            <ac:spMk id="12" creationId="{802A8090-C2C9-49AB-8CB6-1A82382EBB0C}"/>
          </ac:spMkLst>
        </pc:spChg>
        <pc:spChg chg="del">
          <ac:chgData name="Matthieu Mabyre" userId="S::m.mabyre@castsoftware.com::52a89cab-5e6b-49ac-8601-6d3bc79d567b" providerId="AD" clId="Web-{4EAEE902-AB81-48D1-AA48-3CCCE56190BB}" dt="2020-10-15T23:14:22.387" v="14"/>
          <ac:spMkLst>
            <pc:docMk/>
            <pc:sldMk cId="1630227824" sldId="507"/>
            <ac:spMk id="13" creationId="{17B92C50-9655-452C-B317-54BDD46EBEB5}"/>
          </ac:spMkLst>
        </pc:spChg>
        <pc:spChg chg="del">
          <ac:chgData name="Matthieu Mabyre" userId="S::m.mabyre@castsoftware.com::52a89cab-5e6b-49ac-8601-6d3bc79d567b" providerId="AD" clId="Web-{4EAEE902-AB81-48D1-AA48-3CCCE56190BB}" dt="2020-10-15T23:14:22.372" v="13"/>
          <ac:spMkLst>
            <pc:docMk/>
            <pc:sldMk cId="1630227824" sldId="507"/>
            <ac:spMk id="14" creationId="{A693036D-2D6E-43F1-A8F6-FD271CA349AD}"/>
          </ac:spMkLst>
        </pc:spChg>
        <pc:spChg chg="del">
          <ac:chgData name="Matthieu Mabyre" userId="S::m.mabyre@castsoftware.com::52a89cab-5e6b-49ac-8601-6d3bc79d567b" providerId="AD" clId="Web-{4EAEE902-AB81-48D1-AA48-3CCCE56190BB}" dt="2020-10-15T23:14:22.372" v="12"/>
          <ac:spMkLst>
            <pc:docMk/>
            <pc:sldMk cId="1630227824" sldId="507"/>
            <ac:spMk id="16" creationId="{567AE72D-5063-4DA5-9949-42A7FED49977}"/>
          </ac:spMkLst>
        </pc:spChg>
        <pc:spChg chg="mod">
          <ac:chgData name="Matthieu Mabyre" userId="S::m.mabyre@castsoftware.com::52a89cab-5e6b-49ac-8601-6d3bc79d567b" providerId="AD" clId="Web-{4EAEE902-AB81-48D1-AA48-3CCCE56190BB}" dt="2020-10-15T23:14:36.528" v="20" actId="20577"/>
          <ac:spMkLst>
            <pc:docMk/>
            <pc:sldMk cId="1630227824" sldId="507"/>
            <ac:spMk id="39" creationId="{9B3B3C2B-2D6A-454B-9637-F6BD98B02D8E}"/>
          </ac:spMkLst>
        </pc:spChg>
        <pc:picChg chg="del">
          <ac:chgData name="Matthieu Mabyre" userId="S::m.mabyre@castsoftware.com::52a89cab-5e6b-49ac-8601-6d3bc79d567b" providerId="AD" clId="Web-{4EAEE902-AB81-48D1-AA48-3CCCE56190BB}" dt="2020-10-15T23:14:17.965" v="11"/>
          <ac:picMkLst>
            <pc:docMk/>
            <pc:sldMk cId="1630227824" sldId="507"/>
            <ac:picMk id="10" creationId="{45486793-1FF5-4BD1-8725-879C6862C09B}"/>
          </ac:picMkLst>
        </pc:picChg>
      </pc:sldChg>
    </pc:docChg>
  </pc:docChgLst>
  <pc:docChgLst>
    <pc:chgData name="Manish Sharma" userId="97d895ad-8d7a-4884-8c18-743afd731b6f" providerId="ADAL" clId="{E2EE48C2-9300-42EB-ABDD-0EE0B95B309D}"/>
    <pc:docChg chg="undo redo custSel addSld delSld modSld delSection modSection">
      <pc:chgData name="Manish Sharma" userId="97d895ad-8d7a-4884-8c18-743afd731b6f" providerId="ADAL" clId="{E2EE48C2-9300-42EB-ABDD-0EE0B95B309D}" dt="2020-11-11T23:13:24.383" v="7955" actId="20577"/>
      <pc:docMkLst>
        <pc:docMk/>
      </pc:docMkLst>
      <pc:sldChg chg="modSp mod">
        <pc:chgData name="Manish Sharma" userId="97d895ad-8d7a-4884-8c18-743afd731b6f" providerId="ADAL" clId="{E2EE48C2-9300-42EB-ABDD-0EE0B95B309D}" dt="2020-11-09T13:59:58.147" v="66" actId="20577"/>
        <pc:sldMkLst>
          <pc:docMk/>
          <pc:sldMk cId="2693573443" sldId="272"/>
        </pc:sldMkLst>
        <pc:spChg chg="mod">
          <ac:chgData name="Manish Sharma" userId="97d895ad-8d7a-4884-8c18-743afd731b6f" providerId="ADAL" clId="{E2EE48C2-9300-42EB-ABDD-0EE0B95B309D}" dt="2020-11-09T13:58:34.694" v="17" actId="14100"/>
          <ac:spMkLst>
            <pc:docMk/>
            <pc:sldMk cId="2693573443" sldId="272"/>
            <ac:spMk id="2" creationId="{00000000-0000-0000-0000-000000000000}"/>
          </ac:spMkLst>
        </pc:spChg>
        <pc:spChg chg="mod">
          <ac:chgData name="Manish Sharma" userId="97d895ad-8d7a-4884-8c18-743afd731b6f" providerId="ADAL" clId="{E2EE48C2-9300-42EB-ABDD-0EE0B95B309D}" dt="2020-11-09T13:59:49.662" v="57" actId="255"/>
          <ac:spMkLst>
            <pc:docMk/>
            <pc:sldMk cId="2693573443" sldId="272"/>
            <ac:spMk id="3" creationId="{00000000-0000-0000-0000-000000000000}"/>
          </ac:spMkLst>
        </pc:spChg>
        <pc:spChg chg="mod">
          <ac:chgData name="Manish Sharma" userId="97d895ad-8d7a-4884-8c18-743afd731b6f" providerId="ADAL" clId="{E2EE48C2-9300-42EB-ABDD-0EE0B95B309D}" dt="2020-11-09T13:58:26.285" v="13" actId="14100"/>
          <ac:spMkLst>
            <pc:docMk/>
            <pc:sldMk cId="2693573443" sldId="272"/>
            <ac:spMk id="4" creationId="{DC342AD0-6244-4CC5-8419-E0541F66BE9C}"/>
          </ac:spMkLst>
        </pc:spChg>
        <pc:spChg chg="mod">
          <ac:chgData name="Manish Sharma" userId="97d895ad-8d7a-4884-8c18-743afd731b6f" providerId="ADAL" clId="{E2EE48C2-9300-42EB-ABDD-0EE0B95B309D}" dt="2020-11-09T13:59:58.147" v="66" actId="20577"/>
          <ac:spMkLst>
            <pc:docMk/>
            <pc:sldMk cId="2693573443" sldId="272"/>
            <ac:spMk id="5" creationId="{00000000-0000-0000-0000-000000000000}"/>
          </ac:spMkLst>
        </pc:spChg>
      </pc:sldChg>
      <pc:sldChg chg="addSp delSp modSp mod">
        <pc:chgData name="Manish Sharma" userId="97d895ad-8d7a-4884-8c18-743afd731b6f" providerId="ADAL" clId="{E2EE48C2-9300-42EB-ABDD-0EE0B95B309D}" dt="2020-11-10T22:20:45.386" v="3061" actId="20577"/>
        <pc:sldMkLst>
          <pc:docMk/>
          <pc:sldMk cId="2478486860" sldId="318"/>
        </pc:sldMkLst>
        <pc:spChg chg="add del">
          <ac:chgData name="Manish Sharma" userId="97d895ad-8d7a-4884-8c18-743afd731b6f" providerId="ADAL" clId="{E2EE48C2-9300-42EB-ABDD-0EE0B95B309D}" dt="2020-11-10T22:19:45.044" v="3032" actId="478"/>
          <ac:spMkLst>
            <pc:docMk/>
            <pc:sldMk cId="2478486860" sldId="318"/>
            <ac:spMk id="3" creationId="{4E4EF07B-0AA5-46CF-95D7-7DE17D85A44F}"/>
          </ac:spMkLst>
        </pc:spChg>
        <pc:spChg chg="mod">
          <ac:chgData name="Manish Sharma" userId="97d895ad-8d7a-4884-8c18-743afd731b6f" providerId="ADAL" clId="{E2EE48C2-9300-42EB-ABDD-0EE0B95B309D}" dt="2020-11-10T22:20:45.386" v="3061" actId="20577"/>
          <ac:spMkLst>
            <pc:docMk/>
            <pc:sldMk cId="2478486860" sldId="318"/>
            <ac:spMk id="4" creationId="{00000000-0000-0000-0000-000000000000}"/>
          </ac:spMkLst>
        </pc:spChg>
      </pc:sldChg>
      <pc:sldChg chg="modSp mod">
        <pc:chgData name="Manish Sharma" userId="97d895ad-8d7a-4884-8c18-743afd731b6f" providerId="ADAL" clId="{E2EE48C2-9300-42EB-ABDD-0EE0B95B309D}" dt="2020-11-11T23:11:44.719" v="7906" actId="2"/>
        <pc:sldMkLst>
          <pc:docMk/>
          <pc:sldMk cId="308080427" sldId="342"/>
        </pc:sldMkLst>
        <pc:spChg chg="mod">
          <ac:chgData name="Manish Sharma" userId="97d895ad-8d7a-4884-8c18-743afd731b6f" providerId="ADAL" clId="{E2EE48C2-9300-42EB-ABDD-0EE0B95B309D}" dt="2020-11-11T23:11:44.719" v="7906" actId="2"/>
          <ac:spMkLst>
            <pc:docMk/>
            <pc:sldMk cId="308080427" sldId="342"/>
            <ac:spMk id="37" creationId="{F76D65DA-C15A-4757-839F-C8D5E3981ECE}"/>
          </ac:spMkLst>
        </pc:spChg>
      </pc:sldChg>
      <pc:sldChg chg="addSp modSp del mod">
        <pc:chgData name="Manish Sharma" userId="97d895ad-8d7a-4884-8c18-743afd731b6f" providerId="ADAL" clId="{E2EE48C2-9300-42EB-ABDD-0EE0B95B309D}" dt="2020-11-09T14:04:19.895" v="165" actId="47"/>
        <pc:sldMkLst>
          <pc:docMk/>
          <pc:sldMk cId="213803271" sldId="381"/>
        </pc:sldMkLst>
        <pc:spChg chg="add mod">
          <ac:chgData name="Manish Sharma" userId="97d895ad-8d7a-4884-8c18-743afd731b6f" providerId="ADAL" clId="{E2EE48C2-9300-42EB-ABDD-0EE0B95B309D}" dt="2020-11-09T14:00:53.243" v="90" actId="403"/>
          <ac:spMkLst>
            <pc:docMk/>
            <pc:sldMk cId="213803271" sldId="381"/>
            <ac:spMk id="2" creationId="{2FF4F47A-A96F-471F-B512-8612E6591FDC}"/>
          </ac:spMkLst>
        </pc:spChg>
        <pc:spChg chg="mod">
          <ac:chgData name="Manish Sharma" userId="97d895ad-8d7a-4884-8c18-743afd731b6f" providerId="ADAL" clId="{E2EE48C2-9300-42EB-ABDD-0EE0B95B309D}" dt="2020-11-09T14:04:10.863" v="162" actId="21"/>
          <ac:spMkLst>
            <pc:docMk/>
            <pc:sldMk cId="213803271" sldId="381"/>
            <ac:spMk id="10" creationId="{00000000-0000-0000-0000-000000000000}"/>
          </ac:spMkLst>
        </pc:spChg>
        <pc:spChg chg="mod">
          <ac:chgData name="Manish Sharma" userId="97d895ad-8d7a-4884-8c18-743afd731b6f" providerId="ADAL" clId="{E2EE48C2-9300-42EB-ABDD-0EE0B95B309D}" dt="2020-11-09T14:04:01.972" v="160" actId="21"/>
          <ac:spMkLst>
            <pc:docMk/>
            <pc:sldMk cId="213803271" sldId="381"/>
            <ac:spMk id="20" creationId="{00000000-0000-0000-0000-000000000000}"/>
          </ac:spMkLst>
        </pc:spChg>
      </pc:sldChg>
      <pc:sldChg chg="addSp delSp modSp mod">
        <pc:chgData name="Manish Sharma" userId="97d895ad-8d7a-4884-8c18-743afd731b6f" providerId="ADAL" clId="{E2EE48C2-9300-42EB-ABDD-0EE0B95B309D}" dt="2020-11-11T23:11:37.696" v="7900" actId="2"/>
        <pc:sldMkLst>
          <pc:docMk/>
          <pc:sldMk cId="2829381692" sldId="393"/>
        </pc:sldMkLst>
        <pc:spChg chg="mod">
          <ac:chgData name="Manish Sharma" userId="97d895ad-8d7a-4884-8c18-743afd731b6f" providerId="ADAL" clId="{E2EE48C2-9300-42EB-ABDD-0EE0B95B309D}" dt="2020-11-10T21:44:33.248" v="2760" actId="20577"/>
          <ac:spMkLst>
            <pc:docMk/>
            <pc:sldMk cId="2829381692" sldId="393"/>
            <ac:spMk id="2" creationId="{00000000-0000-0000-0000-000000000000}"/>
          </ac:spMkLst>
        </pc:spChg>
        <pc:spChg chg="add del">
          <ac:chgData name="Manish Sharma" userId="97d895ad-8d7a-4884-8c18-743afd731b6f" providerId="ADAL" clId="{E2EE48C2-9300-42EB-ABDD-0EE0B95B309D}" dt="2020-11-10T21:28:38.725" v="2724" actId="478"/>
          <ac:spMkLst>
            <pc:docMk/>
            <pc:sldMk cId="2829381692" sldId="393"/>
            <ac:spMk id="3" creationId="{D68158A9-871A-445D-B5B9-FAA021BD87BA}"/>
          </ac:spMkLst>
        </pc:spChg>
        <pc:spChg chg="mod">
          <ac:chgData name="Manish Sharma" userId="97d895ad-8d7a-4884-8c18-743afd731b6f" providerId="ADAL" clId="{E2EE48C2-9300-42EB-ABDD-0EE0B95B309D}" dt="2020-11-11T22:04:48.064" v="7512" actId="20577"/>
          <ac:spMkLst>
            <pc:docMk/>
            <pc:sldMk cId="2829381692" sldId="393"/>
            <ac:spMk id="20" creationId="{00000000-0000-0000-0000-000000000000}"/>
          </ac:spMkLst>
        </pc:spChg>
        <pc:spChg chg="mod">
          <ac:chgData name="Manish Sharma" userId="97d895ad-8d7a-4884-8c18-743afd731b6f" providerId="ADAL" clId="{E2EE48C2-9300-42EB-ABDD-0EE0B95B309D}" dt="2020-11-10T21:55:50.011" v="2888" actId="20577"/>
          <ac:spMkLst>
            <pc:docMk/>
            <pc:sldMk cId="2829381692" sldId="393"/>
            <ac:spMk id="25" creationId="{077381A9-23E6-4F3E-8768-8744299F355D}"/>
          </ac:spMkLst>
        </pc:spChg>
        <pc:spChg chg="mod">
          <ac:chgData name="Manish Sharma" userId="97d895ad-8d7a-4884-8c18-743afd731b6f" providerId="ADAL" clId="{E2EE48C2-9300-42EB-ABDD-0EE0B95B309D}" dt="2020-11-10T21:56:06.358" v="2905" actId="20577"/>
          <ac:spMkLst>
            <pc:docMk/>
            <pc:sldMk cId="2829381692" sldId="393"/>
            <ac:spMk id="26" creationId="{AEB16DAA-5611-403C-B2AC-BDBDBC7C939C}"/>
          </ac:spMkLst>
        </pc:spChg>
        <pc:spChg chg="mod">
          <ac:chgData name="Manish Sharma" userId="97d895ad-8d7a-4884-8c18-743afd731b6f" providerId="ADAL" clId="{E2EE48C2-9300-42EB-ABDD-0EE0B95B309D}" dt="2020-11-10T21:54:39.038" v="2854" actId="20577"/>
          <ac:spMkLst>
            <pc:docMk/>
            <pc:sldMk cId="2829381692" sldId="393"/>
            <ac:spMk id="30" creationId="{BC68C9EA-24FC-4D79-A0C1-213D45B72034}"/>
          </ac:spMkLst>
        </pc:spChg>
        <pc:spChg chg="mod">
          <ac:chgData name="Manish Sharma" userId="97d895ad-8d7a-4884-8c18-743afd731b6f" providerId="ADAL" clId="{E2EE48C2-9300-42EB-ABDD-0EE0B95B309D}" dt="2020-11-10T21:55:08.440" v="2860"/>
          <ac:spMkLst>
            <pc:docMk/>
            <pc:sldMk cId="2829381692" sldId="393"/>
            <ac:spMk id="35" creationId="{585C8BDE-00A1-40A8-991A-D9FB72664A3A}"/>
          </ac:spMkLst>
        </pc:spChg>
        <pc:spChg chg="mod">
          <ac:chgData name="Manish Sharma" userId="97d895ad-8d7a-4884-8c18-743afd731b6f" providerId="ADAL" clId="{E2EE48C2-9300-42EB-ABDD-0EE0B95B309D}" dt="2020-11-10T21:55:08.440" v="2860"/>
          <ac:spMkLst>
            <pc:docMk/>
            <pc:sldMk cId="2829381692" sldId="393"/>
            <ac:spMk id="36" creationId="{80FE7D40-5669-4B56-92A1-A39B46519F5D}"/>
          </ac:spMkLst>
        </pc:spChg>
        <pc:spChg chg="mod">
          <ac:chgData name="Manish Sharma" userId="97d895ad-8d7a-4884-8c18-743afd731b6f" providerId="ADAL" clId="{E2EE48C2-9300-42EB-ABDD-0EE0B95B309D}" dt="2020-11-10T21:55:20.071" v="2871" actId="20577"/>
          <ac:spMkLst>
            <pc:docMk/>
            <pc:sldMk cId="2829381692" sldId="393"/>
            <ac:spMk id="38" creationId="{B8001A0B-027F-4544-827D-40AE925C0C64}"/>
          </ac:spMkLst>
        </pc:spChg>
        <pc:grpChg chg="mod">
          <ac:chgData name="Manish Sharma" userId="97d895ad-8d7a-4884-8c18-743afd731b6f" providerId="ADAL" clId="{E2EE48C2-9300-42EB-ABDD-0EE0B95B309D}" dt="2020-11-10T21:54:53.846" v="2857" actId="1076"/>
          <ac:grpSpMkLst>
            <pc:docMk/>
            <pc:sldMk cId="2829381692" sldId="393"/>
            <ac:grpSpMk id="9" creationId="{0C9A9329-34F4-42B3-B417-32AA75A6C343}"/>
          </ac:grpSpMkLst>
        </pc:grpChg>
        <pc:grpChg chg="mod">
          <ac:chgData name="Manish Sharma" userId="97d895ad-8d7a-4884-8c18-743afd731b6f" providerId="ADAL" clId="{E2EE48C2-9300-42EB-ABDD-0EE0B95B309D}" dt="2020-11-10T21:55:02.421" v="2858" actId="1076"/>
          <ac:grpSpMkLst>
            <pc:docMk/>
            <pc:sldMk cId="2829381692" sldId="393"/>
            <ac:grpSpMk id="10" creationId="{C4153FF1-0D99-45EB-9EE7-432D02358821}"/>
          </ac:grpSpMkLst>
        </pc:grpChg>
        <pc:grpChg chg="add mod">
          <ac:chgData name="Manish Sharma" userId="97d895ad-8d7a-4884-8c18-743afd731b6f" providerId="ADAL" clId="{E2EE48C2-9300-42EB-ABDD-0EE0B95B309D}" dt="2020-11-10T21:55:11.562" v="2861" actId="1076"/>
          <ac:grpSpMkLst>
            <pc:docMk/>
            <pc:sldMk cId="2829381692" sldId="393"/>
            <ac:grpSpMk id="31" creationId="{38FC6969-A1FD-4AB4-A0CC-39011B67590E}"/>
          </ac:grpSpMkLst>
        </pc:grpChg>
        <pc:grpChg chg="mod">
          <ac:chgData name="Manish Sharma" userId="97d895ad-8d7a-4884-8c18-743afd731b6f" providerId="ADAL" clId="{E2EE48C2-9300-42EB-ABDD-0EE0B95B309D}" dt="2020-11-10T21:55:08.440" v="2860"/>
          <ac:grpSpMkLst>
            <pc:docMk/>
            <pc:sldMk cId="2829381692" sldId="393"/>
            <ac:grpSpMk id="32" creationId="{B197CCD6-5B7A-4740-9009-CA708525AE16}"/>
          </ac:grpSpMkLst>
        </pc:grpChg>
        <pc:grpChg chg="del">
          <ac:chgData name="Manish Sharma" userId="97d895ad-8d7a-4884-8c18-743afd731b6f" providerId="ADAL" clId="{E2EE48C2-9300-42EB-ABDD-0EE0B95B309D}" dt="2020-11-10T21:55:05.206" v="2859" actId="478"/>
          <ac:grpSpMkLst>
            <pc:docMk/>
            <pc:sldMk cId="2829381692" sldId="393"/>
            <ac:grpSpMk id="33" creationId="{4BA241F4-B0FC-433B-8BA1-C2355070954B}"/>
          </ac:grpSpMkLst>
        </pc:grpChg>
        <pc:graphicFrameChg chg="add mod modGraphic">
          <ac:chgData name="Manish Sharma" userId="97d895ad-8d7a-4884-8c18-743afd731b6f" providerId="ADAL" clId="{E2EE48C2-9300-42EB-ABDD-0EE0B95B309D}" dt="2020-11-11T23:11:37.696" v="7900" actId="2"/>
          <ac:graphicFrameMkLst>
            <pc:docMk/>
            <pc:sldMk cId="2829381692" sldId="393"/>
            <ac:graphicFrameMk id="4" creationId="{E15926DB-CEE9-4AB9-B7E9-9CD6E2EF3908}"/>
          </ac:graphicFrameMkLst>
        </pc:graphicFrameChg>
        <pc:graphicFrameChg chg="add del">
          <ac:chgData name="Manish Sharma" userId="97d895ad-8d7a-4884-8c18-743afd731b6f" providerId="ADAL" clId="{E2EE48C2-9300-42EB-ABDD-0EE0B95B309D}" dt="2020-11-10T21:44:29.932" v="2751" actId="478"/>
          <ac:graphicFrameMkLst>
            <pc:docMk/>
            <pc:sldMk cId="2829381692" sldId="393"/>
            <ac:graphicFrameMk id="5" creationId="{77517C0B-B41D-49FB-8EAE-461DCF0BDAF4}"/>
          </ac:graphicFrameMkLst>
        </pc:graphicFrameChg>
        <pc:graphicFrameChg chg="del">
          <ac:chgData name="Manish Sharma" userId="97d895ad-8d7a-4884-8c18-743afd731b6f" providerId="ADAL" clId="{E2EE48C2-9300-42EB-ABDD-0EE0B95B309D}" dt="2020-11-10T21:54:41.168" v="2855" actId="478"/>
          <ac:graphicFrameMkLst>
            <pc:docMk/>
            <pc:sldMk cId="2829381692" sldId="393"/>
            <ac:graphicFrameMk id="6" creationId="{F1FB2FF7-3737-430B-BE5C-18E6E6E6D019}"/>
          </ac:graphicFrameMkLst>
        </pc:graphicFrameChg>
        <pc:graphicFrameChg chg="add mod">
          <ac:chgData name="Manish Sharma" userId="97d895ad-8d7a-4884-8c18-743afd731b6f" providerId="ADAL" clId="{E2EE48C2-9300-42EB-ABDD-0EE0B95B309D}" dt="2020-11-10T22:03:55.703" v="2907" actId="1076"/>
          <ac:graphicFrameMkLst>
            <pc:docMk/>
            <pc:sldMk cId="2829381692" sldId="393"/>
            <ac:graphicFrameMk id="7" creationId="{39D51A59-98C4-4425-A1DE-9C63A6F92F96}"/>
          </ac:graphicFrameMkLst>
        </pc:graphicFrameChg>
        <pc:cxnChg chg="mod">
          <ac:chgData name="Manish Sharma" userId="97d895ad-8d7a-4884-8c18-743afd731b6f" providerId="ADAL" clId="{E2EE48C2-9300-42EB-ABDD-0EE0B95B309D}" dt="2020-11-10T21:55:08.440" v="2860"/>
          <ac:cxnSpMkLst>
            <pc:docMk/>
            <pc:sldMk cId="2829381692" sldId="393"/>
            <ac:cxnSpMk id="37" creationId="{99059E07-0560-4051-BDA5-10762518F3D6}"/>
          </ac:cxnSpMkLst>
        </pc:cxnChg>
      </pc:sldChg>
      <pc:sldChg chg="addSp delSp modSp mod">
        <pc:chgData name="Manish Sharma" userId="97d895ad-8d7a-4884-8c18-743afd731b6f" providerId="ADAL" clId="{E2EE48C2-9300-42EB-ABDD-0EE0B95B309D}" dt="2020-11-11T23:13:24.383" v="7955" actId="20577"/>
        <pc:sldMkLst>
          <pc:docMk/>
          <pc:sldMk cId="1999519132" sldId="425"/>
        </pc:sldMkLst>
        <pc:spChg chg="add del">
          <ac:chgData name="Manish Sharma" userId="97d895ad-8d7a-4884-8c18-743afd731b6f" providerId="ADAL" clId="{E2EE48C2-9300-42EB-ABDD-0EE0B95B309D}" dt="2020-11-11T04:09:03.860" v="4905" actId="478"/>
          <ac:spMkLst>
            <pc:docMk/>
            <pc:sldMk cId="1999519132" sldId="425"/>
            <ac:spMk id="3" creationId="{59E0BE48-CB3E-4B6D-8F65-B951D86A78CA}"/>
          </ac:spMkLst>
        </pc:spChg>
        <pc:spChg chg="mod">
          <ac:chgData name="Manish Sharma" userId="97d895ad-8d7a-4884-8c18-743afd731b6f" providerId="ADAL" clId="{E2EE48C2-9300-42EB-ABDD-0EE0B95B309D}" dt="2020-11-11T23:13:24.383" v="7955" actId="20577"/>
          <ac:spMkLst>
            <pc:docMk/>
            <pc:sldMk cId="1999519132" sldId="425"/>
            <ac:spMk id="25" creationId="{822CB3C9-19F1-48FD-B87F-0FE3265E0570}"/>
          </ac:spMkLst>
        </pc:spChg>
        <pc:grpChg chg="add mod">
          <ac:chgData name="Manish Sharma" userId="97d895ad-8d7a-4884-8c18-743afd731b6f" providerId="ADAL" clId="{E2EE48C2-9300-42EB-ABDD-0EE0B95B309D}" dt="2020-11-11T04:22:43.758" v="5657" actId="164"/>
          <ac:grpSpMkLst>
            <pc:docMk/>
            <pc:sldMk cId="1999519132" sldId="425"/>
            <ac:grpSpMk id="14" creationId="{22968119-1273-4EB3-8DCA-CCF4CFDF0D80}"/>
          </ac:grpSpMkLst>
        </pc:grpChg>
        <pc:grpChg chg="mod">
          <ac:chgData name="Manish Sharma" userId="97d895ad-8d7a-4884-8c18-743afd731b6f" providerId="ADAL" clId="{E2EE48C2-9300-42EB-ABDD-0EE0B95B309D}" dt="2020-11-11T04:22:33.188" v="5655" actId="1076"/>
          <ac:grpSpMkLst>
            <pc:docMk/>
            <pc:sldMk cId="1999519132" sldId="425"/>
            <ac:grpSpMk id="20" creationId="{39C6F481-A59E-4144-84E5-DAB62DB8211B}"/>
          </ac:grpSpMkLst>
        </pc:grpChg>
        <pc:grpChg chg="mod">
          <ac:chgData name="Manish Sharma" userId="97d895ad-8d7a-4884-8c18-743afd731b6f" providerId="ADAL" clId="{E2EE48C2-9300-42EB-ABDD-0EE0B95B309D}" dt="2020-11-11T04:22:43.758" v="5657" actId="164"/>
          <ac:grpSpMkLst>
            <pc:docMk/>
            <pc:sldMk cId="1999519132" sldId="425"/>
            <ac:grpSpMk id="24" creationId="{DE50B2AE-536D-439A-BC19-7473FCD757D5}"/>
          </ac:grpSpMkLst>
        </pc:grpChg>
        <pc:graphicFrameChg chg="mod modGraphic">
          <ac:chgData name="Manish Sharma" userId="97d895ad-8d7a-4884-8c18-743afd731b6f" providerId="ADAL" clId="{E2EE48C2-9300-42EB-ABDD-0EE0B95B309D}" dt="2020-11-11T23:13:17.582" v="7943" actId="20577"/>
          <ac:graphicFrameMkLst>
            <pc:docMk/>
            <pc:sldMk cId="1999519132" sldId="425"/>
            <ac:graphicFrameMk id="28" creationId="{994870E9-25EF-4A43-B1A1-38CC6A36FD4D}"/>
          </ac:graphicFrameMkLst>
        </pc:graphicFrameChg>
        <pc:cxnChg chg="add mod ord">
          <ac:chgData name="Manish Sharma" userId="97d895ad-8d7a-4884-8c18-743afd731b6f" providerId="ADAL" clId="{E2EE48C2-9300-42EB-ABDD-0EE0B95B309D}" dt="2020-11-11T04:24:20.517" v="5658" actId="208"/>
          <ac:cxnSpMkLst>
            <pc:docMk/>
            <pc:sldMk cId="1999519132" sldId="425"/>
            <ac:cxnSpMk id="22" creationId="{D0BE9677-D649-4160-A5D1-B59EF804C6C0}"/>
          </ac:cxnSpMkLst>
        </pc:cxnChg>
      </pc:sldChg>
      <pc:sldChg chg="addSp delSp modSp mod">
        <pc:chgData name="Manish Sharma" userId="97d895ad-8d7a-4884-8c18-743afd731b6f" providerId="ADAL" clId="{E2EE48C2-9300-42EB-ABDD-0EE0B95B309D}" dt="2020-11-11T23:12:55.203" v="7919" actId="20577"/>
        <pc:sldMkLst>
          <pc:docMk/>
          <pc:sldMk cId="706555508" sldId="426"/>
        </pc:sldMkLst>
        <pc:spChg chg="mod">
          <ac:chgData name="Manish Sharma" userId="97d895ad-8d7a-4884-8c18-743afd731b6f" providerId="ADAL" clId="{E2EE48C2-9300-42EB-ABDD-0EE0B95B309D}" dt="2020-11-11T23:12:55.203" v="7919" actId="20577"/>
          <ac:spMkLst>
            <pc:docMk/>
            <pc:sldMk cId="706555508" sldId="426"/>
            <ac:spMk id="2" creationId="{00000000-0000-0000-0000-000000000000}"/>
          </ac:spMkLst>
        </pc:spChg>
        <pc:spChg chg="add del">
          <ac:chgData name="Manish Sharma" userId="97d895ad-8d7a-4884-8c18-743afd731b6f" providerId="ADAL" clId="{E2EE48C2-9300-42EB-ABDD-0EE0B95B309D}" dt="2020-11-11T04:34:27.955" v="6205" actId="478"/>
          <ac:spMkLst>
            <pc:docMk/>
            <pc:sldMk cId="706555508" sldId="426"/>
            <ac:spMk id="3" creationId="{982ADDA4-954E-4011-A1CE-425D2DB2D9F1}"/>
          </ac:spMkLst>
        </pc:spChg>
        <pc:spChg chg="mod">
          <ac:chgData name="Manish Sharma" userId="97d895ad-8d7a-4884-8c18-743afd731b6f" providerId="ADAL" clId="{E2EE48C2-9300-42EB-ABDD-0EE0B95B309D}" dt="2020-11-11T20:43:48.016" v="7482" actId="20577"/>
          <ac:spMkLst>
            <pc:docMk/>
            <pc:sldMk cId="706555508" sldId="426"/>
            <ac:spMk id="4" creationId="{00000000-0000-0000-0000-000000000000}"/>
          </ac:spMkLst>
        </pc:spChg>
      </pc:sldChg>
      <pc:sldChg chg="addSp delSp modSp mod">
        <pc:chgData name="Manish Sharma" userId="97d895ad-8d7a-4884-8c18-743afd731b6f" providerId="ADAL" clId="{E2EE48C2-9300-42EB-ABDD-0EE0B95B309D}" dt="2020-11-10T21:47:26.534" v="2764" actId="20577"/>
        <pc:sldMkLst>
          <pc:docMk/>
          <pc:sldMk cId="3705176354" sldId="428"/>
        </pc:sldMkLst>
        <pc:spChg chg="mod">
          <ac:chgData name="Manish Sharma" userId="97d895ad-8d7a-4884-8c18-743afd731b6f" providerId="ADAL" clId="{E2EE48C2-9300-42EB-ABDD-0EE0B95B309D}" dt="2020-11-09T20:12:32.655" v="1609" actId="20577"/>
          <ac:spMkLst>
            <pc:docMk/>
            <pc:sldMk cId="3705176354" sldId="428"/>
            <ac:spMk id="2" creationId="{00000000-0000-0000-0000-000000000000}"/>
          </ac:spMkLst>
        </pc:spChg>
        <pc:spChg chg="add del">
          <ac:chgData name="Manish Sharma" userId="97d895ad-8d7a-4884-8c18-743afd731b6f" providerId="ADAL" clId="{E2EE48C2-9300-42EB-ABDD-0EE0B95B309D}" dt="2020-11-09T19:24:00.409" v="899" actId="478"/>
          <ac:spMkLst>
            <pc:docMk/>
            <pc:sldMk cId="3705176354" sldId="428"/>
            <ac:spMk id="3" creationId="{814715FB-3BD6-4B25-98C2-C7828299672B}"/>
          </ac:spMkLst>
        </pc:spChg>
        <pc:spChg chg="add mod">
          <ac:chgData name="Manish Sharma" userId="97d895ad-8d7a-4884-8c18-743afd731b6f" providerId="ADAL" clId="{E2EE48C2-9300-42EB-ABDD-0EE0B95B309D}" dt="2020-11-10T21:47:22.838" v="2762" actId="20577"/>
          <ac:spMkLst>
            <pc:docMk/>
            <pc:sldMk cId="3705176354" sldId="428"/>
            <ac:spMk id="4" creationId="{1D54A381-9ED5-4626-82D3-1EFCE1DF6AEC}"/>
          </ac:spMkLst>
        </pc:spChg>
        <pc:spChg chg="add mod">
          <ac:chgData name="Manish Sharma" userId="97d895ad-8d7a-4884-8c18-743afd731b6f" providerId="ADAL" clId="{E2EE48C2-9300-42EB-ABDD-0EE0B95B309D}" dt="2020-11-09T22:27:36.629" v="1721" actId="14100"/>
          <ac:spMkLst>
            <pc:docMk/>
            <pc:sldMk cId="3705176354" sldId="428"/>
            <ac:spMk id="5" creationId="{652FCEF2-0D6A-496F-BCD0-5EA40A62DBD2}"/>
          </ac:spMkLst>
        </pc:spChg>
        <pc:spChg chg="mod">
          <ac:chgData name="Manish Sharma" userId="97d895ad-8d7a-4884-8c18-743afd731b6f" providerId="ADAL" clId="{E2EE48C2-9300-42EB-ABDD-0EE0B95B309D}" dt="2020-11-09T19:28:12.981" v="1055" actId="20577"/>
          <ac:spMkLst>
            <pc:docMk/>
            <pc:sldMk cId="3705176354" sldId="428"/>
            <ac:spMk id="16" creationId="{00000000-0000-0000-0000-000000000000}"/>
          </ac:spMkLst>
        </pc:spChg>
        <pc:spChg chg="mod">
          <ac:chgData name="Manish Sharma" userId="97d895ad-8d7a-4884-8c18-743afd731b6f" providerId="ADAL" clId="{E2EE48C2-9300-42EB-ABDD-0EE0B95B309D}" dt="2020-11-09T19:24:45.226" v="932" actId="1076"/>
          <ac:spMkLst>
            <pc:docMk/>
            <pc:sldMk cId="3705176354" sldId="428"/>
            <ac:spMk id="18" creationId="{00000000-0000-0000-0000-000000000000}"/>
          </ac:spMkLst>
        </pc:spChg>
        <pc:spChg chg="mod">
          <ac:chgData name="Manish Sharma" userId="97d895ad-8d7a-4884-8c18-743afd731b6f" providerId="ADAL" clId="{E2EE48C2-9300-42EB-ABDD-0EE0B95B309D}" dt="2020-11-10T21:47:26.534" v="2764" actId="20577"/>
          <ac:spMkLst>
            <pc:docMk/>
            <pc:sldMk cId="3705176354" sldId="428"/>
            <ac:spMk id="21" creationId="{00000000-0000-0000-0000-000000000000}"/>
          </ac:spMkLst>
        </pc:spChg>
        <pc:spChg chg="mod">
          <ac:chgData name="Manish Sharma" userId="97d895ad-8d7a-4884-8c18-743afd731b6f" providerId="ADAL" clId="{E2EE48C2-9300-42EB-ABDD-0EE0B95B309D}" dt="2020-11-09T22:28:09.040" v="1723" actId="208"/>
          <ac:spMkLst>
            <pc:docMk/>
            <pc:sldMk cId="3705176354" sldId="428"/>
            <ac:spMk id="73" creationId="{4C88BB89-4068-499B-8F3F-29D9CFDEB8D9}"/>
          </ac:spMkLst>
        </pc:spChg>
        <pc:spChg chg="mod">
          <ac:chgData name="Manish Sharma" userId="97d895ad-8d7a-4884-8c18-743afd731b6f" providerId="ADAL" clId="{E2EE48C2-9300-42EB-ABDD-0EE0B95B309D}" dt="2020-11-09T20:09:18.210" v="1593" actId="208"/>
          <ac:spMkLst>
            <pc:docMk/>
            <pc:sldMk cId="3705176354" sldId="428"/>
            <ac:spMk id="75" creationId="{C3667D43-2D3C-46D6-BEB3-58980BA9DA59}"/>
          </ac:spMkLst>
        </pc:spChg>
        <pc:spChg chg="mod">
          <ac:chgData name="Manish Sharma" userId="97d895ad-8d7a-4884-8c18-743afd731b6f" providerId="ADAL" clId="{E2EE48C2-9300-42EB-ABDD-0EE0B95B309D}" dt="2020-11-09T19:34:20.764" v="1105" actId="20577"/>
          <ac:spMkLst>
            <pc:docMk/>
            <pc:sldMk cId="3705176354" sldId="428"/>
            <ac:spMk id="77" creationId="{00000000-0000-0000-0000-000000000000}"/>
          </ac:spMkLst>
        </pc:spChg>
        <pc:spChg chg="mod">
          <ac:chgData name="Manish Sharma" userId="97d895ad-8d7a-4884-8c18-743afd731b6f" providerId="ADAL" clId="{E2EE48C2-9300-42EB-ABDD-0EE0B95B309D}" dt="2020-11-09T22:28:04.848" v="1722" actId="208"/>
          <ac:spMkLst>
            <pc:docMk/>
            <pc:sldMk cId="3705176354" sldId="428"/>
            <ac:spMk id="78" creationId="{00000000-0000-0000-0000-000000000000}"/>
          </ac:spMkLst>
        </pc:spChg>
        <pc:spChg chg="mod">
          <ac:chgData name="Manish Sharma" userId="97d895ad-8d7a-4884-8c18-743afd731b6f" providerId="ADAL" clId="{E2EE48C2-9300-42EB-ABDD-0EE0B95B309D}" dt="2020-11-09T22:35:31.509" v="1727" actId="207"/>
          <ac:spMkLst>
            <pc:docMk/>
            <pc:sldMk cId="3705176354" sldId="428"/>
            <ac:spMk id="81" creationId="{00000000-0000-0000-0000-000000000000}"/>
          </ac:spMkLst>
        </pc:spChg>
        <pc:spChg chg="mod">
          <ac:chgData name="Manish Sharma" userId="97d895ad-8d7a-4884-8c18-743afd731b6f" providerId="ADAL" clId="{E2EE48C2-9300-42EB-ABDD-0EE0B95B309D}" dt="2020-11-09T20:09:48.673" v="1598" actId="14100"/>
          <ac:spMkLst>
            <pc:docMk/>
            <pc:sldMk cId="3705176354" sldId="428"/>
            <ac:spMk id="82" creationId="{00000000-0000-0000-0000-000000000000}"/>
          </ac:spMkLst>
        </pc:spChg>
        <pc:spChg chg="mod">
          <ac:chgData name="Manish Sharma" userId="97d895ad-8d7a-4884-8c18-743afd731b6f" providerId="ADAL" clId="{E2EE48C2-9300-42EB-ABDD-0EE0B95B309D}" dt="2020-11-09T20:09:48.673" v="1598" actId="14100"/>
          <ac:spMkLst>
            <pc:docMk/>
            <pc:sldMk cId="3705176354" sldId="428"/>
            <ac:spMk id="83" creationId="{00000000-0000-0000-0000-000000000000}"/>
          </ac:spMkLst>
        </pc:spChg>
        <pc:spChg chg="mod">
          <ac:chgData name="Manish Sharma" userId="97d895ad-8d7a-4884-8c18-743afd731b6f" providerId="ADAL" clId="{E2EE48C2-9300-42EB-ABDD-0EE0B95B309D}" dt="2020-11-09T20:09:48.673" v="1598" actId="14100"/>
          <ac:spMkLst>
            <pc:docMk/>
            <pc:sldMk cId="3705176354" sldId="428"/>
            <ac:spMk id="84" creationId="{00000000-0000-0000-0000-000000000000}"/>
          </ac:spMkLst>
        </pc:spChg>
        <pc:spChg chg="mod">
          <ac:chgData name="Manish Sharma" userId="97d895ad-8d7a-4884-8c18-743afd731b6f" providerId="ADAL" clId="{E2EE48C2-9300-42EB-ABDD-0EE0B95B309D}" dt="2020-11-09T22:35:34.390" v="1728" actId="207"/>
          <ac:spMkLst>
            <pc:docMk/>
            <pc:sldMk cId="3705176354" sldId="428"/>
            <ac:spMk id="90" creationId="{00000000-0000-0000-0000-000000000000}"/>
          </ac:spMkLst>
        </pc:spChg>
        <pc:spChg chg="mod">
          <ac:chgData name="Manish Sharma" userId="97d895ad-8d7a-4884-8c18-743afd731b6f" providerId="ADAL" clId="{E2EE48C2-9300-42EB-ABDD-0EE0B95B309D}" dt="2020-11-09T20:09:28.912" v="1595" actId="14100"/>
          <ac:spMkLst>
            <pc:docMk/>
            <pc:sldMk cId="3705176354" sldId="428"/>
            <ac:spMk id="93" creationId="{00000000-0000-0000-0000-000000000000}"/>
          </ac:spMkLst>
        </pc:spChg>
        <pc:spChg chg="mod">
          <ac:chgData name="Manish Sharma" userId="97d895ad-8d7a-4884-8c18-743afd731b6f" providerId="ADAL" clId="{E2EE48C2-9300-42EB-ABDD-0EE0B95B309D}" dt="2020-11-09T20:09:28.912" v="1595" actId="14100"/>
          <ac:spMkLst>
            <pc:docMk/>
            <pc:sldMk cId="3705176354" sldId="428"/>
            <ac:spMk id="94" creationId="{00000000-0000-0000-0000-000000000000}"/>
          </ac:spMkLst>
        </pc:spChg>
        <pc:spChg chg="mod">
          <ac:chgData name="Manish Sharma" userId="97d895ad-8d7a-4884-8c18-743afd731b6f" providerId="ADAL" clId="{E2EE48C2-9300-42EB-ABDD-0EE0B95B309D}" dt="2020-11-09T20:09:28.912" v="1595" actId="14100"/>
          <ac:spMkLst>
            <pc:docMk/>
            <pc:sldMk cId="3705176354" sldId="428"/>
            <ac:spMk id="95" creationId="{00000000-0000-0000-0000-000000000000}"/>
          </ac:spMkLst>
        </pc:spChg>
        <pc:spChg chg="mod">
          <ac:chgData name="Manish Sharma" userId="97d895ad-8d7a-4884-8c18-743afd731b6f" providerId="ADAL" clId="{E2EE48C2-9300-42EB-ABDD-0EE0B95B309D}" dt="2020-11-09T20:09:23.971" v="1594" actId="207"/>
          <ac:spMkLst>
            <pc:docMk/>
            <pc:sldMk cId="3705176354" sldId="428"/>
            <ac:spMk id="96" creationId="{00000000-0000-0000-0000-000000000000}"/>
          </ac:spMkLst>
        </pc:spChg>
        <pc:spChg chg="mod">
          <ac:chgData name="Manish Sharma" userId="97d895ad-8d7a-4884-8c18-743afd731b6f" providerId="ADAL" clId="{E2EE48C2-9300-42EB-ABDD-0EE0B95B309D}" dt="2020-11-09T19:40:19.197" v="1125" actId="6549"/>
          <ac:spMkLst>
            <pc:docMk/>
            <pc:sldMk cId="3705176354" sldId="428"/>
            <ac:spMk id="102" creationId="{00000000-0000-0000-0000-000000000000}"/>
          </ac:spMkLst>
        </pc:spChg>
        <pc:spChg chg="mod">
          <ac:chgData name="Manish Sharma" userId="97d895ad-8d7a-4884-8c18-743afd731b6f" providerId="ADAL" clId="{E2EE48C2-9300-42EB-ABDD-0EE0B95B309D}" dt="2020-11-09T22:28:12.544" v="1724" actId="208"/>
          <ac:spMkLst>
            <pc:docMk/>
            <pc:sldMk cId="3705176354" sldId="428"/>
            <ac:spMk id="103" creationId="{00000000-0000-0000-0000-000000000000}"/>
          </ac:spMkLst>
        </pc:spChg>
        <pc:spChg chg="mod">
          <ac:chgData name="Manish Sharma" userId="97d895ad-8d7a-4884-8c18-743afd731b6f" providerId="ADAL" clId="{E2EE48C2-9300-42EB-ABDD-0EE0B95B309D}" dt="2020-11-09T20:10:16.894" v="1599" actId="14100"/>
          <ac:spMkLst>
            <pc:docMk/>
            <pc:sldMk cId="3705176354" sldId="428"/>
            <ac:spMk id="105" creationId="{00000000-0000-0000-0000-000000000000}"/>
          </ac:spMkLst>
        </pc:spChg>
        <pc:spChg chg="mod">
          <ac:chgData name="Manish Sharma" userId="97d895ad-8d7a-4884-8c18-743afd731b6f" providerId="ADAL" clId="{E2EE48C2-9300-42EB-ABDD-0EE0B95B309D}" dt="2020-11-09T20:10:16.894" v="1599" actId="14100"/>
          <ac:spMkLst>
            <pc:docMk/>
            <pc:sldMk cId="3705176354" sldId="428"/>
            <ac:spMk id="106" creationId="{00000000-0000-0000-0000-000000000000}"/>
          </ac:spMkLst>
        </pc:spChg>
        <pc:spChg chg="mod">
          <ac:chgData name="Manish Sharma" userId="97d895ad-8d7a-4884-8c18-743afd731b6f" providerId="ADAL" clId="{E2EE48C2-9300-42EB-ABDD-0EE0B95B309D}" dt="2020-11-09T20:10:16.894" v="1599" actId="14100"/>
          <ac:spMkLst>
            <pc:docMk/>
            <pc:sldMk cId="3705176354" sldId="428"/>
            <ac:spMk id="107" creationId="{00000000-0000-0000-0000-000000000000}"/>
          </ac:spMkLst>
        </pc:spChg>
        <pc:spChg chg="mod">
          <ac:chgData name="Manish Sharma" userId="97d895ad-8d7a-4884-8c18-743afd731b6f" providerId="ADAL" clId="{E2EE48C2-9300-42EB-ABDD-0EE0B95B309D}" dt="2020-11-09T22:35:39.496" v="1729" actId="207"/>
          <ac:spMkLst>
            <pc:docMk/>
            <pc:sldMk cId="3705176354" sldId="428"/>
            <ac:spMk id="108" creationId="{00000000-0000-0000-0000-000000000000}"/>
          </ac:spMkLst>
        </pc:spChg>
        <pc:spChg chg="mod">
          <ac:chgData name="Manish Sharma" userId="97d895ad-8d7a-4884-8c18-743afd731b6f" providerId="ADAL" clId="{E2EE48C2-9300-42EB-ABDD-0EE0B95B309D}" dt="2020-11-09T20:09:32.209" v="1596" actId="14100"/>
          <ac:spMkLst>
            <pc:docMk/>
            <pc:sldMk cId="3705176354" sldId="428"/>
            <ac:spMk id="110" creationId="{00000000-0000-0000-0000-000000000000}"/>
          </ac:spMkLst>
        </pc:spChg>
        <pc:spChg chg="mod">
          <ac:chgData name="Manish Sharma" userId="97d895ad-8d7a-4884-8c18-743afd731b6f" providerId="ADAL" clId="{E2EE48C2-9300-42EB-ABDD-0EE0B95B309D}" dt="2020-11-09T20:09:32.209" v="1596" actId="14100"/>
          <ac:spMkLst>
            <pc:docMk/>
            <pc:sldMk cId="3705176354" sldId="428"/>
            <ac:spMk id="111" creationId="{00000000-0000-0000-0000-000000000000}"/>
          </ac:spMkLst>
        </pc:spChg>
        <pc:spChg chg="mod">
          <ac:chgData name="Manish Sharma" userId="97d895ad-8d7a-4884-8c18-743afd731b6f" providerId="ADAL" clId="{E2EE48C2-9300-42EB-ABDD-0EE0B95B309D}" dt="2020-11-09T20:09:32.209" v="1596" actId="14100"/>
          <ac:spMkLst>
            <pc:docMk/>
            <pc:sldMk cId="3705176354" sldId="428"/>
            <ac:spMk id="112" creationId="{00000000-0000-0000-0000-000000000000}"/>
          </ac:spMkLst>
        </pc:spChg>
        <pc:spChg chg="mod">
          <ac:chgData name="Manish Sharma" userId="97d895ad-8d7a-4884-8c18-743afd731b6f" providerId="ADAL" clId="{E2EE48C2-9300-42EB-ABDD-0EE0B95B309D}" dt="2020-11-09T22:47:31.535" v="1804" actId="20577"/>
          <ac:spMkLst>
            <pc:docMk/>
            <pc:sldMk cId="3705176354" sldId="428"/>
            <ac:spMk id="116" creationId="{00000000-0000-0000-0000-000000000000}"/>
          </ac:spMkLst>
        </pc:spChg>
        <pc:spChg chg="mod">
          <ac:chgData name="Manish Sharma" userId="97d895ad-8d7a-4884-8c18-743afd731b6f" providerId="ADAL" clId="{E2EE48C2-9300-42EB-ABDD-0EE0B95B309D}" dt="2020-11-09T20:09:07.167" v="1592" actId="6549"/>
          <ac:spMkLst>
            <pc:docMk/>
            <pc:sldMk cId="3705176354" sldId="428"/>
            <ac:spMk id="117" creationId="{00000000-0000-0000-0000-000000000000}"/>
          </ac:spMkLst>
        </pc:spChg>
        <pc:spChg chg="mod">
          <ac:chgData name="Manish Sharma" userId="97d895ad-8d7a-4884-8c18-743afd731b6f" providerId="ADAL" clId="{E2EE48C2-9300-42EB-ABDD-0EE0B95B309D}" dt="2020-11-09T20:08:46.639" v="1580" actId="14100"/>
          <ac:spMkLst>
            <pc:docMk/>
            <pc:sldMk cId="3705176354" sldId="428"/>
            <ac:spMk id="120" creationId="{00000000-0000-0000-0000-000000000000}"/>
          </ac:spMkLst>
        </pc:spChg>
        <pc:spChg chg="mod">
          <ac:chgData name="Manish Sharma" userId="97d895ad-8d7a-4884-8c18-743afd731b6f" providerId="ADAL" clId="{E2EE48C2-9300-42EB-ABDD-0EE0B95B309D}" dt="2020-11-09T20:08:46.639" v="1580" actId="14100"/>
          <ac:spMkLst>
            <pc:docMk/>
            <pc:sldMk cId="3705176354" sldId="428"/>
            <ac:spMk id="121" creationId="{00000000-0000-0000-0000-000000000000}"/>
          </ac:spMkLst>
        </pc:spChg>
        <pc:spChg chg="mod">
          <ac:chgData name="Manish Sharma" userId="97d895ad-8d7a-4884-8c18-743afd731b6f" providerId="ADAL" clId="{E2EE48C2-9300-42EB-ABDD-0EE0B95B309D}" dt="2020-11-09T20:08:46.639" v="1580" actId="14100"/>
          <ac:spMkLst>
            <pc:docMk/>
            <pc:sldMk cId="3705176354" sldId="428"/>
            <ac:spMk id="122" creationId="{00000000-0000-0000-0000-000000000000}"/>
          </ac:spMkLst>
        </pc:spChg>
        <pc:spChg chg="mod">
          <ac:chgData name="Manish Sharma" userId="97d895ad-8d7a-4884-8c18-743afd731b6f" providerId="ADAL" clId="{E2EE48C2-9300-42EB-ABDD-0EE0B95B309D}" dt="2020-11-09T19:36:13.767" v="1108" actId="20577"/>
          <ac:spMkLst>
            <pc:docMk/>
            <pc:sldMk cId="3705176354" sldId="428"/>
            <ac:spMk id="123" creationId="{00000000-0000-0000-0000-000000000000}"/>
          </ac:spMkLst>
        </pc:spChg>
        <pc:spChg chg="mod">
          <ac:chgData name="Manish Sharma" userId="97d895ad-8d7a-4884-8c18-743afd731b6f" providerId="ADAL" clId="{E2EE48C2-9300-42EB-ABDD-0EE0B95B309D}" dt="2020-11-09T20:08:33.664" v="1579" actId="20577"/>
          <ac:spMkLst>
            <pc:docMk/>
            <pc:sldMk cId="3705176354" sldId="428"/>
            <ac:spMk id="130" creationId="{00000000-0000-0000-0000-000000000000}"/>
          </ac:spMkLst>
        </pc:spChg>
        <pc:spChg chg="mod">
          <ac:chgData name="Manish Sharma" userId="97d895ad-8d7a-4884-8c18-743afd731b6f" providerId="ADAL" clId="{E2EE48C2-9300-42EB-ABDD-0EE0B95B309D}" dt="2020-11-09T20:08:27.941" v="1573" actId="1038"/>
          <ac:spMkLst>
            <pc:docMk/>
            <pc:sldMk cId="3705176354" sldId="428"/>
            <ac:spMk id="135" creationId="{00000000-0000-0000-0000-000000000000}"/>
          </ac:spMkLst>
        </pc:spChg>
        <pc:grpChg chg="mod">
          <ac:chgData name="Manish Sharma" userId="97d895ad-8d7a-4884-8c18-743afd731b6f" providerId="ADAL" clId="{E2EE48C2-9300-42EB-ABDD-0EE0B95B309D}" dt="2020-11-09T20:09:48.673" v="1598" actId="14100"/>
          <ac:grpSpMkLst>
            <pc:docMk/>
            <pc:sldMk cId="3705176354" sldId="428"/>
            <ac:grpSpMk id="80" creationId="{00000000-0000-0000-0000-000000000000}"/>
          </ac:grpSpMkLst>
        </pc:grpChg>
        <pc:grpChg chg="mod">
          <ac:chgData name="Manish Sharma" userId="97d895ad-8d7a-4884-8c18-743afd731b6f" providerId="ADAL" clId="{E2EE48C2-9300-42EB-ABDD-0EE0B95B309D}" dt="2020-11-09T20:09:28.912" v="1595" actId="14100"/>
          <ac:grpSpMkLst>
            <pc:docMk/>
            <pc:sldMk cId="3705176354" sldId="428"/>
            <ac:grpSpMk id="92" creationId="{00000000-0000-0000-0000-000000000000}"/>
          </ac:grpSpMkLst>
        </pc:grpChg>
        <pc:grpChg chg="mod">
          <ac:chgData name="Manish Sharma" userId="97d895ad-8d7a-4884-8c18-743afd731b6f" providerId="ADAL" clId="{E2EE48C2-9300-42EB-ABDD-0EE0B95B309D}" dt="2020-11-09T20:10:16.894" v="1599" actId="14100"/>
          <ac:grpSpMkLst>
            <pc:docMk/>
            <pc:sldMk cId="3705176354" sldId="428"/>
            <ac:grpSpMk id="104" creationId="{00000000-0000-0000-0000-000000000000}"/>
          </ac:grpSpMkLst>
        </pc:grpChg>
        <pc:grpChg chg="mod">
          <ac:chgData name="Manish Sharma" userId="97d895ad-8d7a-4884-8c18-743afd731b6f" providerId="ADAL" clId="{E2EE48C2-9300-42EB-ABDD-0EE0B95B309D}" dt="2020-11-09T20:09:32.209" v="1596" actId="14100"/>
          <ac:grpSpMkLst>
            <pc:docMk/>
            <pc:sldMk cId="3705176354" sldId="428"/>
            <ac:grpSpMk id="109" creationId="{00000000-0000-0000-0000-000000000000}"/>
          </ac:grpSpMkLst>
        </pc:grpChg>
        <pc:grpChg chg="mod">
          <ac:chgData name="Manish Sharma" userId="97d895ad-8d7a-4884-8c18-743afd731b6f" providerId="ADAL" clId="{E2EE48C2-9300-42EB-ABDD-0EE0B95B309D}" dt="2020-11-09T20:08:46.639" v="1580" actId="14100"/>
          <ac:grpSpMkLst>
            <pc:docMk/>
            <pc:sldMk cId="3705176354" sldId="428"/>
            <ac:grpSpMk id="119" creationId="{00000000-0000-0000-0000-000000000000}"/>
          </ac:grpSpMkLst>
        </pc:grpChg>
      </pc:sldChg>
      <pc:sldChg chg="addSp del mod">
        <pc:chgData name="Manish Sharma" userId="97d895ad-8d7a-4884-8c18-743afd731b6f" providerId="ADAL" clId="{E2EE48C2-9300-42EB-ABDD-0EE0B95B309D}" dt="2020-11-09T14:03:29.629" v="154" actId="47"/>
        <pc:sldMkLst>
          <pc:docMk/>
          <pc:sldMk cId="2872844160" sldId="440"/>
        </pc:sldMkLst>
        <pc:spChg chg="add">
          <ac:chgData name="Manish Sharma" userId="97d895ad-8d7a-4884-8c18-743afd731b6f" providerId="ADAL" clId="{E2EE48C2-9300-42EB-ABDD-0EE0B95B309D}" dt="2020-11-09T14:00:58.820" v="93" actId="22"/>
          <ac:spMkLst>
            <pc:docMk/>
            <pc:sldMk cId="2872844160" sldId="440"/>
            <ac:spMk id="3" creationId="{70CC289D-6FD0-49A2-A7F7-7F12FD192F6D}"/>
          </ac:spMkLst>
        </pc:spChg>
      </pc:sldChg>
      <pc:sldChg chg="addSp delSp modSp mod">
        <pc:chgData name="Manish Sharma" userId="97d895ad-8d7a-4884-8c18-743afd731b6f" providerId="ADAL" clId="{E2EE48C2-9300-42EB-ABDD-0EE0B95B309D}" dt="2020-11-10T22:19:30.910" v="3031" actId="33524"/>
        <pc:sldMkLst>
          <pc:docMk/>
          <pc:sldMk cId="3785293199" sldId="445"/>
        </pc:sldMkLst>
        <pc:spChg chg="mod">
          <ac:chgData name="Manish Sharma" userId="97d895ad-8d7a-4884-8c18-743afd731b6f" providerId="ADAL" clId="{E2EE48C2-9300-42EB-ABDD-0EE0B95B309D}" dt="2020-11-10T22:19:11.973" v="3010" actId="20577"/>
          <ac:spMkLst>
            <pc:docMk/>
            <pc:sldMk cId="3785293199" sldId="445"/>
            <ac:spMk id="2" creationId="{00000000-0000-0000-0000-000000000000}"/>
          </ac:spMkLst>
        </pc:spChg>
        <pc:spChg chg="mod">
          <ac:chgData name="Manish Sharma" userId="97d895ad-8d7a-4884-8c18-743afd731b6f" providerId="ADAL" clId="{E2EE48C2-9300-42EB-ABDD-0EE0B95B309D}" dt="2020-11-10T22:19:30.910" v="3031" actId="33524"/>
          <ac:spMkLst>
            <pc:docMk/>
            <pc:sldMk cId="3785293199" sldId="445"/>
            <ac:spMk id="3" creationId="{0672AE6E-4D99-4C0B-A871-FED7F8F4E81D}"/>
          </ac:spMkLst>
        </pc:spChg>
        <pc:spChg chg="mod">
          <ac:chgData name="Manish Sharma" userId="97d895ad-8d7a-4884-8c18-743afd731b6f" providerId="ADAL" clId="{E2EE48C2-9300-42EB-ABDD-0EE0B95B309D}" dt="2020-11-10T22:19:20.914" v="3021" actId="20577"/>
          <ac:spMkLst>
            <pc:docMk/>
            <pc:sldMk cId="3785293199" sldId="445"/>
            <ac:spMk id="5" creationId="{57DA03D2-BDDD-4B29-A79F-3BCEC511705B}"/>
          </ac:spMkLst>
        </pc:spChg>
        <pc:spChg chg="add del">
          <ac:chgData name="Manish Sharma" userId="97d895ad-8d7a-4884-8c18-743afd731b6f" providerId="ADAL" clId="{E2EE48C2-9300-42EB-ABDD-0EE0B95B309D}" dt="2020-11-10T22:04:02.914" v="2908" actId="478"/>
          <ac:spMkLst>
            <pc:docMk/>
            <pc:sldMk cId="3785293199" sldId="445"/>
            <ac:spMk id="6" creationId="{66814078-5D8D-48B1-9E0F-1AC99F372EBD}"/>
          </ac:spMkLst>
        </pc:spChg>
        <pc:spChg chg="mod">
          <ac:chgData name="Manish Sharma" userId="97d895ad-8d7a-4884-8c18-743afd731b6f" providerId="ADAL" clId="{E2EE48C2-9300-42EB-ABDD-0EE0B95B309D}" dt="2020-11-10T22:19:25.641" v="3030" actId="20577"/>
          <ac:spMkLst>
            <pc:docMk/>
            <pc:sldMk cId="3785293199" sldId="445"/>
            <ac:spMk id="14" creationId="{3ADA01F1-3B4B-4FAA-84E6-17ACC70140F8}"/>
          </ac:spMkLst>
        </pc:spChg>
        <pc:spChg chg="mod">
          <ac:chgData name="Manish Sharma" userId="97d895ad-8d7a-4884-8c18-743afd731b6f" providerId="ADAL" clId="{E2EE48C2-9300-42EB-ABDD-0EE0B95B309D}" dt="2020-11-10T22:13:09.909" v="2960"/>
          <ac:spMkLst>
            <pc:docMk/>
            <pc:sldMk cId="3785293199" sldId="445"/>
            <ac:spMk id="25" creationId="{2A68DE28-217C-4D58-BA92-1AC7776A922E}"/>
          </ac:spMkLst>
        </pc:spChg>
        <pc:spChg chg="mod">
          <ac:chgData name="Manish Sharma" userId="97d895ad-8d7a-4884-8c18-743afd731b6f" providerId="ADAL" clId="{E2EE48C2-9300-42EB-ABDD-0EE0B95B309D}" dt="2020-11-10T22:13:57.259" v="2964" actId="14100"/>
          <ac:spMkLst>
            <pc:docMk/>
            <pc:sldMk cId="3785293199" sldId="445"/>
            <ac:spMk id="27" creationId="{813FD8F9-6E60-45F9-A8B5-18176FF3E434}"/>
          </ac:spMkLst>
        </pc:spChg>
        <pc:spChg chg="mod">
          <ac:chgData name="Manish Sharma" userId="97d895ad-8d7a-4884-8c18-743afd731b6f" providerId="ADAL" clId="{E2EE48C2-9300-42EB-ABDD-0EE0B95B309D}" dt="2020-11-10T22:13:37.477" v="2961"/>
          <ac:spMkLst>
            <pc:docMk/>
            <pc:sldMk cId="3785293199" sldId="445"/>
            <ac:spMk id="29" creationId="{72CB840D-447D-492C-A14A-718942E7B821}"/>
          </ac:spMkLst>
        </pc:spChg>
        <pc:spChg chg="mod">
          <ac:chgData name="Manish Sharma" userId="97d895ad-8d7a-4884-8c18-743afd731b6f" providerId="ADAL" clId="{E2EE48C2-9300-42EB-ABDD-0EE0B95B309D}" dt="2020-11-10T22:13:00.092" v="2959" actId="20577"/>
          <ac:spMkLst>
            <pc:docMk/>
            <pc:sldMk cId="3785293199" sldId="445"/>
            <ac:spMk id="56" creationId="{3280F2A9-5208-4D26-B8F6-7B5775F8A555}"/>
          </ac:spMkLst>
        </pc:spChg>
        <pc:graphicFrameChg chg="mod modGraphic">
          <ac:chgData name="Manish Sharma" userId="97d895ad-8d7a-4884-8c18-743afd731b6f" providerId="ADAL" clId="{E2EE48C2-9300-42EB-ABDD-0EE0B95B309D}" dt="2020-11-10T22:04:54.901" v="2936"/>
          <ac:graphicFrameMkLst>
            <pc:docMk/>
            <pc:sldMk cId="3785293199" sldId="445"/>
            <ac:graphicFrameMk id="53" creationId="{E5833FD7-3504-4AE9-9C58-79A4D525D16B}"/>
          </ac:graphicFrameMkLst>
        </pc:graphicFrameChg>
        <pc:graphicFrameChg chg="mod modGraphic">
          <ac:chgData name="Manish Sharma" userId="97d895ad-8d7a-4884-8c18-743afd731b6f" providerId="ADAL" clId="{E2EE48C2-9300-42EB-ABDD-0EE0B95B309D}" dt="2020-11-10T22:05:08.293" v="2938" actId="122"/>
          <ac:graphicFrameMkLst>
            <pc:docMk/>
            <pc:sldMk cId="3785293199" sldId="445"/>
            <ac:graphicFrameMk id="55" creationId="{A7A9C0A9-652B-44C1-AFD0-CA965CA34DBB}"/>
          </ac:graphicFrameMkLst>
        </pc:graphicFrameChg>
        <pc:cxnChg chg="mod">
          <ac:chgData name="Manish Sharma" userId="97d895ad-8d7a-4884-8c18-743afd731b6f" providerId="ADAL" clId="{E2EE48C2-9300-42EB-ABDD-0EE0B95B309D}" dt="2020-11-10T22:13:09.909" v="2960"/>
          <ac:cxnSpMkLst>
            <pc:docMk/>
            <pc:sldMk cId="3785293199" sldId="445"/>
            <ac:cxnSpMk id="26" creationId="{E0400683-ABD0-44CD-A290-42A6F4B8ADBF}"/>
          </ac:cxnSpMkLst>
        </pc:cxnChg>
        <pc:cxnChg chg="mod">
          <ac:chgData name="Manish Sharma" userId="97d895ad-8d7a-4884-8c18-743afd731b6f" providerId="ADAL" clId="{E2EE48C2-9300-42EB-ABDD-0EE0B95B309D}" dt="2020-11-10T22:13:57.259" v="2964" actId="14100"/>
          <ac:cxnSpMkLst>
            <pc:docMk/>
            <pc:sldMk cId="3785293199" sldId="445"/>
            <ac:cxnSpMk id="28" creationId="{7E176FA6-7F35-4FD5-BCD2-7C2136CFFAA3}"/>
          </ac:cxnSpMkLst>
        </pc:cxnChg>
      </pc:sldChg>
      <pc:sldChg chg="addSp delSp modSp mod">
        <pc:chgData name="Manish Sharma" userId="97d895ad-8d7a-4884-8c18-743afd731b6f" providerId="ADAL" clId="{E2EE48C2-9300-42EB-ABDD-0EE0B95B309D}" dt="2020-11-11T03:03:48.654" v="3635" actId="1038"/>
        <pc:sldMkLst>
          <pc:docMk/>
          <pc:sldMk cId="2762800380" sldId="448"/>
        </pc:sldMkLst>
        <pc:spChg chg="mod">
          <ac:chgData name="Manish Sharma" userId="97d895ad-8d7a-4884-8c18-743afd731b6f" providerId="ADAL" clId="{E2EE48C2-9300-42EB-ABDD-0EE0B95B309D}" dt="2020-11-10T22:40:44.475" v="3070" actId="20577"/>
          <ac:spMkLst>
            <pc:docMk/>
            <pc:sldMk cId="2762800380" sldId="448"/>
            <ac:spMk id="2" creationId="{00000000-0000-0000-0000-000000000000}"/>
          </ac:spMkLst>
        </pc:spChg>
        <pc:spChg chg="add del">
          <ac:chgData name="Manish Sharma" userId="97d895ad-8d7a-4884-8c18-743afd731b6f" providerId="ADAL" clId="{E2EE48C2-9300-42EB-ABDD-0EE0B95B309D}" dt="2020-11-10T22:40:48.185" v="3071" actId="478"/>
          <ac:spMkLst>
            <pc:docMk/>
            <pc:sldMk cId="2762800380" sldId="448"/>
            <ac:spMk id="3" creationId="{4DC1985C-9EE8-4B00-A6F4-1F50E06CA00C}"/>
          </ac:spMkLst>
        </pc:spChg>
        <pc:spChg chg="del">
          <ac:chgData name="Manish Sharma" userId="97d895ad-8d7a-4884-8c18-743afd731b6f" providerId="ADAL" clId="{E2EE48C2-9300-42EB-ABDD-0EE0B95B309D}" dt="2020-11-11T02:51:24.232" v="3097" actId="478"/>
          <ac:spMkLst>
            <pc:docMk/>
            <pc:sldMk cId="2762800380" sldId="448"/>
            <ac:spMk id="7" creationId="{09E2691E-B29D-45D6-AAB6-ABF31D80F444}"/>
          </ac:spMkLst>
        </pc:spChg>
        <pc:spChg chg="mod">
          <ac:chgData name="Manish Sharma" userId="97d895ad-8d7a-4884-8c18-743afd731b6f" providerId="ADAL" clId="{E2EE48C2-9300-42EB-ABDD-0EE0B95B309D}" dt="2020-11-11T02:51:40.198" v="3101" actId="1076"/>
          <ac:spMkLst>
            <pc:docMk/>
            <pc:sldMk cId="2762800380" sldId="448"/>
            <ac:spMk id="8" creationId="{0F250931-7AE3-41E3-A718-D4E1AD2BB6FC}"/>
          </ac:spMkLst>
        </pc:spChg>
        <pc:spChg chg="mod">
          <ac:chgData name="Manish Sharma" userId="97d895ad-8d7a-4884-8c18-743afd731b6f" providerId="ADAL" clId="{E2EE48C2-9300-42EB-ABDD-0EE0B95B309D}" dt="2020-11-11T02:51:35.148" v="3100" actId="1076"/>
          <ac:spMkLst>
            <pc:docMk/>
            <pc:sldMk cId="2762800380" sldId="448"/>
            <ac:spMk id="11" creationId="{5109CF6C-4157-403A-8F06-2DA5CB32E773}"/>
          </ac:spMkLst>
        </pc:spChg>
        <pc:spChg chg="mod">
          <ac:chgData name="Manish Sharma" userId="97d895ad-8d7a-4884-8c18-743afd731b6f" providerId="ADAL" clId="{E2EE48C2-9300-42EB-ABDD-0EE0B95B309D}" dt="2020-11-10T22:41:09.065" v="3087" actId="20577"/>
          <ac:spMkLst>
            <pc:docMk/>
            <pc:sldMk cId="2762800380" sldId="448"/>
            <ac:spMk id="19" creationId="{8D9A2195-E46A-4A5C-BD11-87B61401C498}"/>
          </ac:spMkLst>
        </pc:spChg>
        <pc:spChg chg="mod">
          <ac:chgData name="Manish Sharma" userId="97d895ad-8d7a-4884-8c18-743afd731b6f" providerId="ADAL" clId="{E2EE48C2-9300-42EB-ABDD-0EE0B95B309D}" dt="2020-11-10T22:41:03.116" v="3078" actId="14100"/>
          <ac:spMkLst>
            <pc:docMk/>
            <pc:sldMk cId="2762800380" sldId="448"/>
            <ac:spMk id="41" creationId="{45964E5A-BE5E-45C2-8E43-74F4B9DD344A}"/>
          </ac:spMkLst>
        </pc:spChg>
        <pc:spChg chg="mod">
          <ac:chgData name="Manish Sharma" userId="97d895ad-8d7a-4884-8c18-743afd731b6f" providerId="ADAL" clId="{E2EE48C2-9300-42EB-ABDD-0EE0B95B309D}" dt="2020-11-10T22:41:03.116" v="3078" actId="14100"/>
          <ac:spMkLst>
            <pc:docMk/>
            <pc:sldMk cId="2762800380" sldId="448"/>
            <ac:spMk id="44" creationId="{51E3BAEC-16CE-4528-B1C9-357E4FA66480}"/>
          </ac:spMkLst>
        </pc:spChg>
        <pc:spChg chg="mod">
          <ac:chgData name="Manish Sharma" userId="97d895ad-8d7a-4884-8c18-743afd731b6f" providerId="ADAL" clId="{E2EE48C2-9300-42EB-ABDD-0EE0B95B309D}" dt="2020-11-10T22:41:03.116" v="3078" actId="14100"/>
          <ac:spMkLst>
            <pc:docMk/>
            <pc:sldMk cId="2762800380" sldId="448"/>
            <ac:spMk id="45" creationId="{EBCBCBD1-E21B-4393-8D88-21097657E3FB}"/>
          </ac:spMkLst>
        </pc:spChg>
        <pc:spChg chg="mod">
          <ac:chgData name="Manish Sharma" userId="97d895ad-8d7a-4884-8c18-743afd731b6f" providerId="ADAL" clId="{E2EE48C2-9300-42EB-ABDD-0EE0B95B309D}" dt="2020-11-10T22:41:03.116" v="3078" actId="14100"/>
          <ac:spMkLst>
            <pc:docMk/>
            <pc:sldMk cId="2762800380" sldId="448"/>
            <ac:spMk id="46" creationId="{706A9863-1AD8-497E-8475-4F9C3C938702}"/>
          </ac:spMkLst>
        </pc:spChg>
        <pc:spChg chg="mod">
          <ac:chgData name="Manish Sharma" userId="97d895ad-8d7a-4884-8c18-743afd731b6f" providerId="ADAL" clId="{E2EE48C2-9300-42EB-ABDD-0EE0B95B309D}" dt="2020-11-10T22:41:03.116" v="3078" actId="14100"/>
          <ac:spMkLst>
            <pc:docMk/>
            <pc:sldMk cId="2762800380" sldId="448"/>
            <ac:spMk id="47" creationId="{6928B57C-8C22-45F2-AE7C-2AFDD3C368DB}"/>
          </ac:spMkLst>
        </pc:spChg>
        <pc:spChg chg="mod">
          <ac:chgData name="Manish Sharma" userId="97d895ad-8d7a-4884-8c18-743afd731b6f" providerId="ADAL" clId="{E2EE48C2-9300-42EB-ABDD-0EE0B95B309D}" dt="2020-11-11T03:03:48.654" v="3635" actId="1038"/>
          <ac:spMkLst>
            <pc:docMk/>
            <pc:sldMk cId="2762800380" sldId="448"/>
            <ac:spMk id="48" creationId="{550B5241-A055-4A97-AFA6-0C804F2553E0}"/>
          </ac:spMkLst>
        </pc:spChg>
        <pc:spChg chg="mod">
          <ac:chgData name="Manish Sharma" userId="97d895ad-8d7a-4884-8c18-743afd731b6f" providerId="ADAL" clId="{E2EE48C2-9300-42EB-ABDD-0EE0B95B309D}" dt="2020-11-11T03:03:38.927" v="3613" actId="20577"/>
          <ac:spMkLst>
            <pc:docMk/>
            <pc:sldMk cId="2762800380" sldId="448"/>
            <ac:spMk id="80" creationId="{6F5A7825-C260-4831-9B48-001AB9DF90D5}"/>
          </ac:spMkLst>
        </pc:spChg>
        <pc:grpChg chg="mod">
          <ac:chgData name="Manish Sharma" userId="97d895ad-8d7a-4884-8c18-743afd731b6f" providerId="ADAL" clId="{E2EE48C2-9300-42EB-ABDD-0EE0B95B309D}" dt="2020-11-10T22:41:03.116" v="3078" actId="14100"/>
          <ac:grpSpMkLst>
            <pc:docMk/>
            <pc:sldMk cId="2762800380" sldId="448"/>
            <ac:grpSpMk id="12" creationId="{2FFA7AA6-EF1B-47F4-83B4-7ADD97B76433}"/>
          </ac:grpSpMkLst>
        </pc:grpChg>
        <pc:grpChg chg="mod">
          <ac:chgData name="Manish Sharma" userId="97d895ad-8d7a-4884-8c18-743afd731b6f" providerId="ADAL" clId="{E2EE48C2-9300-42EB-ABDD-0EE0B95B309D}" dt="2020-11-10T22:41:03.116" v="3078" actId="14100"/>
          <ac:grpSpMkLst>
            <pc:docMk/>
            <pc:sldMk cId="2762800380" sldId="448"/>
            <ac:grpSpMk id="42" creationId="{88DAE97C-633A-4A00-9D3B-FF12DDC9AD78}"/>
          </ac:grpSpMkLst>
        </pc:grpChg>
        <pc:picChg chg="add mod ord">
          <ac:chgData name="Manish Sharma" userId="97d895ad-8d7a-4884-8c18-743afd731b6f" providerId="ADAL" clId="{E2EE48C2-9300-42EB-ABDD-0EE0B95B309D}" dt="2020-11-11T02:51:12.487" v="3094" actId="167"/>
          <ac:picMkLst>
            <pc:docMk/>
            <pc:sldMk cId="2762800380" sldId="448"/>
            <ac:picMk id="5" creationId="{2712C02F-B9AC-4318-BB9B-11AFEEA38120}"/>
          </ac:picMkLst>
        </pc:picChg>
        <pc:picChg chg="del">
          <ac:chgData name="Manish Sharma" userId="97d895ad-8d7a-4884-8c18-743afd731b6f" providerId="ADAL" clId="{E2EE48C2-9300-42EB-ABDD-0EE0B95B309D}" dt="2020-11-11T02:34:50.886" v="3088" actId="478"/>
          <ac:picMkLst>
            <pc:docMk/>
            <pc:sldMk cId="2762800380" sldId="448"/>
            <ac:picMk id="6" creationId="{0741E425-97CD-4533-8570-37E8FEDCD051}"/>
          </ac:picMkLst>
        </pc:picChg>
      </pc:sldChg>
      <pc:sldChg chg="addSp delSp modSp mod">
        <pc:chgData name="Manish Sharma" userId="97d895ad-8d7a-4884-8c18-743afd731b6f" providerId="ADAL" clId="{E2EE48C2-9300-42EB-ABDD-0EE0B95B309D}" dt="2020-11-11T21:29:45.680" v="7493" actId="20577"/>
        <pc:sldMkLst>
          <pc:docMk/>
          <pc:sldMk cId="780727013" sldId="452"/>
        </pc:sldMkLst>
        <pc:spChg chg="mod">
          <ac:chgData name="Manish Sharma" userId="97d895ad-8d7a-4884-8c18-743afd731b6f" providerId="ADAL" clId="{E2EE48C2-9300-42EB-ABDD-0EE0B95B309D}" dt="2020-11-11T03:03:56.393" v="3645" actId="20577"/>
          <ac:spMkLst>
            <pc:docMk/>
            <pc:sldMk cId="780727013" sldId="452"/>
            <ac:spMk id="2" creationId="{00000000-0000-0000-0000-000000000000}"/>
          </ac:spMkLst>
        </pc:spChg>
        <pc:spChg chg="add del">
          <ac:chgData name="Manish Sharma" userId="97d895ad-8d7a-4884-8c18-743afd731b6f" providerId="ADAL" clId="{E2EE48C2-9300-42EB-ABDD-0EE0B95B309D}" dt="2020-11-11T03:03:52.529" v="3636" actId="478"/>
          <ac:spMkLst>
            <pc:docMk/>
            <pc:sldMk cId="780727013" sldId="452"/>
            <ac:spMk id="4" creationId="{F03292D1-C203-4DEB-ABEA-932B2DA4AA71}"/>
          </ac:spMkLst>
        </pc:spChg>
        <pc:spChg chg="mod">
          <ac:chgData name="Manish Sharma" userId="97d895ad-8d7a-4884-8c18-743afd731b6f" providerId="ADAL" clId="{E2EE48C2-9300-42EB-ABDD-0EE0B95B309D}" dt="2020-11-11T03:14:25.006" v="3723" actId="14100"/>
          <ac:spMkLst>
            <pc:docMk/>
            <pc:sldMk cId="780727013" sldId="452"/>
            <ac:spMk id="8" creationId="{002C3AD6-2F5E-4534-B638-C704D9D3D569}"/>
          </ac:spMkLst>
        </pc:spChg>
        <pc:spChg chg="mod">
          <ac:chgData name="Manish Sharma" userId="97d895ad-8d7a-4884-8c18-743afd731b6f" providerId="ADAL" clId="{E2EE48C2-9300-42EB-ABDD-0EE0B95B309D}" dt="2020-11-11T03:11:23.916" v="3721" actId="1035"/>
          <ac:spMkLst>
            <pc:docMk/>
            <pc:sldMk cId="780727013" sldId="452"/>
            <ac:spMk id="9" creationId="{BE896D1A-4DC9-460D-A48A-70595726F044}"/>
          </ac:spMkLst>
        </pc:spChg>
        <pc:spChg chg="add mod">
          <ac:chgData name="Manish Sharma" userId="97d895ad-8d7a-4884-8c18-743afd731b6f" providerId="ADAL" clId="{E2EE48C2-9300-42EB-ABDD-0EE0B95B309D}" dt="2020-11-11T03:14:36.863" v="3724" actId="207"/>
          <ac:spMkLst>
            <pc:docMk/>
            <pc:sldMk cId="780727013" sldId="452"/>
            <ac:spMk id="11" creationId="{0B94B40B-7832-46D5-B46C-5B66F529AF88}"/>
          </ac:spMkLst>
        </pc:spChg>
        <pc:spChg chg="mod">
          <ac:chgData name="Manish Sharma" userId="97d895ad-8d7a-4884-8c18-743afd731b6f" providerId="ADAL" clId="{E2EE48C2-9300-42EB-ABDD-0EE0B95B309D}" dt="2020-11-11T03:28:39.658" v="4117" actId="20577"/>
          <ac:spMkLst>
            <pc:docMk/>
            <pc:sldMk cId="780727013" sldId="452"/>
            <ac:spMk id="15" creationId="{7F764852-256F-49DF-B500-7AB466E1A418}"/>
          </ac:spMkLst>
        </pc:spChg>
        <pc:spChg chg="mod">
          <ac:chgData name="Manish Sharma" userId="97d895ad-8d7a-4884-8c18-743afd731b6f" providerId="ADAL" clId="{E2EE48C2-9300-42EB-ABDD-0EE0B95B309D}" dt="2020-11-11T21:29:45.680" v="7493" actId="20577"/>
          <ac:spMkLst>
            <pc:docMk/>
            <pc:sldMk cId="780727013" sldId="452"/>
            <ac:spMk id="19" creationId="{A5637282-18F0-4AB5-8A7A-D839BEAE8C8E}"/>
          </ac:spMkLst>
        </pc:spChg>
        <pc:spChg chg="mod">
          <ac:chgData name="Manish Sharma" userId="97d895ad-8d7a-4884-8c18-743afd731b6f" providerId="ADAL" clId="{E2EE48C2-9300-42EB-ABDD-0EE0B95B309D}" dt="2020-11-11T03:04:14.710" v="3648" actId="14100"/>
          <ac:spMkLst>
            <pc:docMk/>
            <pc:sldMk cId="780727013" sldId="452"/>
            <ac:spMk id="26" creationId="{57104545-F8E9-434B-A0B6-77A034D113B9}"/>
          </ac:spMkLst>
        </pc:spChg>
        <pc:spChg chg="mod">
          <ac:chgData name="Manish Sharma" userId="97d895ad-8d7a-4884-8c18-743afd731b6f" providerId="ADAL" clId="{E2EE48C2-9300-42EB-ABDD-0EE0B95B309D}" dt="2020-11-11T03:04:14.710" v="3648" actId="14100"/>
          <ac:spMkLst>
            <pc:docMk/>
            <pc:sldMk cId="780727013" sldId="452"/>
            <ac:spMk id="28" creationId="{DE1FCFDF-848D-4479-B9CD-70D6D0FD7B86}"/>
          </ac:spMkLst>
        </pc:spChg>
        <pc:spChg chg="mod">
          <ac:chgData name="Manish Sharma" userId="97d895ad-8d7a-4884-8c18-743afd731b6f" providerId="ADAL" clId="{E2EE48C2-9300-42EB-ABDD-0EE0B95B309D}" dt="2020-11-11T03:04:14.710" v="3648" actId="14100"/>
          <ac:spMkLst>
            <pc:docMk/>
            <pc:sldMk cId="780727013" sldId="452"/>
            <ac:spMk id="29" creationId="{4DA7A29A-D95C-40B8-A5EF-CBEBDD3540F4}"/>
          </ac:spMkLst>
        </pc:spChg>
        <pc:spChg chg="mod">
          <ac:chgData name="Manish Sharma" userId="97d895ad-8d7a-4884-8c18-743afd731b6f" providerId="ADAL" clId="{E2EE48C2-9300-42EB-ABDD-0EE0B95B309D}" dt="2020-11-11T03:04:14.710" v="3648" actId="14100"/>
          <ac:spMkLst>
            <pc:docMk/>
            <pc:sldMk cId="780727013" sldId="452"/>
            <ac:spMk id="30" creationId="{5346693D-031F-47AA-B5A4-A8133A9642B0}"/>
          </ac:spMkLst>
        </pc:spChg>
        <pc:spChg chg="mod">
          <ac:chgData name="Manish Sharma" userId="97d895ad-8d7a-4884-8c18-743afd731b6f" providerId="ADAL" clId="{E2EE48C2-9300-42EB-ABDD-0EE0B95B309D}" dt="2020-11-11T03:04:14.710" v="3648" actId="14100"/>
          <ac:spMkLst>
            <pc:docMk/>
            <pc:sldMk cId="780727013" sldId="452"/>
            <ac:spMk id="31" creationId="{CE2BF30C-948B-4A4B-80B6-EB64BBBBC1C2}"/>
          </ac:spMkLst>
        </pc:spChg>
        <pc:spChg chg="mod">
          <ac:chgData name="Manish Sharma" userId="97d895ad-8d7a-4884-8c18-743afd731b6f" providerId="ADAL" clId="{E2EE48C2-9300-42EB-ABDD-0EE0B95B309D}" dt="2020-11-11T03:10:31.421" v="3708" actId="1038"/>
          <ac:spMkLst>
            <pc:docMk/>
            <pc:sldMk cId="780727013" sldId="452"/>
            <ac:spMk id="49" creationId="{4593EDF8-B17E-4F23-96F2-7B57265E27C7}"/>
          </ac:spMkLst>
        </pc:spChg>
        <pc:grpChg chg="mod">
          <ac:chgData name="Manish Sharma" userId="97d895ad-8d7a-4884-8c18-743afd731b6f" providerId="ADAL" clId="{E2EE48C2-9300-42EB-ABDD-0EE0B95B309D}" dt="2020-11-11T03:04:14.710" v="3648" actId="14100"/>
          <ac:grpSpMkLst>
            <pc:docMk/>
            <pc:sldMk cId="780727013" sldId="452"/>
            <ac:grpSpMk id="25" creationId="{36C41730-27C6-4116-A7A5-CD6A25361E67}"/>
          </ac:grpSpMkLst>
        </pc:grpChg>
        <pc:grpChg chg="mod">
          <ac:chgData name="Manish Sharma" userId="97d895ad-8d7a-4884-8c18-743afd731b6f" providerId="ADAL" clId="{E2EE48C2-9300-42EB-ABDD-0EE0B95B309D}" dt="2020-11-11T03:04:14.710" v="3648" actId="14100"/>
          <ac:grpSpMkLst>
            <pc:docMk/>
            <pc:sldMk cId="780727013" sldId="452"/>
            <ac:grpSpMk id="27" creationId="{0665A04C-8840-44E3-95C8-BFB8019B6818}"/>
          </ac:grpSpMkLst>
        </pc:grpChg>
        <pc:graphicFrameChg chg="modGraphic">
          <ac:chgData name="Manish Sharma" userId="97d895ad-8d7a-4884-8c18-743afd731b6f" providerId="ADAL" clId="{E2EE48C2-9300-42EB-ABDD-0EE0B95B309D}" dt="2020-11-11T03:10:05.196" v="3689" actId="20577"/>
          <ac:graphicFrameMkLst>
            <pc:docMk/>
            <pc:sldMk cId="780727013" sldId="452"/>
            <ac:graphicFrameMk id="10" creationId="{215B3BAA-C7A4-4B52-A79A-C282D5DEF2CC}"/>
          </ac:graphicFrameMkLst>
        </pc:graphicFrameChg>
        <pc:graphicFrameChg chg="mod">
          <ac:chgData name="Manish Sharma" userId="97d895ad-8d7a-4884-8c18-743afd731b6f" providerId="ADAL" clId="{E2EE48C2-9300-42EB-ABDD-0EE0B95B309D}" dt="2020-11-11T03:09:29.695" v="3656" actId="167"/>
          <ac:graphicFrameMkLst>
            <pc:docMk/>
            <pc:sldMk cId="780727013" sldId="452"/>
            <ac:graphicFrameMk id="54" creationId="{44D29F89-7081-414E-A101-DC38F8B2D7B9}"/>
          </ac:graphicFrameMkLst>
        </pc:graphicFrameChg>
        <pc:picChg chg="del">
          <ac:chgData name="Manish Sharma" userId="97d895ad-8d7a-4884-8c18-743afd731b6f" providerId="ADAL" clId="{E2EE48C2-9300-42EB-ABDD-0EE0B95B309D}" dt="2020-11-11T03:10:26.260" v="3694" actId="478"/>
          <ac:picMkLst>
            <pc:docMk/>
            <pc:sldMk cId="780727013" sldId="452"/>
            <ac:picMk id="6" creationId="{4FF1D227-4F86-4B03-B67D-EEF313CB26B0}"/>
          </ac:picMkLst>
        </pc:picChg>
        <pc:picChg chg="add mod ord">
          <ac:chgData name="Manish Sharma" userId="97d895ad-8d7a-4884-8c18-743afd731b6f" providerId="ADAL" clId="{E2EE48C2-9300-42EB-ABDD-0EE0B95B309D}" dt="2020-11-11T03:10:59.255" v="3713" actId="167"/>
          <ac:picMkLst>
            <pc:docMk/>
            <pc:sldMk cId="780727013" sldId="452"/>
            <ac:picMk id="7" creationId="{B3F51A27-9FCE-4555-9160-3ED8796C3B16}"/>
          </ac:picMkLst>
        </pc:picChg>
      </pc:sldChg>
      <pc:sldChg chg="del">
        <pc:chgData name="Manish Sharma" userId="97d895ad-8d7a-4884-8c18-743afd731b6f" providerId="ADAL" clId="{E2EE48C2-9300-42EB-ABDD-0EE0B95B309D}" dt="2020-11-09T14:01:18.447" v="107" actId="47"/>
        <pc:sldMkLst>
          <pc:docMk/>
          <pc:sldMk cId="318827490" sldId="456"/>
        </pc:sldMkLst>
      </pc:sldChg>
      <pc:sldChg chg="del">
        <pc:chgData name="Manish Sharma" userId="97d895ad-8d7a-4884-8c18-743afd731b6f" providerId="ADAL" clId="{E2EE48C2-9300-42EB-ABDD-0EE0B95B309D}" dt="2020-11-09T14:01:18.686" v="108" actId="47"/>
        <pc:sldMkLst>
          <pc:docMk/>
          <pc:sldMk cId="64462132" sldId="457"/>
        </pc:sldMkLst>
      </pc:sldChg>
      <pc:sldChg chg="del">
        <pc:chgData name="Manish Sharma" userId="97d895ad-8d7a-4884-8c18-743afd731b6f" providerId="ADAL" clId="{E2EE48C2-9300-42EB-ABDD-0EE0B95B309D}" dt="2020-11-09T14:01:19.078" v="109" actId="47"/>
        <pc:sldMkLst>
          <pc:docMk/>
          <pc:sldMk cId="1282065873" sldId="458"/>
        </pc:sldMkLst>
      </pc:sldChg>
      <pc:sldChg chg="del">
        <pc:chgData name="Manish Sharma" userId="97d895ad-8d7a-4884-8c18-743afd731b6f" providerId="ADAL" clId="{E2EE48C2-9300-42EB-ABDD-0EE0B95B309D}" dt="2020-11-09T14:01:19.547" v="110" actId="47"/>
        <pc:sldMkLst>
          <pc:docMk/>
          <pc:sldMk cId="2955311574" sldId="459"/>
        </pc:sldMkLst>
      </pc:sldChg>
      <pc:sldChg chg="del">
        <pc:chgData name="Manish Sharma" userId="97d895ad-8d7a-4884-8c18-743afd731b6f" providerId="ADAL" clId="{E2EE48C2-9300-42EB-ABDD-0EE0B95B309D}" dt="2020-11-09T14:01:23.645" v="116" actId="47"/>
        <pc:sldMkLst>
          <pc:docMk/>
          <pc:sldMk cId="1606788452" sldId="463"/>
        </pc:sldMkLst>
      </pc:sldChg>
      <pc:sldChg chg="del">
        <pc:chgData name="Manish Sharma" userId="97d895ad-8d7a-4884-8c18-743afd731b6f" providerId="ADAL" clId="{E2EE48C2-9300-42EB-ABDD-0EE0B95B309D}" dt="2020-11-09T14:01:24.963" v="117" actId="47"/>
        <pc:sldMkLst>
          <pc:docMk/>
          <pc:sldMk cId="1229755797" sldId="464"/>
        </pc:sldMkLst>
      </pc:sldChg>
      <pc:sldChg chg="del">
        <pc:chgData name="Manish Sharma" userId="97d895ad-8d7a-4884-8c18-743afd731b6f" providerId="ADAL" clId="{E2EE48C2-9300-42EB-ABDD-0EE0B95B309D}" dt="2020-11-09T14:01:16.671" v="105" actId="47"/>
        <pc:sldMkLst>
          <pc:docMk/>
          <pc:sldMk cId="1684810098" sldId="481"/>
        </pc:sldMkLst>
      </pc:sldChg>
      <pc:sldChg chg="addSp del mod">
        <pc:chgData name="Manish Sharma" userId="97d895ad-8d7a-4884-8c18-743afd731b6f" providerId="ADAL" clId="{E2EE48C2-9300-42EB-ABDD-0EE0B95B309D}" dt="2020-11-09T14:03:21.342" v="152" actId="47"/>
        <pc:sldMkLst>
          <pc:docMk/>
          <pc:sldMk cId="1800981068" sldId="483"/>
        </pc:sldMkLst>
        <pc:spChg chg="add">
          <ac:chgData name="Manish Sharma" userId="97d895ad-8d7a-4884-8c18-743afd731b6f" providerId="ADAL" clId="{E2EE48C2-9300-42EB-ABDD-0EE0B95B309D}" dt="2020-11-09T14:01:43.932" v="120" actId="22"/>
          <ac:spMkLst>
            <pc:docMk/>
            <pc:sldMk cId="1800981068" sldId="483"/>
            <ac:spMk id="4" creationId="{7F362A7D-41FF-4DE1-969C-9BAB42E60578}"/>
          </ac:spMkLst>
        </pc:spChg>
      </pc:sldChg>
      <pc:sldChg chg="addSp delSp modSp mod">
        <pc:chgData name="Manish Sharma" userId="97d895ad-8d7a-4884-8c18-743afd731b6f" providerId="ADAL" clId="{E2EE48C2-9300-42EB-ABDD-0EE0B95B309D}" dt="2020-11-11T23:11:43.299" v="7905" actId="2"/>
        <pc:sldMkLst>
          <pc:docMk/>
          <pc:sldMk cId="3773836689" sldId="491"/>
        </pc:sldMkLst>
        <pc:spChg chg="mod">
          <ac:chgData name="Manish Sharma" userId="97d895ad-8d7a-4884-8c18-743afd731b6f" providerId="ADAL" clId="{E2EE48C2-9300-42EB-ABDD-0EE0B95B309D}" dt="2020-11-11T18:28:27.327" v="6516" actId="20577"/>
          <ac:spMkLst>
            <pc:docMk/>
            <pc:sldMk cId="3773836689" sldId="491"/>
            <ac:spMk id="2" creationId="{00000000-0000-0000-0000-000000000000}"/>
          </ac:spMkLst>
        </pc:spChg>
        <pc:spChg chg="mod">
          <ac:chgData name="Manish Sharma" userId="97d895ad-8d7a-4884-8c18-743afd731b6f" providerId="ADAL" clId="{E2EE48C2-9300-42EB-ABDD-0EE0B95B309D}" dt="2020-11-11T18:29:34.811" v="6525" actId="14100"/>
          <ac:spMkLst>
            <pc:docMk/>
            <pc:sldMk cId="3773836689" sldId="491"/>
            <ac:spMk id="3" creationId="{21F48B71-AA1B-4937-93EF-CEE4ADA99B10}"/>
          </ac:spMkLst>
        </pc:spChg>
        <pc:spChg chg="mod">
          <ac:chgData name="Manish Sharma" userId="97d895ad-8d7a-4884-8c18-743afd731b6f" providerId="ADAL" clId="{E2EE48C2-9300-42EB-ABDD-0EE0B95B309D}" dt="2020-11-11T18:32:24.291" v="6541" actId="1076"/>
          <ac:spMkLst>
            <pc:docMk/>
            <pc:sldMk cId="3773836689" sldId="491"/>
            <ac:spMk id="4" creationId="{76DA1072-A006-4DF0-8145-65A190A17F1F}"/>
          </ac:spMkLst>
        </pc:spChg>
        <pc:spChg chg="mod">
          <ac:chgData name="Manish Sharma" userId="97d895ad-8d7a-4884-8c18-743afd731b6f" providerId="ADAL" clId="{E2EE48C2-9300-42EB-ABDD-0EE0B95B309D}" dt="2020-11-11T18:32:39.455" v="6543" actId="14100"/>
          <ac:spMkLst>
            <pc:docMk/>
            <pc:sldMk cId="3773836689" sldId="491"/>
            <ac:spMk id="5" creationId="{5BBBC7CB-737E-45AF-818A-2DB14AE1A6B6}"/>
          </ac:spMkLst>
        </pc:spChg>
        <pc:spChg chg="mod">
          <ac:chgData name="Manish Sharma" userId="97d895ad-8d7a-4884-8c18-743afd731b6f" providerId="ADAL" clId="{E2EE48C2-9300-42EB-ABDD-0EE0B95B309D}" dt="2020-11-11T18:56:39.117" v="6765" actId="1076"/>
          <ac:spMkLst>
            <pc:docMk/>
            <pc:sldMk cId="3773836689" sldId="491"/>
            <ac:spMk id="6" creationId="{C75D9CED-3E84-402F-BC2C-A4F0DFD0FD82}"/>
          </ac:spMkLst>
        </pc:spChg>
        <pc:spChg chg="add del">
          <ac:chgData name="Manish Sharma" userId="97d895ad-8d7a-4884-8c18-743afd731b6f" providerId="ADAL" clId="{E2EE48C2-9300-42EB-ABDD-0EE0B95B309D}" dt="2020-11-11T18:28:18.626" v="6505" actId="478"/>
          <ac:spMkLst>
            <pc:docMk/>
            <pc:sldMk cId="3773836689" sldId="491"/>
            <ac:spMk id="7" creationId="{92B68E48-B58E-4FB8-9C6B-ACB3110D2338}"/>
          </ac:spMkLst>
        </pc:spChg>
        <pc:spChg chg="add del mod">
          <ac:chgData name="Manish Sharma" userId="97d895ad-8d7a-4884-8c18-743afd731b6f" providerId="ADAL" clId="{E2EE48C2-9300-42EB-ABDD-0EE0B95B309D}" dt="2020-11-11T18:29:59.548" v="6531" actId="478"/>
          <ac:spMkLst>
            <pc:docMk/>
            <pc:sldMk cId="3773836689" sldId="491"/>
            <ac:spMk id="8" creationId="{21D0F9F0-44DE-424B-9EE1-A612D09DDED7}"/>
          </ac:spMkLst>
        </pc:spChg>
        <pc:spChg chg="mod">
          <ac:chgData name="Manish Sharma" userId="97d895ad-8d7a-4884-8c18-743afd731b6f" providerId="ADAL" clId="{E2EE48C2-9300-42EB-ABDD-0EE0B95B309D}" dt="2020-11-11T18:29:39.193" v="6526" actId="14100"/>
          <ac:spMkLst>
            <pc:docMk/>
            <pc:sldMk cId="3773836689" sldId="491"/>
            <ac:spMk id="12" creationId="{802A8090-C2C9-49AB-8CB6-1A82382EBB0C}"/>
          </ac:spMkLst>
        </pc:spChg>
        <pc:spChg chg="del">
          <ac:chgData name="Manish Sharma" userId="97d895ad-8d7a-4884-8c18-743afd731b6f" providerId="ADAL" clId="{E2EE48C2-9300-42EB-ABDD-0EE0B95B309D}" dt="2020-11-11T18:32:18.560" v="6540" actId="478"/>
          <ac:spMkLst>
            <pc:docMk/>
            <pc:sldMk cId="3773836689" sldId="491"/>
            <ac:spMk id="13" creationId="{17B92C50-9655-452C-B317-54BDD46EBEB5}"/>
          </ac:spMkLst>
        </pc:spChg>
        <pc:spChg chg="mod">
          <ac:chgData name="Manish Sharma" userId="97d895ad-8d7a-4884-8c18-743afd731b6f" providerId="ADAL" clId="{E2EE48C2-9300-42EB-ABDD-0EE0B95B309D}" dt="2020-11-11T18:32:06.934" v="6538" actId="14100"/>
          <ac:spMkLst>
            <pc:docMk/>
            <pc:sldMk cId="3773836689" sldId="491"/>
            <ac:spMk id="14" creationId="{A693036D-2D6E-43F1-A8F6-FD271CA349AD}"/>
          </ac:spMkLst>
        </pc:spChg>
        <pc:spChg chg="mod">
          <ac:chgData name="Manish Sharma" userId="97d895ad-8d7a-4884-8c18-743afd731b6f" providerId="ADAL" clId="{E2EE48C2-9300-42EB-ABDD-0EE0B95B309D}" dt="2020-11-11T23:11:43.299" v="7905" actId="2"/>
          <ac:spMkLst>
            <pc:docMk/>
            <pc:sldMk cId="3773836689" sldId="491"/>
            <ac:spMk id="39" creationId="{9B3B3C2B-2D6A-454B-9637-F6BD98B02D8E}"/>
          </ac:spMkLst>
        </pc:spChg>
        <pc:picChg chg="add del mod ord">
          <ac:chgData name="Manish Sharma" userId="97d895ad-8d7a-4884-8c18-743afd731b6f" providerId="ADAL" clId="{E2EE48C2-9300-42EB-ABDD-0EE0B95B309D}" dt="2020-11-11T18:31:35.485" v="6532" actId="478"/>
          <ac:picMkLst>
            <pc:docMk/>
            <pc:sldMk cId="3773836689" sldId="491"/>
            <ac:picMk id="9" creationId="{7DE73674-359D-4DB8-BCD1-CCF5BEA44537}"/>
          </ac:picMkLst>
        </pc:picChg>
        <pc:picChg chg="del">
          <ac:chgData name="Manish Sharma" userId="97d895ad-8d7a-4884-8c18-743afd731b6f" providerId="ADAL" clId="{E2EE48C2-9300-42EB-ABDD-0EE0B95B309D}" dt="2020-11-10T14:38:22.719" v="2715" actId="478"/>
          <ac:picMkLst>
            <pc:docMk/>
            <pc:sldMk cId="3773836689" sldId="491"/>
            <ac:picMk id="10" creationId="{45486793-1FF5-4BD1-8725-879C6862C09B}"/>
          </ac:picMkLst>
        </pc:picChg>
        <pc:picChg chg="add mod ord">
          <ac:chgData name="Manish Sharma" userId="97d895ad-8d7a-4884-8c18-743afd731b6f" providerId="ADAL" clId="{E2EE48C2-9300-42EB-ABDD-0EE0B95B309D}" dt="2020-11-11T18:32:35.110" v="6542" actId="1076"/>
          <ac:picMkLst>
            <pc:docMk/>
            <pc:sldMk cId="3773836689" sldId="491"/>
            <ac:picMk id="11" creationId="{86D62882-F99F-47B4-92B1-FDE907262DDA}"/>
          </ac:picMkLst>
        </pc:picChg>
      </pc:sldChg>
      <pc:sldChg chg="addSp delSp modSp mod">
        <pc:chgData name="Manish Sharma" userId="97d895ad-8d7a-4884-8c18-743afd731b6f" providerId="ADAL" clId="{E2EE48C2-9300-42EB-ABDD-0EE0B95B309D}" dt="2020-11-11T23:11:19.605" v="7856" actId="2"/>
        <pc:sldMkLst>
          <pc:docMk/>
          <pc:sldMk cId="467378802" sldId="492"/>
        </pc:sldMkLst>
        <pc:spChg chg="mod">
          <ac:chgData name="Manish Sharma" userId="97d895ad-8d7a-4884-8c18-743afd731b6f" providerId="ADAL" clId="{E2EE48C2-9300-42EB-ABDD-0EE0B95B309D}" dt="2020-11-09T23:03:08.300" v="2040" actId="20577"/>
          <ac:spMkLst>
            <pc:docMk/>
            <pc:sldMk cId="467378802" sldId="492"/>
            <ac:spMk id="2" creationId="{00000000-0000-0000-0000-000000000000}"/>
          </ac:spMkLst>
        </pc:spChg>
        <pc:spChg chg="add del">
          <ac:chgData name="Manish Sharma" userId="97d895ad-8d7a-4884-8c18-743afd731b6f" providerId="ADAL" clId="{E2EE48C2-9300-42EB-ABDD-0EE0B95B309D}" dt="2020-11-09T23:02:50.280" v="2019" actId="478"/>
          <ac:spMkLst>
            <pc:docMk/>
            <pc:sldMk cId="467378802" sldId="492"/>
            <ac:spMk id="3" creationId="{EF82CDEC-A789-4336-9C60-0414C7CEC18F}"/>
          </ac:spMkLst>
        </pc:spChg>
        <pc:spChg chg="mod">
          <ac:chgData name="Manish Sharma" userId="97d895ad-8d7a-4884-8c18-743afd731b6f" providerId="ADAL" clId="{E2EE48C2-9300-42EB-ABDD-0EE0B95B309D}" dt="2020-11-10T01:33:12.203" v="2714" actId="20577"/>
          <ac:spMkLst>
            <pc:docMk/>
            <pc:sldMk cId="467378802" sldId="492"/>
            <ac:spMk id="7" creationId="{B633BA49-44C2-41E0-8A5F-10881248D9C0}"/>
          </ac:spMkLst>
        </pc:spChg>
        <pc:spChg chg="mod">
          <ac:chgData name="Manish Sharma" userId="97d895ad-8d7a-4884-8c18-743afd731b6f" providerId="ADAL" clId="{E2EE48C2-9300-42EB-ABDD-0EE0B95B309D}" dt="2020-11-10T21:28:45.316" v="2733" actId="20577"/>
          <ac:spMkLst>
            <pc:docMk/>
            <pc:sldMk cId="467378802" sldId="492"/>
            <ac:spMk id="13" creationId="{00000000-0000-0000-0000-000000000000}"/>
          </ac:spMkLst>
        </pc:spChg>
        <pc:graphicFrameChg chg="add mod">
          <ac:chgData name="Manish Sharma" userId="97d895ad-8d7a-4884-8c18-743afd731b6f" providerId="ADAL" clId="{E2EE48C2-9300-42EB-ABDD-0EE0B95B309D}" dt="2020-11-09T23:45:24.855" v="2045" actId="1076"/>
          <ac:graphicFrameMkLst>
            <pc:docMk/>
            <pc:sldMk cId="467378802" sldId="492"/>
            <ac:graphicFrameMk id="18" creationId="{797C3F5A-4404-4088-81CC-CCF8766D1B6B}"/>
          </ac:graphicFrameMkLst>
        </pc:graphicFrameChg>
        <pc:graphicFrameChg chg="mod modGraphic">
          <ac:chgData name="Manish Sharma" userId="97d895ad-8d7a-4884-8c18-743afd731b6f" providerId="ADAL" clId="{E2EE48C2-9300-42EB-ABDD-0EE0B95B309D}" dt="2020-11-11T23:11:16.365" v="7852" actId="2"/>
          <ac:graphicFrameMkLst>
            <pc:docMk/>
            <pc:sldMk cId="467378802" sldId="492"/>
            <ac:graphicFrameMk id="20" creationId="{C706CF1C-16BE-40AB-AD10-3D3B1B2FD25F}"/>
          </ac:graphicFrameMkLst>
        </pc:graphicFrameChg>
        <pc:graphicFrameChg chg="mod modGraphic">
          <ac:chgData name="Manish Sharma" userId="97d895ad-8d7a-4884-8c18-743afd731b6f" providerId="ADAL" clId="{E2EE48C2-9300-42EB-ABDD-0EE0B95B309D}" dt="2020-11-11T23:11:17.137" v="7853" actId="2"/>
          <ac:graphicFrameMkLst>
            <pc:docMk/>
            <pc:sldMk cId="467378802" sldId="492"/>
            <ac:graphicFrameMk id="22" creationId="{25ADC611-E4BA-4F2F-9BF9-A6228171DDE2}"/>
          </ac:graphicFrameMkLst>
        </pc:graphicFrameChg>
        <pc:graphicFrameChg chg="mod modGraphic">
          <ac:chgData name="Manish Sharma" userId="97d895ad-8d7a-4884-8c18-743afd731b6f" providerId="ADAL" clId="{E2EE48C2-9300-42EB-ABDD-0EE0B95B309D}" dt="2020-11-11T23:11:15.437" v="7851" actId="2"/>
          <ac:graphicFrameMkLst>
            <pc:docMk/>
            <pc:sldMk cId="467378802" sldId="492"/>
            <ac:graphicFrameMk id="23" creationId="{00000000-0000-0000-0000-000000000000}"/>
          </ac:graphicFrameMkLst>
        </pc:graphicFrameChg>
        <pc:graphicFrameChg chg="mod modGraphic">
          <ac:chgData name="Manish Sharma" userId="97d895ad-8d7a-4884-8c18-743afd731b6f" providerId="ADAL" clId="{E2EE48C2-9300-42EB-ABDD-0EE0B95B309D}" dt="2020-11-11T23:11:19.605" v="7856" actId="2"/>
          <ac:graphicFrameMkLst>
            <pc:docMk/>
            <pc:sldMk cId="467378802" sldId="492"/>
            <ac:graphicFrameMk id="26" creationId="{A088A704-3458-4A85-A10E-CBFB205EDF51}"/>
          </ac:graphicFrameMkLst>
        </pc:graphicFrameChg>
        <pc:graphicFrameChg chg="del">
          <ac:chgData name="Manish Sharma" userId="97d895ad-8d7a-4884-8c18-743afd731b6f" providerId="ADAL" clId="{E2EE48C2-9300-42EB-ABDD-0EE0B95B309D}" dt="2020-11-09T23:03:13.726" v="2041" actId="478"/>
          <ac:graphicFrameMkLst>
            <pc:docMk/>
            <pc:sldMk cId="467378802" sldId="492"/>
            <ac:graphicFrameMk id="28" creationId="{8749B4E4-8832-4DEC-8E66-3275BE765D75}"/>
          </ac:graphicFrameMkLst>
        </pc:graphicFrameChg>
      </pc:sldChg>
      <pc:sldChg chg="addSp delSp modSp mod">
        <pc:chgData name="Manish Sharma" userId="97d895ad-8d7a-4884-8c18-743afd731b6f" providerId="ADAL" clId="{E2EE48C2-9300-42EB-ABDD-0EE0B95B309D}" dt="2020-11-11T23:11:34.123" v="7895" actId="2"/>
        <pc:sldMkLst>
          <pc:docMk/>
          <pc:sldMk cId="1603357931" sldId="494"/>
        </pc:sldMkLst>
        <pc:spChg chg="mod">
          <ac:chgData name="Manish Sharma" userId="97d895ad-8d7a-4884-8c18-743afd731b6f" providerId="ADAL" clId="{E2EE48C2-9300-42EB-ABDD-0EE0B95B309D}" dt="2020-11-11T03:28:58.258" v="4129" actId="20577"/>
          <ac:spMkLst>
            <pc:docMk/>
            <pc:sldMk cId="1603357931" sldId="494"/>
            <ac:spMk id="2" creationId="{00000000-0000-0000-0000-000000000000}"/>
          </ac:spMkLst>
        </pc:spChg>
        <pc:spChg chg="add del">
          <ac:chgData name="Manish Sharma" userId="97d895ad-8d7a-4884-8c18-743afd731b6f" providerId="ADAL" clId="{E2EE48C2-9300-42EB-ABDD-0EE0B95B309D}" dt="2020-11-11T03:28:52.335" v="4118" actId="478"/>
          <ac:spMkLst>
            <pc:docMk/>
            <pc:sldMk cId="1603357931" sldId="494"/>
            <ac:spMk id="3" creationId="{E5682495-8083-463D-BC1E-F579D15836A9}"/>
          </ac:spMkLst>
        </pc:spChg>
        <pc:spChg chg="mod">
          <ac:chgData name="Manish Sharma" userId="97d895ad-8d7a-4884-8c18-743afd731b6f" providerId="ADAL" clId="{E2EE48C2-9300-42EB-ABDD-0EE0B95B309D}" dt="2020-11-11T04:00:02.206" v="4386" actId="20577"/>
          <ac:spMkLst>
            <pc:docMk/>
            <pc:sldMk cId="1603357931" sldId="494"/>
            <ac:spMk id="7" creationId="{00000000-0000-0000-0000-000000000000}"/>
          </ac:spMkLst>
        </pc:spChg>
        <pc:spChg chg="mod">
          <ac:chgData name="Manish Sharma" userId="97d895ad-8d7a-4884-8c18-743afd731b6f" providerId="ADAL" clId="{E2EE48C2-9300-42EB-ABDD-0EE0B95B309D}" dt="2020-11-11T03:59:49.681" v="4375" actId="20577"/>
          <ac:spMkLst>
            <pc:docMk/>
            <pc:sldMk cId="1603357931" sldId="494"/>
            <ac:spMk id="63" creationId="{00000000-0000-0000-0000-000000000000}"/>
          </ac:spMkLst>
        </pc:spChg>
        <pc:spChg chg="mod">
          <ac:chgData name="Manish Sharma" userId="97d895ad-8d7a-4884-8c18-743afd731b6f" providerId="ADAL" clId="{E2EE48C2-9300-42EB-ABDD-0EE0B95B309D}" dt="2020-11-11T03:59:31.914" v="4371" actId="207"/>
          <ac:spMkLst>
            <pc:docMk/>
            <pc:sldMk cId="1603357931" sldId="494"/>
            <ac:spMk id="70" creationId="{7D9F8BBF-6CD5-4D5F-841F-C6B5EDBA5472}"/>
          </ac:spMkLst>
        </pc:spChg>
        <pc:spChg chg="mod">
          <ac:chgData name="Manish Sharma" userId="97d895ad-8d7a-4884-8c18-743afd731b6f" providerId="ADAL" clId="{E2EE48C2-9300-42EB-ABDD-0EE0B95B309D}" dt="2020-11-11T03:59:27.921" v="4370" actId="207"/>
          <ac:spMkLst>
            <pc:docMk/>
            <pc:sldMk cId="1603357931" sldId="494"/>
            <ac:spMk id="71" creationId="{E9B42C81-47B0-48AC-8367-11469DC1810C}"/>
          </ac:spMkLst>
        </pc:spChg>
        <pc:spChg chg="mod">
          <ac:chgData name="Manish Sharma" userId="97d895ad-8d7a-4884-8c18-743afd731b6f" providerId="ADAL" clId="{E2EE48C2-9300-42EB-ABDD-0EE0B95B309D}" dt="2020-11-11T03:59:24.206" v="4369" actId="208"/>
          <ac:spMkLst>
            <pc:docMk/>
            <pc:sldMk cId="1603357931" sldId="494"/>
            <ac:spMk id="72" creationId="{90FAB346-E85E-42D1-B58C-7BDBC0EE04B1}"/>
          </ac:spMkLst>
        </pc:spChg>
        <pc:spChg chg="mod">
          <ac:chgData name="Manish Sharma" userId="97d895ad-8d7a-4884-8c18-743afd731b6f" providerId="ADAL" clId="{E2EE48C2-9300-42EB-ABDD-0EE0B95B309D}" dt="2020-11-11T03:59:24.206" v="4369" actId="208"/>
          <ac:spMkLst>
            <pc:docMk/>
            <pc:sldMk cId="1603357931" sldId="494"/>
            <ac:spMk id="73" creationId="{78A07772-5C46-4B8B-A183-4BBDAAAEB7C8}"/>
          </ac:spMkLst>
        </pc:spChg>
        <pc:spChg chg="mod">
          <ac:chgData name="Manish Sharma" userId="97d895ad-8d7a-4884-8c18-743afd731b6f" providerId="ADAL" clId="{E2EE48C2-9300-42EB-ABDD-0EE0B95B309D}" dt="2020-11-11T21:29:56.671" v="7502" actId="20577"/>
          <ac:spMkLst>
            <pc:docMk/>
            <pc:sldMk cId="1603357931" sldId="494"/>
            <ac:spMk id="76" creationId="{44CA77D8-9CF9-4BA8-9B8A-8E2AAFCEFFE0}"/>
          </ac:spMkLst>
        </pc:spChg>
        <pc:spChg chg="mod">
          <ac:chgData name="Manish Sharma" userId="97d895ad-8d7a-4884-8c18-743afd731b6f" providerId="ADAL" clId="{E2EE48C2-9300-42EB-ABDD-0EE0B95B309D}" dt="2020-11-11T23:11:28.782" v="7870" actId="2"/>
          <ac:spMkLst>
            <pc:docMk/>
            <pc:sldMk cId="1603357931" sldId="494"/>
            <ac:spMk id="77" creationId="{00000000-0000-0000-0000-000000000000}"/>
          </ac:spMkLst>
        </pc:spChg>
        <pc:spChg chg="mod">
          <ac:chgData name="Manish Sharma" userId="97d895ad-8d7a-4884-8c18-743afd731b6f" providerId="ADAL" clId="{E2EE48C2-9300-42EB-ABDD-0EE0B95B309D}" dt="2020-11-11T03:59:17.072" v="4368" actId="1035"/>
          <ac:spMkLst>
            <pc:docMk/>
            <pc:sldMk cId="1603357931" sldId="494"/>
            <ac:spMk id="93" creationId="{4EB9CAA8-08FD-4656-855E-C34289D88373}"/>
          </ac:spMkLst>
        </pc:spChg>
        <pc:spChg chg="mod">
          <ac:chgData name="Manish Sharma" userId="97d895ad-8d7a-4884-8c18-743afd731b6f" providerId="ADAL" clId="{E2EE48C2-9300-42EB-ABDD-0EE0B95B309D}" dt="2020-11-11T03:59:02.420" v="4343" actId="1035"/>
          <ac:spMkLst>
            <pc:docMk/>
            <pc:sldMk cId="1603357931" sldId="494"/>
            <ac:spMk id="95" creationId="{C933EC32-4AD6-4B4C-AD36-34E9E38E085E}"/>
          </ac:spMkLst>
        </pc:spChg>
        <pc:spChg chg="mod">
          <ac:chgData name="Manish Sharma" userId="97d895ad-8d7a-4884-8c18-743afd731b6f" providerId="ADAL" clId="{E2EE48C2-9300-42EB-ABDD-0EE0B95B309D}" dt="2020-11-11T03:59:56.505" v="4385" actId="1035"/>
          <ac:spMkLst>
            <pc:docMk/>
            <pc:sldMk cId="1603357931" sldId="494"/>
            <ac:spMk id="96" creationId="{B3F42793-19D3-4083-9068-DD5942C975DF}"/>
          </ac:spMkLst>
        </pc:spChg>
        <pc:spChg chg="mod">
          <ac:chgData name="Manish Sharma" userId="97d895ad-8d7a-4884-8c18-743afd731b6f" providerId="ADAL" clId="{E2EE48C2-9300-42EB-ABDD-0EE0B95B309D}" dt="2020-11-11T04:01:12.875" v="4421" actId="1035"/>
          <ac:spMkLst>
            <pc:docMk/>
            <pc:sldMk cId="1603357931" sldId="494"/>
            <ac:spMk id="97" creationId="{E6A69622-26C7-49FC-9060-CC4C986E151E}"/>
          </ac:spMkLst>
        </pc:spChg>
        <pc:spChg chg="mod">
          <ac:chgData name="Manish Sharma" userId="97d895ad-8d7a-4884-8c18-743afd731b6f" providerId="ADAL" clId="{E2EE48C2-9300-42EB-ABDD-0EE0B95B309D}" dt="2020-11-11T03:58:56.962" v="4340" actId="20577"/>
          <ac:spMkLst>
            <pc:docMk/>
            <pc:sldMk cId="1603357931" sldId="494"/>
            <ac:spMk id="98" creationId="{797A19AC-51AA-4E53-97C6-D75A0509A945}"/>
          </ac:spMkLst>
        </pc:spChg>
        <pc:spChg chg="mod">
          <ac:chgData name="Manish Sharma" userId="97d895ad-8d7a-4884-8c18-743afd731b6f" providerId="ADAL" clId="{E2EE48C2-9300-42EB-ABDD-0EE0B95B309D}" dt="2020-11-11T03:58:43.913" v="4336" actId="20577"/>
          <ac:spMkLst>
            <pc:docMk/>
            <pc:sldMk cId="1603357931" sldId="494"/>
            <ac:spMk id="100" creationId="{048E3908-7294-4547-8E52-B606DA7B6777}"/>
          </ac:spMkLst>
        </pc:spChg>
        <pc:spChg chg="mod">
          <ac:chgData name="Manish Sharma" userId="97d895ad-8d7a-4884-8c18-743afd731b6f" providerId="ADAL" clId="{E2EE48C2-9300-42EB-ABDD-0EE0B95B309D}" dt="2020-11-11T03:59:37.047" v="4372" actId="208"/>
          <ac:spMkLst>
            <pc:docMk/>
            <pc:sldMk cId="1603357931" sldId="494"/>
            <ac:spMk id="111" creationId="{4AF91EFF-0E28-4EE9-8501-6DBF8C1703E0}"/>
          </ac:spMkLst>
        </pc:spChg>
        <pc:spChg chg="mod">
          <ac:chgData name="Manish Sharma" userId="97d895ad-8d7a-4884-8c18-743afd731b6f" providerId="ADAL" clId="{E2EE48C2-9300-42EB-ABDD-0EE0B95B309D}" dt="2020-11-11T03:58:21.805" v="4333" actId="20577"/>
          <ac:spMkLst>
            <pc:docMk/>
            <pc:sldMk cId="1603357931" sldId="494"/>
            <ac:spMk id="112" creationId="{4358EC31-D932-41E0-876E-86A3AAD5F5EE}"/>
          </ac:spMkLst>
        </pc:spChg>
        <pc:spChg chg="mod">
          <ac:chgData name="Manish Sharma" userId="97d895ad-8d7a-4884-8c18-743afd731b6f" providerId="ADAL" clId="{E2EE48C2-9300-42EB-ABDD-0EE0B95B309D}" dt="2020-11-11T03:52:43.444" v="4306" actId="20577"/>
          <ac:spMkLst>
            <pc:docMk/>
            <pc:sldMk cId="1603357931" sldId="494"/>
            <ac:spMk id="119" creationId="{9D4E1B1B-7796-4B76-92BA-AA23BC253587}"/>
          </ac:spMkLst>
        </pc:spChg>
        <pc:spChg chg="mod">
          <ac:chgData name="Manish Sharma" userId="97d895ad-8d7a-4884-8c18-743afd731b6f" providerId="ADAL" clId="{E2EE48C2-9300-42EB-ABDD-0EE0B95B309D}" dt="2020-11-11T03:58:13.777" v="4323" actId="20577"/>
          <ac:spMkLst>
            <pc:docMk/>
            <pc:sldMk cId="1603357931" sldId="494"/>
            <ac:spMk id="124" creationId="{BD607604-1889-45A2-8660-D06ED8EAD667}"/>
          </ac:spMkLst>
        </pc:spChg>
        <pc:spChg chg="mod">
          <ac:chgData name="Manish Sharma" userId="97d895ad-8d7a-4884-8c18-743afd731b6f" providerId="ADAL" clId="{E2EE48C2-9300-42EB-ABDD-0EE0B95B309D}" dt="2020-11-11T03:52:30.413" v="4299" actId="20577"/>
          <ac:spMkLst>
            <pc:docMk/>
            <pc:sldMk cId="1603357931" sldId="494"/>
            <ac:spMk id="125" creationId="{C0E3D7CA-4DC9-42A4-9130-344444DF2E8C}"/>
          </ac:spMkLst>
        </pc:spChg>
        <pc:spChg chg="mod">
          <ac:chgData name="Manish Sharma" userId="97d895ad-8d7a-4884-8c18-743afd731b6f" providerId="ADAL" clId="{E2EE48C2-9300-42EB-ABDD-0EE0B95B309D}" dt="2020-11-11T04:01:16.801" v="4422" actId="20577"/>
          <ac:spMkLst>
            <pc:docMk/>
            <pc:sldMk cId="1603357931" sldId="494"/>
            <ac:spMk id="126" creationId="{0A182F45-470D-4A59-B728-E8FCF6876681}"/>
          </ac:spMkLst>
        </pc:spChg>
        <pc:spChg chg="mod">
          <ac:chgData name="Manish Sharma" userId="97d895ad-8d7a-4884-8c18-743afd731b6f" providerId="ADAL" clId="{E2EE48C2-9300-42EB-ABDD-0EE0B95B309D}" dt="2020-11-11T04:00:52.582" v="4392" actId="20577"/>
          <ac:spMkLst>
            <pc:docMk/>
            <pc:sldMk cId="1603357931" sldId="494"/>
            <ac:spMk id="131" creationId="{9CEF88A0-D6AD-43DE-B77A-FDF4DBCDC5BA}"/>
          </ac:spMkLst>
        </pc:spChg>
        <pc:spChg chg="mod">
          <ac:chgData name="Manish Sharma" userId="97d895ad-8d7a-4884-8c18-743afd731b6f" providerId="ADAL" clId="{E2EE48C2-9300-42EB-ABDD-0EE0B95B309D}" dt="2020-11-11T04:01:02.603" v="4401" actId="6549"/>
          <ac:spMkLst>
            <pc:docMk/>
            <pc:sldMk cId="1603357931" sldId="494"/>
            <ac:spMk id="132" creationId="{07D8E15C-1CFC-4C6E-9A6D-647D2BFDB667}"/>
          </ac:spMkLst>
        </pc:spChg>
        <pc:spChg chg="mod">
          <ac:chgData name="Manish Sharma" userId="97d895ad-8d7a-4884-8c18-743afd731b6f" providerId="ADAL" clId="{E2EE48C2-9300-42EB-ABDD-0EE0B95B309D}" dt="2020-11-11T04:00:30.998" v="4389" actId="207"/>
          <ac:spMkLst>
            <pc:docMk/>
            <pc:sldMk cId="1603357931" sldId="494"/>
            <ac:spMk id="137" creationId="{6CEFD653-343D-4EFD-92CF-AE3220B70017}"/>
          </ac:spMkLst>
        </pc:spChg>
        <pc:spChg chg="mod">
          <ac:chgData name="Manish Sharma" userId="97d895ad-8d7a-4884-8c18-743afd731b6f" providerId="ADAL" clId="{E2EE48C2-9300-42EB-ABDD-0EE0B95B309D}" dt="2020-11-11T04:00:37.026" v="4390" actId="207"/>
          <ac:spMkLst>
            <pc:docMk/>
            <pc:sldMk cId="1603357931" sldId="494"/>
            <ac:spMk id="138" creationId="{7E04118D-1538-4B9D-A040-C79C7E870F56}"/>
          </ac:spMkLst>
        </pc:spChg>
        <pc:spChg chg="mod">
          <ac:chgData name="Manish Sharma" userId="97d895ad-8d7a-4884-8c18-743afd731b6f" providerId="ADAL" clId="{E2EE48C2-9300-42EB-ABDD-0EE0B95B309D}" dt="2020-11-11T04:00:21.077" v="4387" actId="208"/>
          <ac:spMkLst>
            <pc:docMk/>
            <pc:sldMk cId="1603357931" sldId="494"/>
            <ac:spMk id="139" creationId="{F02A0F5D-F2B7-4235-B932-8130BA0AF169}"/>
          </ac:spMkLst>
        </pc:spChg>
        <pc:spChg chg="mod">
          <ac:chgData name="Manish Sharma" userId="97d895ad-8d7a-4884-8c18-743afd731b6f" providerId="ADAL" clId="{E2EE48C2-9300-42EB-ABDD-0EE0B95B309D}" dt="2020-11-11T04:00:21.077" v="4387" actId="208"/>
          <ac:spMkLst>
            <pc:docMk/>
            <pc:sldMk cId="1603357931" sldId="494"/>
            <ac:spMk id="140" creationId="{D8F35EAE-0760-417A-BEF2-4F8F784A6962}"/>
          </ac:spMkLst>
        </pc:spChg>
        <pc:graphicFrameChg chg="mod modGraphic">
          <ac:chgData name="Manish Sharma" userId="97d895ad-8d7a-4884-8c18-743afd731b6f" providerId="ADAL" clId="{E2EE48C2-9300-42EB-ABDD-0EE0B95B309D}" dt="2020-11-11T23:11:30.295" v="7875" actId="2"/>
          <ac:graphicFrameMkLst>
            <pc:docMk/>
            <pc:sldMk cId="1603357931" sldId="494"/>
            <ac:graphicFrameMk id="79" creationId="{6A363F86-1778-4564-BD43-5E278ECA6ED2}"/>
          </ac:graphicFrameMkLst>
        </pc:graphicFrameChg>
        <pc:graphicFrameChg chg="mod modGraphic">
          <ac:chgData name="Manish Sharma" userId="97d895ad-8d7a-4884-8c18-743afd731b6f" providerId="ADAL" clId="{E2EE48C2-9300-42EB-ABDD-0EE0B95B309D}" dt="2020-11-11T23:11:31.422" v="7880" actId="2"/>
          <ac:graphicFrameMkLst>
            <pc:docMk/>
            <pc:sldMk cId="1603357931" sldId="494"/>
            <ac:graphicFrameMk id="87" creationId="{F4B0AEF1-759E-46F9-A4E5-3DB68C5A8F74}"/>
          </ac:graphicFrameMkLst>
        </pc:graphicFrameChg>
        <pc:graphicFrameChg chg="mod modGraphic">
          <ac:chgData name="Manish Sharma" userId="97d895ad-8d7a-4884-8c18-743afd731b6f" providerId="ADAL" clId="{E2EE48C2-9300-42EB-ABDD-0EE0B95B309D}" dt="2020-11-11T23:11:32.323" v="7885" actId="2"/>
          <ac:graphicFrameMkLst>
            <pc:docMk/>
            <pc:sldMk cId="1603357931" sldId="494"/>
            <ac:graphicFrameMk id="88" creationId="{D76C5FD8-58DE-40E5-B9C1-AF1541B109AF}"/>
          </ac:graphicFrameMkLst>
        </pc:graphicFrameChg>
        <pc:graphicFrameChg chg="mod modGraphic">
          <ac:chgData name="Manish Sharma" userId="97d895ad-8d7a-4884-8c18-743afd731b6f" providerId="ADAL" clId="{E2EE48C2-9300-42EB-ABDD-0EE0B95B309D}" dt="2020-11-11T23:11:33.227" v="7890" actId="2"/>
          <ac:graphicFrameMkLst>
            <pc:docMk/>
            <pc:sldMk cId="1603357931" sldId="494"/>
            <ac:graphicFrameMk id="89" creationId="{2B610F03-452B-46BD-904F-126408A33993}"/>
          </ac:graphicFrameMkLst>
        </pc:graphicFrameChg>
        <pc:graphicFrameChg chg="mod modGraphic">
          <ac:chgData name="Manish Sharma" userId="97d895ad-8d7a-4884-8c18-743afd731b6f" providerId="ADAL" clId="{E2EE48C2-9300-42EB-ABDD-0EE0B95B309D}" dt="2020-11-11T23:11:28.096" v="7869" actId="2"/>
          <ac:graphicFrameMkLst>
            <pc:docMk/>
            <pc:sldMk cId="1603357931" sldId="494"/>
            <ac:graphicFrameMk id="90" creationId="{1F692A77-864C-4D31-8F89-CC014D704488}"/>
          </ac:graphicFrameMkLst>
        </pc:graphicFrameChg>
        <pc:graphicFrameChg chg="mod modGraphic">
          <ac:chgData name="Manish Sharma" userId="97d895ad-8d7a-4884-8c18-743afd731b6f" providerId="ADAL" clId="{E2EE48C2-9300-42EB-ABDD-0EE0B95B309D}" dt="2020-11-11T23:11:34.123" v="7895" actId="2"/>
          <ac:graphicFrameMkLst>
            <pc:docMk/>
            <pc:sldMk cId="1603357931" sldId="494"/>
            <ac:graphicFrameMk id="91" creationId="{229BCE03-EF5A-4C55-B888-9E1438234AB8}"/>
          </ac:graphicFrameMkLst>
        </pc:graphicFrameChg>
      </pc:sldChg>
      <pc:sldChg chg="del">
        <pc:chgData name="Manish Sharma" userId="97d895ad-8d7a-4884-8c18-743afd731b6f" providerId="ADAL" clId="{E2EE48C2-9300-42EB-ABDD-0EE0B95B309D}" dt="2020-11-09T14:01:17.823" v="106" actId="47"/>
        <pc:sldMkLst>
          <pc:docMk/>
          <pc:sldMk cId="2228024324" sldId="495"/>
        </pc:sldMkLst>
      </pc:sldChg>
      <pc:sldChg chg="del">
        <pc:chgData name="Manish Sharma" userId="97d895ad-8d7a-4884-8c18-743afd731b6f" providerId="ADAL" clId="{E2EE48C2-9300-42EB-ABDD-0EE0B95B309D}" dt="2020-11-09T14:01:20.140" v="111" actId="47"/>
        <pc:sldMkLst>
          <pc:docMk/>
          <pc:sldMk cId="1384903469" sldId="499"/>
        </pc:sldMkLst>
      </pc:sldChg>
      <pc:sldChg chg="del">
        <pc:chgData name="Manish Sharma" userId="97d895ad-8d7a-4884-8c18-743afd731b6f" providerId="ADAL" clId="{E2EE48C2-9300-42EB-ABDD-0EE0B95B309D}" dt="2020-11-09T14:01:20.828" v="112" actId="47"/>
        <pc:sldMkLst>
          <pc:docMk/>
          <pc:sldMk cId="3582841930" sldId="501"/>
        </pc:sldMkLst>
      </pc:sldChg>
      <pc:sldChg chg="addSp mod">
        <pc:chgData name="Manish Sharma" userId="97d895ad-8d7a-4884-8c18-743afd731b6f" providerId="ADAL" clId="{E2EE48C2-9300-42EB-ABDD-0EE0B95B309D}" dt="2020-11-09T14:01:09.083" v="100" actId="22"/>
        <pc:sldMkLst>
          <pc:docMk/>
          <pc:sldMk cId="1144498750" sldId="502"/>
        </pc:sldMkLst>
        <pc:spChg chg="add">
          <ac:chgData name="Manish Sharma" userId="97d895ad-8d7a-4884-8c18-743afd731b6f" providerId="ADAL" clId="{E2EE48C2-9300-42EB-ABDD-0EE0B95B309D}" dt="2020-11-09T14:01:09.083" v="100" actId="22"/>
          <ac:spMkLst>
            <pc:docMk/>
            <pc:sldMk cId="1144498750" sldId="502"/>
            <ac:spMk id="3" creationId="{ED45A545-6CB7-4A17-BF20-A59FA4D48F0C}"/>
          </ac:spMkLst>
        </pc:spChg>
      </pc:sldChg>
      <pc:sldChg chg="del">
        <pc:chgData name="Manish Sharma" userId="97d895ad-8d7a-4884-8c18-743afd731b6f" providerId="ADAL" clId="{E2EE48C2-9300-42EB-ABDD-0EE0B95B309D}" dt="2020-11-09T14:01:22.257" v="114" actId="47"/>
        <pc:sldMkLst>
          <pc:docMk/>
          <pc:sldMk cId="1146825991" sldId="503"/>
        </pc:sldMkLst>
      </pc:sldChg>
      <pc:sldChg chg="del">
        <pc:chgData name="Manish Sharma" userId="97d895ad-8d7a-4884-8c18-743afd731b6f" providerId="ADAL" clId="{E2EE48C2-9300-42EB-ABDD-0EE0B95B309D}" dt="2020-11-09T14:01:22.664" v="115" actId="47"/>
        <pc:sldMkLst>
          <pc:docMk/>
          <pc:sldMk cId="1618758624" sldId="504"/>
        </pc:sldMkLst>
      </pc:sldChg>
      <pc:sldChg chg="del">
        <pc:chgData name="Manish Sharma" userId="97d895ad-8d7a-4884-8c18-743afd731b6f" providerId="ADAL" clId="{E2EE48C2-9300-42EB-ABDD-0EE0B95B309D}" dt="2020-11-09T14:01:21.501" v="113" actId="47"/>
        <pc:sldMkLst>
          <pc:docMk/>
          <pc:sldMk cId="1190348094" sldId="505"/>
        </pc:sldMkLst>
      </pc:sldChg>
      <pc:sldChg chg="addSp modSp mod">
        <pc:chgData name="Manish Sharma" userId="97d895ad-8d7a-4884-8c18-743afd731b6f" providerId="ADAL" clId="{E2EE48C2-9300-42EB-ABDD-0EE0B95B309D}" dt="2020-11-11T23:11:25.563" v="7864" actId="2"/>
        <pc:sldMkLst>
          <pc:docMk/>
          <pc:sldMk cId="3575644813" sldId="506"/>
        </pc:sldMkLst>
        <pc:spChg chg="add">
          <ac:chgData name="Manish Sharma" userId="97d895ad-8d7a-4884-8c18-743afd731b6f" providerId="ADAL" clId="{E2EE48C2-9300-42EB-ABDD-0EE0B95B309D}" dt="2020-11-09T14:01:07.167" v="99" actId="22"/>
          <ac:spMkLst>
            <pc:docMk/>
            <pc:sldMk cId="3575644813" sldId="506"/>
            <ac:spMk id="3" creationId="{B1F168AE-AFB0-4D80-A6F4-E05F050954B3}"/>
          </ac:spMkLst>
        </pc:spChg>
        <pc:spChg chg="mod">
          <ac:chgData name="Manish Sharma" userId="97d895ad-8d7a-4884-8c18-743afd731b6f" providerId="ADAL" clId="{E2EE48C2-9300-42EB-ABDD-0EE0B95B309D}" dt="2020-11-11T23:11:23.142" v="7861" actId="2"/>
          <ac:spMkLst>
            <pc:docMk/>
            <pc:sldMk cId="3575644813" sldId="506"/>
            <ac:spMk id="7" creationId="{B2B4F709-BF32-4B9C-85EF-1E265073D9E8}"/>
          </ac:spMkLst>
        </pc:spChg>
        <pc:graphicFrameChg chg="modGraphic">
          <ac:chgData name="Manish Sharma" userId="97d895ad-8d7a-4884-8c18-743afd731b6f" providerId="ADAL" clId="{E2EE48C2-9300-42EB-ABDD-0EE0B95B309D}" dt="2020-11-11T23:11:22.037" v="7859" actId="2"/>
          <ac:graphicFrameMkLst>
            <pc:docMk/>
            <pc:sldMk cId="3575644813" sldId="506"/>
            <ac:graphicFrameMk id="12" creationId="{F3CAD3D4-E6BB-4B9A-A523-75143986B640}"/>
          </ac:graphicFrameMkLst>
        </pc:graphicFrameChg>
        <pc:graphicFrameChg chg="modGraphic">
          <ac:chgData name="Manish Sharma" userId="97d895ad-8d7a-4884-8c18-743afd731b6f" providerId="ADAL" clId="{E2EE48C2-9300-42EB-ABDD-0EE0B95B309D}" dt="2020-11-11T23:11:25.563" v="7864" actId="2"/>
          <ac:graphicFrameMkLst>
            <pc:docMk/>
            <pc:sldMk cId="3575644813" sldId="506"/>
            <ac:graphicFrameMk id="14" creationId="{FEB5ADB4-20B2-4373-B991-B2EEBA794E1A}"/>
          </ac:graphicFrameMkLst>
        </pc:graphicFrameChg>
      </pc:sldChg>
      <pc:sldChg chg="del">
        <pc:chgData name="Manish Sharma" userId="97d895ad-8d7a-4884-8c18-743afd731b6f" providerId="ADAL" clId="{E2EE48C2-9300-42EB-ABDD-0EE0B95B309D}" dt="2020-11-09T14:01:25.274" v="118" actId="47"/>
        <pc:sldMkLst>
          <pc:docMk/>
          <pc:sldMk cId="1630227824" sldId="507"/>
        </pc:sldMkLst>
      </pc:sldChg>
      <pc:sldChg chg="addSp delSp modSp mod">
        <pc:chgData name="Manish Sharma" userId="97d895ad-8d7a-4884-8c18-743afd731b6f" providerId="ADAL" clId="{E2EE48C2-9300-42EB-ABDD-0EE0B95B309D}" dt="2020-11-09T14:03:16.459" v="151" actId="478"/>
        <pc:sldMkLst>
          <pc:docMk/>
          <pc:sldMk cId="1325507544" sldId="508"/>
        </pc:sldMkLst>
        <pc:spChg chg="del mod">
          <ac:chgData name="Manish Sharma" userId="97d895ad-8d7a-4884-8c18-743afd731b6f" providerId="ADAL" clId="{E2EE48C2-9300-42EB-ABDD-0EE0B95B309D}" dt="2020-11-09T14:02:25.316" v="128" actId="478"/>
          <ac:spMkLst>
            <pc:docMk/>
            <pc:sldMk cId="1325507544" sldId="508"/>
            <ac:spMk id="2" creationId="{000F93BD-1633-45C3-B844-70B135096D8F}"/>
          </ac:spMkLst>
        </pc:spChg>
        <pc:spChg chg="add del">
          <ac:chgData name="Manish Sharma" userId="97d895ad-8d7a-4884-8c18-743afd731b6f" providerId="ADAL" clId="{E2EE48C2-9300-42EB-ABDD-0EE0B95B309D}" dt="2020-11-09T14:03:16.459" v="151" actId="478"/>
          <ac:spMkLst>
            <pc:docMk/>
            <pc:sldMk cId="1325507544" sldId="508"/>
            <ac:spMk id="4" creationId="{B44C4BD0-4C21-423D-A980-9C3EE3E8A33B}"/>
          </ac:spMkLst>
        </pc:spChg>
        <pc:spChg chg="mod">
          <ac:chgData name="Manish Sharma" userId="97d895ad-8d7a-4884-8c18-743afd731b6f" providerId="ADAL" clId="{E2EE48C2-9300-42EB-ABDD-0EE0B95B309D}" dt="2020-11-09T14:03:02.637" v="148" actId="20577"/>
          <ac:spMkLst>
            <pc:docMk/>
            <pc:sldMk cId="1325507544" sldId="508"/>
            <ac:spMk id="10" creationId="{00000000-0000-0000-0000-000000000000}"/>
          </ac:spMkLst>
        </pc:spChg>
        <pc:spChg chg="mod">
          <ac:chgData name="Manish Sharma" userId="97d895ad-8d7a-4884-8c18-743afd731b6f" providerId="ADAL" clId="{E2EE48C2-9300-42EB-ABDD-0EE0B95B309D}" dt="2020-11-09T14:02:51.975" v="139" actId="1076"/>
          <ac:spMkLst>
            <pc:docMk/>
            <pc:sldMk cId="1325507544" sldId="508"/>
            <ac:spMk id="12" creationId="{00000000-0000-0000-0000-000000000000}"/>
          </ac:spMkLst>
        </pc:spChg>
        <pc:spChg chg="del mod">
          <ac:chgData name="Manish Sharma" userId="97d895ad-8d7a-4884-8c18-743afd731b6f" providerId="ADAL" clId="{E2EE48C2-9300-42EB-ABDD-0EE0B95B309D}" dt="2020-11-09T14:02:38.803" v="135" actId="478"/>
          <ac:spMkLst>
            <pc:docMk/>
            <pc:sldMk cId="1325507544" sldId="508"/>
            <ac:spMk id="14" creationId="{10910E56-12B7-4659-A83E-149B51BC73C3}"/>
          </ac:spMkLst>
        </pc:spChg>
        <pc:spChg chg="mod">
          <ac:chgData name="Manish Sharma" userId="97d895ad-8d7a-4884-8c18-743afd731b6f" providerId="ADAL" clId="{E2EE48C2-9300-42EB-ABDD-0EE0B95B309D}" dt="2020-11-09T14:01:58.241" v="122" actId="21"/>
          <ac:spMkLst>
            <pc:docMk/>
            <pc:sldMk cId="1325507544" sldId="508"/>
            <ac:spMk id="20" creationId="{00000000-0000-0000-0000-000000000000}"/>
          </ac:spMkLst>
        </pc:spChg>
        <pc:grpChg chg="add del mod">
          <ac:chgData name="Manish Sharma" userId="97d895ad-8d7a-4884-8c18-743afd731b6f" providerId="ADAL" clId="{E2EE48C2-9300-42EB-ABDD-0EE0B95B309D}" dt="2020-11-09T14:02:51.975" v="139" actId="1076"/>
          <ac:grpSpMkLst>
            <pc:docMk/>
            <pc:sldMk cId="1325507544" sldId="508"/>
            <ac:grpSpMk id="3" creationId="{39B0CC43-18D5-47E5-AD76-A975AE443BFC}"/>
          </ac:grpSpMkLst>
        </pc:grpChg>
        <pc:picChg chg="mod">
          <ac:chgData name="Manish Sharma" userId="97d895ad-8d7a-4884-8c18-743afd731b6f" providerId="ADAL" clId="{E2EE48C2-9300-42EB-ABDD-0EE0B95B309D}" dt="2020-11-09T14:02:51.975" v="139" actId="1076"/>
          <ac:picMkLst>
            <pc:docMk/>
            <pc:sldMk cId="1325507544" sldId="508"/>
            <ac:picMk id="11" creationId="{00000000-0000-0000-0000-000000000000}"/>
          </ac:picMkLst>
        </pc:picChg>
      </pc:sldChg>
      <pc:sldChg chg="delSp add mod">
        <pc:chgData name="Manish Sharma" userId="97d895ad-8d7a-4884-8c18-743afd731b6f" providerId="ADAL" clId="{E2EE48C2-9300-42EB-ABDD-0EE0B95B309D}" dt="2020-11-09T14:03:11.674" v="150" actId="478"/>
        <pc:sldMkLst>
          <pc:docMk/>
          <pc:sldMk cId="2800981225" sldId="509"/>
        </pc:sldMkLst>
        <pc:spChg chg="del">
          <ac:chgData name="Manish Sharma" userId="97d895ad-8d7a-4884-8c18-743afd731b6f" providerId="ADAL" clId="{E2EE48C2-9300-42EB-ABDD-0EE0B95B309D}" dt="2020-11-09T14:03:11.674" v="150" actId="478"/>
          <ac:spMkLst>
            <pc:docMk/>
            <pc:sldMk cId="2800981225" sldId="509"/>
            <ac:spMk id="4" creationId="{B44C4BD0-4C21-423D-A980-9C3EE3E8A33B}"/>
          </ac:spMkLst>
        </pc:spChg>
      </pc:sldChg>
      <pc:sldChg chg="modSp add mod">
        <pc:chgData name="Manish Sharma" userId="97d895ad-8d7a-4884-8c18-743afd731b6f" providerId="ADAL" clId="{E2EE48C2-9300-42EB-ABDD-0EE0B95B309D}" dt="2020-11-09T14:03:47.531" v="158" actId="108"/>
        <pc:sldMkLst>
          <pc:docMk/>
          <pc:sldMk cId="2568588867" sldId="510"/>
        </pc:sldMkLst>
        <pc:spChg chg="mod">
          <ac:chgData name="Manish Sharma" userId="97d895ad-8d7a-4884-8c18-743afd731b6f" providerId="ADAL" clId="{E2EE48C2-9300-42EB-ABDD-0EE0B95B309D}" dt="2020-11-09T14:03:47.531" v="158" actId="108"/>
          <ac:spMkLst>
            <pc:docMk/>
            <pc:sldMk cId="2568588867" sldId="510"/>
            <ac:spMk id="10" creationId="{00000000-0000-0000-0000-000000000000}"/>
          </ac:spMkLst>
        </pc:spChg>
        <pc:spChg chg="mod">
          <ac:chgData name="Manish Sharma" userId="97d895ad-8d7a-4884-8c18-743afd731b6f" providerId="ADAL" clId="{E2EE48C2-9300-42EB-ABDD-0EE0B95B309D}" dt="2020-11-09T14:03:36.407" v="156" actId="1076"/>
          <ac:spMkLst>
            <pc:docMk/>
            <pc:sldMk cId="2568588867" sldId="510"/>
            <ac:spMk id="12" creationId="{00000000-0000-0000-0000-000000000000}"/>
          </ac:spMkLst>
        </pc:spChg>
        <pc:grpChg chg="mod">
          <ac:chgData name="Manish Sharma" userId="97d895ad-8d7a-4884-8c18-743afd731b6f" providerId="ADAL" clId="{E2EE48C2-9300-42EB-ABDD-0EE0B95B309D}" dt="2020-11-09T14:03:36.407" v="156" actId="1076"/>
          <ac:grpSpMkLst>
            <pc:docMk/>
            <pc:sldMk cId="2568588867" sldId="510"/>
            <ac:grpSpMk id="3" creationId="{39B0CC43-18D5-47E5-AD76-A975AE443BFC}"/>
          </ac:grpSpMkLst>
        </pc:grpChg>
        <pc:picChg chg="mod">
          <ac:chgData name="Manish Sharma" userId="97d895ad-8d7a-4884-8c18-743afd731b6f" providerId="ADAL" clId="{E2EE48C2-9300-42EB-ABDD-0EE0B95B309D}" dt="2020-11-09T14:03:36.407" v="156" actId="1076"/>
          <ac:picMkLst>
            <pc:docMk/>
            <pc:sldMk cId="2568588867" sldId="510"/>
            <ac:picMk id="11" creationId="{00000000-0000-0000-0000-000000000000}"/>
          </ac:picMkLst>
        </pc:picChg>
      </pc:sldChg>
      <pc:sldChg chg="modSp add mod">
        <pc:chgData name="Manish Sharma" userId="97d895ad-8d7a-4884-8c18-743afd731b6f" providerId="ADAL" clId="{E2EE48C2-9300-42EB-ABDD-0EE0B95B309D}" dt="2020-11-09T14:04:28.675" v="166" actId="1076"/>
        <pc:sldMkLst>
          <pc:docMk/>
          <pc:sldMk cId="3000540517" sldId="511"/>
        </pc:sldMkLst>
        <pc:spChg chg="mod">
          <ac:chgData name="Manish Sharma" userId="97d895ad-8d7a-4884-8c18-743afd731b6f" providerId="ADAL" clId="{E2EE48C2-9300-42EB-ABDD-0EE0B95B309D}" dt="2020-11-09T14:04:15.908" v="164" actId="6549"/>
          <ac:spMkLst>
            <pc:docMk/>
            <pc:sldMk cId="3000540517" sldId="511"/>
            <ac:spMk id="10" creationId="{00000000-0000-0000-0000-000000000000}"/>
          </ac:spMkLst>
        </pc:spChg>
        <pc:spChg chg="mod">
          <ac:chgData name="Manish Sharma" userId="97d895ad-8d7a-4884-8c18-743afd731b6f" providerId="ADAL" clId="{E2EE48C2-9300-42EB-ABDD-0EE0B95B309D}" dt="2020-11-09T14:04:28.675" v="166" actId="1076"/>
          <ac:spMkLst>
            <pc:docMk/>
            <pc:sldMk cId="3000540517" sldId="511"/>
            <ac:spMk id="12" creationId="{00000000-0000-0000-0000-000000000000}"/>
          </ac:spMkLst>
        </pc:spChg>
        <pc:grpChg chg="mod">
          <ac:chgData name="Manish Sharma" userId="97d895ad-8d7a-4884-8c18-743afd731b6f" providerId="ADAL" clId="{E2EE48C2-9300-42EB-ABDD-0EE0B95B309D}" dt="2020-11-09T14:04:28.675" v="166" actId="1076"/>
          <ac:grpSpMkLst>
            <pc:docMk/>
            <pc:sldMk cId="3000540517" sldId="511"/>
            <ac:grpSpMk id="3" creationId="{39B0CC43-18D5-47E5-AD76-A975AE443BFC}"/>
          </ac:grpSpMkLst>
        </pc:grpChg>
        <pc:picChg chg="mod">
          <ac:chgData name="Manish Sharma" userId="97d895ad-8d7a-4884-8c18-743afd731b6f" providerId="ADAL" clId="{E2EE48C2-9300-42EB-ABDD-0EE0B95B309D}" dt="2020-11-09T14:04:28.675" v="166" actId="1076"/>
          <ac:picMkLst>
            <pc:docMk/>
            <pc:sldMk cId="3000540517" sldId="511"/>
            <ac:picMk id="11" creationId="{00000000-0000-0000-0000-000000000000}"/>
          </ac:picMkLst>
        </pc:picChg>
      </pc:sldChg>
    </pc:docChg>
  </pc:docChgLst>
  <pc:docChgLst>
    <pc:chgData name="Gurunand" userId="3497c6a8-6cb2-4308-974d-19fae6631586" providerId="ADAL" clId="{FAABB5B3-A052-4E82-A2FE-E712675805CD}"/>
    <pc:docChg chg="undo custSel delSld modSld modSection">
      <pc:chgData name="Gurunand" userId="3497c6a8-6cb2-4308-974d-19fae6631586" providerId="ADAL" clId="{FAABB5B3-A052-4E82-A2FE-E712675805CD}" dt="2020-09-30T02:38:41.519" v="571" actId="108"/>
      <pc:docMkLst>
        <pc:docMk/>
      </pc:docMkLst>
      <pc:sldChg chg="del">
        <pc:chgData name="Gurunand" userId="3497c6a8-6cb2-4308-974d-19fae6631586" providerId="ADAL" clId="{FAABB5B3-A052-4E82-A2FE-E712675805CD}" dt="2020-09-30T02:29:49.757" v="471" actId="47"/>
        <pc:sldMkLst>
          <pc:docMk/>
          <pc:sldMk cId="3649563644" sldId="376"/>
        </pc:sldMkLst>
      </pc:sldChg>
      <pc:sldChg chg="del">
        <pc:chgData name="Gurunand" userId="3497c6a8-6cb2-4308-974d-19fae6631586" providerId="ADAL" clId="{FAABB5B3-A052-4E82-A2FE-E712675805CD}" dt="2020-09-30T02:31:53.048" v="472" actId="47"/>
        <pc:sldMkLst>
          <pc:docMk/>
          <pc:sldMk cId="3561461661" sldId="461"/>
        </pc:sldMkLst>
      </pc:sldChg>
      <pc:sldChg chg="addSp delSp modSp mod">
        <pc:chgData name="Gurunand" userId="3497c6a8-6cb2-4308-974d-19fae6631586" providerId="ADAL" clId="{FAABB5B3-A052-4E82-A2FE-E712675805CD}" dt="2020-09-30T02:37:41.323" v="569" actId="6549"/>
        <pc:sldMkLst>
          <pc:docMk/>
          <pc:sldMk cId="1839882295" sldId="476"/>
        </pc:sldMkLst>
        <pc:spChg chg="mod">
          <ac:chgData name="Gurunand" userId="3497c6a8-6cb2-4308-974d-19fae6631586" providerId="ADAL" clId="{FAABB5B3-A052-4E82-A2FE-E712675805CD}" dt="2020-09-30T02:32:35.284" v="473"/>
          <ac:spMkLst>
            <pc:docMk/>
            <pc:sldMk cId="1839882295" sldId="476"/>
            <ac:spMk id="2" creationId="{00000000-0000-0000-0000-000000000000}"/>
          </ac:spMkLst>
        </pc:spChg>
        <pc:spChg chg="del">
          <ac:chgData name="Gurunand" userId="3497c6a8-6cb2-4308-974d-19fae6631586" providerId="ADAL" clId="{FAABB5B3-A052-4E82-A2FE-E712675805CD}" dt="2020-09-30T00:25:24.424" v="228" actId="478"/>
          <ac:spMkLst>
            <pc:docMk/>
            <pc:sldMk cId="1839882295" sldId="476"/>
            <ac:spMk id="6" creationId="{7F7A00B4-AA17-4355-98CF-8661B85E076A}"/>
          </ac:spMkLst>
        </pc:spChg>
        <pc:spChg chg="del mod">
          <ac:chgData name="Gurunand" userId="3497c6a8-6cb2-4308-974d-19fae6631586" providerId="ADAL" clId="{FAABB5B3-A052-4E82-A2FE-E712675805CD}" dt="2020-09-30T02:33:42.024" v="482" actId="478"/>
          <ac:spMkLst>
            <pc:docMk/>
            <pc:sldMk cId="1839882295" sldId="476"/>
            <ac:spMk id="7" creationId="{B2B4F709-BF32-4B9C-85EF-1E265073D9E8}"/>
          </ac:spMkLst>
        </pc:spChg>
        <pc:spChg chg="mod">
          <ac:chgData name="Gurunand" userId="3497c6a8-6cb2-4308-974d-19fae6631586" providerId="ADAL" clId="{FAABB5B3-A052-4E82-A2FE-E712675805CD}" dt="2020-09-30T02:37:41.323" v="569" actId="6549"/>
          <ac:spMkLst>
            <pc:docMk/>
            <pc:sldMk cId="1839882295" sldId="476"/>
            <ac:spMk id="32" creationId="{66C97658-9FBC-4EE3-9FD8-A943269193F6}"/>
          </ac:spMkLst>
        </pc:spChg>
        <pc:graphicFrameChg chg="add del mod">
          <ac:chgData name="Gurunand" userId="3497c6a8-6cb2-4308-974d-19fae6631586" providerId="ADAL" clId="{FAABB5B3-A052-4E82-A2FE-E712675805CD}" dt="2020-09-30T02:34:51.261" v="493" actId="478"/>
          <ac:graphicFrameMkLst>
            <pc:docMk/>
            <pc:sldMk cId="1839882295" sldId="476"/>
            <ac:graphicFrameMk id="4" creationId="{B319F7F1-21CE-432B-B375-F90951D5D72A}"/>
          </ac:graphicFrameMkLst>
        </pc:graphicFrameChg>
        <pc:graphicFrameChg chg="del">
          <ac:chgData name="Gurunand" userId="3497c6a8-6cb2-4308-974d-19fae6631586" providerId="ADAL" clId="{FAABB5B3-A052-4E82-A2FE-E712675805CD}" dt="2020-09-30T00:25:54.827" v="229" actId="478"/>
          <ac:graphicFrameMkLst>
            <pc:docMk/>
            <pc:sldMk cId="1839882295" sldId="476"/>
            <ac:graphicFrameMk id="5" creationId="{4D8F7C7A-7A07-4BC2-ADE8-8512DCF513D3}"/>
          </ac:graphicFrameMkLst>
        </pc:graphicFrameChg>
        <pc:graphicFrameChg chg="mod modGraphic">
          <ac:chgData name="Gurunand" userId="3497c6a8-6cb2-4308-974d-19fae6631586" providerId="ADAL" clId="{FAABB5B3-A052-4E82-A2FE-E712675805CD}" dt="2020-09-30T02:34:40.079" v="492" actId="108"/>
          <ac:graphicFrameMkLst>
            <pc:docMk/>
            <pc:sldMk cId="1839882295" sldId="476"/>
            <ac:graphicFrameMk id="12" creationId="{F3CAD3D4-E6BB-4B9A-A523-75143986B640}"/>
          </ac:graphicFrameMkLst>
        </pc:graphicFrameChg>
        <pc:graphicFrameChg chg="mod modGraphic">
          <ac:chgData name="Gurunand" userId="3497c6a8-6cb2-4308-974d-19fae6631586" providerId="ADAL" clId="{FAABB5B3-A052-4E82-A2FE-E712675805CD}" dt="2020-09-30T02:34:38" v="491"/>
          <ac:graphicFrameMkLst>
            <pc:docMk/>
            <pc:sldMk cId="1839882295" sldId="476"/>
            <ac:graphicFrameMk id="14" creationId="{FEB5ADB4-20B2-4373-B991-B2EEBA794E1A}"/>
          </ac:graphicFrameMkLst>
        </pc:graphicFrameChg>
      </pc:sldChg>
      <pc:sldChg chg="addSp del mod">
        <pc:chgData name="Gurunand" userId="3497c6a8-6cb2-4308-974d-19fae6631586" providerId="ADAL" clId="{FAABB5B3-A052-4E82-A2FE-E712675805CD}" dt="2020-09-30T00:37:18.776" v="269" actId="2696"/>
        <pc:sldMkLst>
          <pc:docMk/>
          <pc:sldMk cId="2144132581" sldId="485"/>
        </pc:sldMkLst>
        <pc:spChg chg="add">
          <ac:chgData name="Gurunand" userId="3497c6a8-6cb2-4308-974d-19fae6631586" providerId="ADAL" clId="{FAABB5B3-A052-4E82-A2FE-E712675805CD}" dt="2020-09-30T00:36:06.573" v="268" actId="22"/>
          <ac:spMkLst>
            <pc:docMk/>
            <pc:sldMk cId="2144132581" sldId="485"/>
            <ac:spMk id="5" creationId="{1EAF1B04-6F55-475B-A0AE-3A025F6EAAF4}"/>
          </ac:spMkLst>
        </pc:spChg>
      </pc:sldChg>
      <pc:sldChg chg="addSp delSp modSp mod">
        <pc:chgData name="Gurunand" userId="3497c6a8-6cb2-4308-974d-19fae6631586" providerId="ADAL" clId="{FAABB5B3-A052-4E82-A2FE-E712675805CD}" dt="2020-09-30T02:29:05.946" v="470" actId="478"/>
        <pc:sldMkLst>
          <pc:docMk/>
          <pc:sldMk cId="2390210828" sldId="485"/>
        </pc:sldMkLst>
        <pc:spChg chg="mod">
          <ac:chgData name="Gurunand" userId="3497c6a8-6cb2-4308-974d-19fae6631586" providerId="ADAL" clId="{FAABB5B3-A052-4E82-A2FE-E712675805CD}" dt="2020-09-30T00:38:24.450" v="271"/>
          <ac:spMkLst>
            <pc:docMk/>
            <pc:sldMk cId="2390210828" sldId="485"/>
            <ac:spMk id="2" creationId="{00000000-0000-0000-0000-000000000000}"/>
          </ac:spMkLst>
        </pc:spChg>
        <pc:spChg chg="del">
          <ac:chgData name="Gurunand" userId="3497c6a8-6cb2-4308-974d-19fae6631586" providerId="ADAL" clId="{FAABB5B3-A052-4E82-A2FE-E712675805CD}" dt="2020-09-30T02:29:05.946" v="470" actId="478"/>
          <ac:spMkLst>
            <pc:docMk/>
            <pc:sldMk cId="2390210828" sldId="485"/>
            <ac:spMk id="5" creationId="{1EAF1B04-6F55-475B-A0AE-3A025F6EAAF4}"/>
          </ac:spMkLst>
        </pc:spChg>
        <pc:spChg chg="mod">
          <ac:chgData name="Gurunand" userId="3497c6a8-6cb2-4308-974d-19fae6631586" providerId="ADAL" clId="{FAABB5B3-A052-4E82-A2FE-E712675805CD}" dt="2020-09-30T02:28:28.304" v="469" actId="13926"/>
          <ac:spMkLst>
            <pc:docMk/>
            <pc:sldMk cId="2390210828" sldId="485"/>
            <ac:spMk id="7" creationId="{B2B4F709-BF32-4B9C-85EF-1E265073D9E8}"/>
          </ac:spMkLst>
        </pc:spChg>
        <pc:spChg chg="mod">
          <ac:chgData name="Gurunand" userId="3497c6a8-6cb2-4308-974d-19fae6631586" providerId="ADAL" clId="{FAABB5B3-A052-4E82-A2FE-E712675805CD}" dt="2020-09-30T00:49:13.832" v="311" actId="20577"/>
          <ac:spMkLst>
            <pc:docMk/>
            <pc:sldMk cId="2390210828" sldId="485"/>
            <ac:spMk id="32" creationId="{66C97658-9FBC-4EE3-9FD8-A943269193F6}"/>
          </ac:spMkLst>
        </pc:spChg>
        <pc:graphicFrameChg chg="del">
          <ac:chgData name="Gurunand" userId="3497c6a8-6cb2-4308-974d-19fae6631586" providerId="ADAL" clId="{FAABB5B3-A052-4E82-A2FE-E712675805CD}" dt="2020-09-30T00:49:17.905" v="312" actId="478"/>
          <ac:graphicFrameMkLst>
            <pc:docMk/>
            <pc:sldMk cId="2390210828" sldId="485"/>
            <ac:graphicFrameMk id="4" creationId="{B319F7F1-21CE-432B-B375-F90951D5D72A}"/>
          </ac:graphicFrameMkLst>
        </pc:graphicFrameChg>
        <pc:graphicFrameChg chg="add mod">
          <ac:chgData name="Gurunand" userId="3497c6a8-6cb2-4308-974d-19fae6631586" providerId="ADAL" clId="{FAABB5B3-A052-4E82-A2FE-E712675805CD}" dt="2020-09-30T00:51:21.364" v="316"/>
          <ac:graphicFrameMkLst>
            <pc:docMk/>
            <pc:sldMk cId="2390210828" sldId="485"/>
            <ac:graphicFrameMk id="6" creationId="{F03F5EF7-5124-41A7-B207-8F7A165062AC}"/>
          </ac:graphicFrameMkLst>
        </pc:graphicFrameChg>
        <pc:graphicFrameChg chg="mod modGraphic">
          <ac:chgData name="Gurunand" userId="3497c6a8-6cb2-4308-974d-19fae6631586" providerId="ADAL" clId="{FAABB5B3-A052-4E82-A2FE-E712675805CD}" dt="2020-09-30T02:28:02.543" v="468"/>
          <ac:graphicFrameMkLst>
            <pc:docMk/>
            <pc:sldMk cId="2390210828" sldId="485"/>
            <ac:graphicFrameMk id="12" creationId="{F3CAD3D4-E6BB-4B9A-A523-75143986B640}"/>
          </ac:graphicFrameMkLst>
        </pc:graphicFrameChg>
        <pc:graphicFrameChg chg="mod modGraphic">
          <ac:chgData name="Gurunand" userId="3497c6a8-6cb2-4308-974d-19fae6631586" providerId="ADAL" clId="{FAABB5B3-A052-4E82-A2FE-E712675805CD}" dt="2020-09-30T01:47:05.414" v="411" actId="20577"/>
          <ac:graphicFrameMkLst>
            <pc:docMk/>
            <pc:sldMk cId="2390210828" sldId="485"/>
            <ac:graphicFrameMk id="14" creationId="{FEB5ADB4-20B2-4373-B991-B2EEBA794E1A}"/>
          </ac:graphicFrameMkLst>
        </pc:graphicFrameChg>
      </pc:sldChg>
      <pc:sldChg chg="modSp mod">
        <pc:chgData name="Gurunand" userId="3497c6a8-6cb2-4308-974d-19fae6631586" providerId="ADAL" clId="{FAABB5B3-A052-4E82-A2FE-E712675805CD}" dt="2020-09-30T02:38:41.519" v="571" actId="108"/>
        <pc:sldMkLst>
          <pc:docMk/>
          <pc:sldMk cId="1463465618" sldId="486"/>
        </pc:sldMkLst>
        <pc:graphicFrameChg chg="mod modGraphic">
          <ac:chgData name="Gurunand" userId="3497c6a8-6cb2-4308-974d-19fae6631586" providerId="ADAL" clId="{FAABB5B3-A052-4E82-A2FE-E712675805CD}" dt="2020-09-30T02:38:41.519" v="571" actId="108"/>
          <ac:graphicFrameMkLst>
            <pc:docMk/>
            <pc:sldMk cId="1463465618" sldId="486"/>
            <ac:graphicFrameMk id="14" creationId="{FEB5ADB4-20B2-4373-B991-B2EEBA794E1A}"/>
          </ac:graphicFrameMkLst>
        </pc:graphicFrameChg>
      </pc:sldChg>
    </pc:docChg>
  </pc:docChgLst>
  <pc:docChgLst>
    <pc:chgData name="Manish Sharma" userId="97d895ad-8d7a-4884-8c18-743afd731b6f" providerId="ADAL" clId="{98BF074C-1873-4ADD-A7F9-710116C06AA3}"/>
    <pc:docChg chg="undo redo custSel modSld">
      <pc:chgData name="Manish Sharma" userId="97d895ad-8d7a-4884-8c18-743afd731b6f" providerId="ADAL" clId="{98BF074C-1873-4ADD-A7F9-710116C06AA3}" dt="2020-11-18T19:12:30.361" v="403" actId="20577"/>
      <pc:docMkLst>
        <pc:docMk/>
      </pc:docMkLst>
      <pc:sldChg chg="addSp delSp modSp mod">
        <pc:chgData name="Manish Sharma" userId="97d895ad-8d7a-4884-8c18-743afd731b6f" providerId="ADAL" clId="{98BF074C-1873-4ADD-A7F9-710116C06AA3}" dt="2020-11-18T17:39:18.290" v="320" actId="1076"/>
        <pc:sldMkLst>
          <pc:docMk/>
          <pc:sldMk cId="2829381692" sldId="393"/>
        </pc:sldMkLst>
        <pc:spChg chg="del">
          <ac:chgData name="Manish Sharma" userId="97d895ad-8d7a-4884-8c18-743afd731b6f" providerId="ADAL" clId="{98BF074C-1873-4ADD-A7F9-710116C06AA3}" dt="2020-11-18T14:33:35.568" v="92" actId="478"/>
          <ac:spMkLst>
            <pc:docMk/>
            <pc:sldMk cId="2829381692" sldId="393"/>
            <ac:spMk id="3" creationId="{9864A121-4922-4796-8F6B-0D7D256AF08C}"/>
          </ac:spMkLst>
        </pc:spChg>
        <pc:spChg chg="mod">
          <ac:chgData name="Manish Sharma" userId="97d895ad-8d7a-4884-8c18-743afd731b6f" providerId="ADAL" clId="{98BF074C-1873-4ADD-A7F9-710116C06AA3}" dt="2020-11-18T15:59:18.578" v="318" actId="6549"/>
          <ac:spMkLst>
            <pc:docMk/>
            <pc:sldMk cId="2829381692" sldId="393"/>
            <ac:spMk id="20" creationId="{00000000-0000-0000-0000-000000000000}"/>
          </ac:spMkLst>
        </pc:spChg>
        <pc:spChg chg="mod">
          <ac:chgData name="Manish Sharma" userId="97d895ad-8d7a-4884-8c18-743afd731b6f" providerId="ADAL" clId="{98BF074C-1873-4ADD-A7F9-710116C06AA3}" dt="2020-11-18T15:58:53.701" v="306" actId="20577"/>
          <ac:spMkLst>
            <pc:docMk/>
            <pc:sldMk cId="2829381692" sldId="393"/>
            <ac:spMk id="30" creationId="{BC68C9EA-24FC-4D79-A0C1-213D45B72034}"/>
          </ac:spMkLst>
        </pc:spChg>
        <pc:grpChg chg="mod">
          <ac:chgData name="Manish Sharma" userId="97d895ad-8d7a-4884-8c18-743afd731b6f" providerId="ADAL" clId="{98BF074C-1873-4ADD-A7F9-710116C06AA3}" dt="2020-11-18T14:49:11.413" v="194" actId="1076"/>
          <ac:grpSpMkLst>
            <pc:docMk/>
            <pc:sldMk cId="2829381692" sldId="393"/>
            <ac:grpSpMk id="9" creationId="{0C9A9329-34F4-42B3-B417-32AA75A6C343}"/>
          </ac:grpSpMkLst>
        </pc:grpChg>
        <pc:grpChg chg="mod">
          <ac:chgData name="Manish Sharma" userId="97d895ad-8d7a-4884-8c18-743afd731b6f" providerId="ADAL" clId="{98BF074C-1873-4ADD-A7F9-710116C06AA3}" dt="2020-11-18T14:49:07.647" v="193" actId="1076"/>
          <ac:grpSpMkLst>
            <pc:docMk/>
            <pc:sldMk cId="2829381692" sldId="393"/>
            <ac:grpSpMk id="10" creationId="{C4153FF1-0D99-45EB-9EE7-432D02358821}"/>
          </ac:grpSpMkLst>
        </pc:grpChg>
        <pc:graphicFrameChg chg="add mod">
          <ac:chgData name="Manish Sharma" userId="97d895ad-8d7a-4884-8c18-743afd731b6f" providerId="ADAL" clId="{98BF074C-1873-4ADD-A7F9-710116C06AA3}" dt="2020-11-18T17:39:18.290" v="320" actId="1076"/>
          <ac:graphicFrameMkLst>
            <pc:docMk/>
            <pc:sldMk cId="2829381692" sldId="393"/>
            <ac:graphicFrameMk id="3" creationId="{D6A31294-74D8-4DD2-95E5-E3A79C449E12}"/>
          </ac:graphicFrameMkLst>
        </pc:graphicFrameChg>
        <pc:graphicFrameChg chg="add del mod modGraphic">
          <ac:chgData name="Manish Sharma" userId="97d895ad-8d7a-4884-8c18-743afd731b6f" providerId="ADAL" clId="{98BF074C-1873-4ADD-A7F9-710116C06AA3}" dt="2020-11-18T15:58:31.818" v="301" actId="20577"/>
          <ac:graphicFrameMkLst>
            <pc:docMk/>
            <pc:sldMk cId="2829381692" sldId="393"/>
            <ac:graphicFrameMk id="5" creationId="{F6336F85-0A1A-4E48-B84C-6D2EFFE6A1C3}"/>
          </ac:graphicFrameMkLst>
        </pc:graphicFrameChg>
      </pc:sldChg>
      <pc:sldChg chg="modSp mod">
        <pc:chgData name="Manish Sharma" userId="97d895ad-8d7a-4884-8c18-743afd731b6f" providerId="ADAL" clId="{98BF074C-1873-4ADD-A7F9-710116C06AA3}" dt="2020-11-18T15:52:06.860" v="266" actId="20577"/>
        <pc:sldMkLst>
          <pc:docMk/>
          <pc:sldMk cId="3705176354" sldId="428"/>
        </pc:sldMkLst>
        <pc:spChg chg="mod">
          <ac:chgData name="Manish Sharma" userId="97d895ad-8d7a-4884-8c18-743afd731b6f" providerId="ADAL" clId="{98BF074C-1873-4ADD-A7F9-710116C06AA3}" dt="2020-11-18T15:52:02.732" v="262" actId="20577"/>
          <ac:spMkLst>
            <pc:docMk/>
            <pc:sldMk cId="3705176354" sldId="428"/>
            <ac:spMk id="4" creationId="{1D54A381-9ED5-4626-82D3-1EFCE1DF6AEC}"/>
          </ac:spMkLst>
        </pc:spChg>
        <pc:spChg chg="mod">
          <ac:chgData name="Manish Sharma" userId="97d895ad-8d7a-4884-8c18-743afd731b6f" providerId="ADAL" clId="{98BF074C-1873-4ADD-A7F9-710116C06AA3}" dt="2020-11-18T15:52:06.860" v="266" actId="20577"/>
          <ac:spMkLst>
            <pc:docMk/>
            <pc:sldMk cId="3705176354" sldId="428"/>
            <ac:spMk id="21" creationId="{00000000-0000-0000-0000-000000000000}"/>
          </ac:spMkLst>
        </pc:spChg>
        <pc:spChg chg="mod">
          <ac:chgData name="Manish Sharma" userId="97d895ad-8d7a-4884-8c18-743afd731b6f" providerId="ADAL" clId="{98BF074C-1873-4ADD-A7F9-710116C06AA3}" dt="2020-11-18T14:15:19.874" v="26" actId="20577"/>
          <ac:spMkLst>
            <pc:docMk/>
            <pc:sldMk cId="3705176354" sldId="428"/>
            <ac:spMk id="116" creationId="{00000000-0000-0000-0000-000000000000}"/>
          </ac:spMkLst>
        </pc:spChg>
      </pc:sldChg>
      <pc:sldChg chg="delSp modSp mod">
        <pc:chgData name="Manish Sharma" userId="97d895ad-8d7a-4884-8c18-743afd731b6f" providerId="ADAL" clId="{98BF074C-1873-4ADD-A7F9-710116C06AA3}" dt="2020-11-18T14:41:59.368" v="159" actId="13926"/>
        <pc:sldMkLst>
          <pc:docMk/>
          <pc:sldMk cId="3785293199" sldId="445"/>
        </pc:sldMkLst>
        <pc:spChg chg="mod">
          <ac:chgData name="Manish Sharma" userId="97d895ad-8d7a-4884-8c18-743afd731b6f" providerId="ADAL" clId="{98BF074C-1873-4ADD-A7F9-710116C06AA3}" dt="2020-11-18T14:36:25.632" v="145" actId="13926"/>
          <ac:spMkLst>
            <pc:docMk/>
            <pc:sldMk cId="3785293199" sldId="445"/>
            <ac:spMk id="2" creationId="{00000000-0000-0000-0000-000000000000}"/>
          </ac:spMkLst>
        </pc:spChg>
        <pc:spChg chg="mod">
          <ac:chgData name="Manish Sharma" userId="97d895ad-8d7a-4884-8c18-743afd731b6f" providerId="ADAL" clId="{98BF074C-1873-4ADD-A7F9-710116C06AA3}" dt="2020-11-18T14:41:50.268" v="157" actId="13926"/>
          <ac:spMkLst>
            <pc:docMk/>
            <pc:sldMk cId="3785293199" sldId="445"/>
            <ac:spMk id="5" creationId="{57DA03D2-BDDD-4B29-A79F-3BCEC511705B}"/>
          </ac:spMkLst>
        </pc:spChg>
        <pc:spChg chg="del">
          <ac:chgData name="Manish Sharma" userId="97d895ad-8d7a-4884-8c18-743afd731b6f" providerId="ADAL" clId="{98BF074C-1873-4ADD-A7F9-710116C06AA3}" dt="2020-11-18T14:36:19.966" v="144" actId="478"/>
          <ac:spMkLst>
            <pc:docMk/>
            <pc:sldMk cId="3785293199" sldId="445"/>
            <ac:spMk id="6" creationId="{F4801134-1699-47B1-8AC5-BEDC662D1EC0}"/>
          </ac:spMkLst>
        </pc:spChg>
        <pc:spChg chg="mod">
          <ac:chgData name="Manish Sharma" userId="97d895ad-8d7a-4884-8c18-743afd731b6f" providerId="ADAL" clId="{98BF074C-1873-4ADD-A7F9-710116C06AA3}" dt="2020-11-18T14:41:59.368" v="159" actId="13926"/>
          <ac:spMkLst>
            <pc:docMk/>
            <pc:sldMk cId="3785293199" sldId="445"/>
            <ac:spMk id="14" creationId="{3ADA01F1-3B4B-4FAA-84E6-17ACC70140F8}"/>
          </ac:spMkLst>
        </pc:spChg>
        <pc:spChg chg="mod">
          <ac:chgData name="Manish Sharma" userId="97d895ad-8d7a-4884-8c18-743afd731b6f" providerId="ADAL" clId="{98BF074C-1873-4ADD-A7F9-710116C06AA3}" dt="2020-11-18T14:41:07.346" v="153"/>
          <ac:spMkLst>
            <pc:docMk/>
            <pc:sldMk cId="3785293199" sldId="445"/>
            <ac:spMk id="25" creationId="{2A68DE28-217C-4D58-BA92-1AC7776A922E}"/>
          </ac:spMkLst>
        </pc:spChg>
        <pc:spChg chg="mod">
          <ac:chgData name="Manish Sharma" userId="97d895ad-8d7a-4884-8c18-743afd731b6f" providerId="ADAL" clId="{98BF074C-1873-4ADD-A7F9-710116C06AA3}" dt="2020-11-18T14:41:34.729" v="155"/>
          <ac:spMkLst>
            <pc:docMk/>
            <pc:sldMk cId="3785293199" sldId="445"/>
            <ac:spMk id="27" creationId="{813FD8F9-6E60-45F9-A8B5-18176FF3E434}"/>
          </ac:spMkLst>
        </pc:spChg>
        <pc:spChg chg="mod">
          <ac:chgData name="Manish Sharma" userId="97d895ad-8d7a-4884-8c18-743afd731b6f" providerId="ADAL" clId="{98BF074C-1873-4ADD-A7F9-710116C06AA3}" dt="2020-11-18T14:41:21.248" v="154"/>
          <ac:spMkLst>
            <pc:docMk/>
            <pc:sldMk cId="3785293199" sldId="445"/>
            <ac:spMk id="29" creationId="{72CB840D-447D-492C-A14A-718942E7B821}"/>
          </ac:spMkLst>
        </pc:spChg>
        <pc:graphicFrameChg chg="mod modGraphic">
          <ac:chgData name="Manish Sharma" userId="97d895ad-8d7a-4884-8c18-743afd731b6f" providerId="ADAL" clId="{98BF074C-1873-4ADD-A7F9-710116C06AA3}" dt="2020-11-18T14:40:06.771" v="149"/>
          <ac:graphicFrameMkLst>
            <pc:docMk/>
            <pc:sldMk cId="3785293199" sldId="445"/>
            <ac:graphicFrameMk id="53" creationId="{E5833FD7-3504-4AE9-9C58-79A4D525D16B}"/>
          </ac:graphicFrameMkLst>
        </pc:graphicFrameChg>
        <pc:graphicFrameChg chg="mod modGraphic">
          <ac:chgData name="Manish Sharma" userId="97d895ad-8d7a-4884-8c18-743afd731b6f" providerId="ADAL" clId="{98BF074C-1873-4ADD-A7F9-710116C06AA3}" dt="2020-11-18T14:40:13.669" v="151"/>
          <ac:graphicFrameMkLst>
            <pc:docMk/>
            <pc:sldMk cId="3785293199" sldId="445"/>
            <ac:graphicFrameMk id="55" creationId="{A7A9C0A9-652B-44C1-AFD0-CA965CA34DBB}"/>
          </ac:graphicFrameMkLst>
        </pc:graphicFrameChg>
        <pc:cxnChg chg="mod">
          <ac:chgData name="Manish Sharma" userId="97d895ad-8d7a-4884-8c18-743afd731b6f" providerId="ADAL" clId="{98BF074C-1873-4ADD-A7F9-710116C06AA3}" dt="2020-11-18T14:41:21.248" v="154"/>
          <ac:cxnSpMkLst>
            <pc:docMk/>
            <pc:sldMk cId="3785293199" sldId="445"/>
            <ac:cxnSpMk id="30" creationId="{0ED2CC6C-47B4-4325-8655-C3CC64AEE9D2}"/>
          </ac:cxnSpMkLst>
        </pc:cxnChg>
      </pc:sldChg>
      <pc:sldChg chg="modSp mod">
        <pc:chgData name="Manish Sharma" userId="97d895ad-8d7a-4884-8c18-743afd731b6f" providerId="ADAL" clId="{98BF074C-1873-4ADD-A7F9-710116C06AA3}" dt="2020-11-18T13:17:18.940" v="24" actId="13926"/>
        <pc:sldMkLst>
          <pc:docMk/>
          <pc:sldMk cId="467378802" sldId="492"/>
        </pc:sldMkLst>
        <pc:graphicFrameChg chg="modGraphic">
          <ac:chgData name="Manish Sharma" userId="97d895ad-8d7a-4884-8c18-743afd731b6f" providerId="ADAL" clId="{98BF074C-1873-4ADD-A7F9-710116C06AA3}" dt="2020-11-18T13:17:01.187" v="23" actId="20577"/>
          <ac:graphicFrameMkLst>
            <pc:docMk/>
            <pc:sldMk cId="467378802" sldId="492"/>
            <ac:graphicFrameMk id="22" creationId="{25ADC611-E4BA-4F2F-9BF9-A6228171DDE2}"/>
          </ac:graphicFrameMkLst>
        </pc:graphicFrameChg>
        <pc:graphicFrameChg chg="modGraphic">
          <ac:chgData name="Manish Sharma" userId="97d895ad-8d7a-4884-8c18-743afd731b6f" providerId="ADAL" clId="{98BF074C-1873-4ADD-A7F9-710116C06AA3}" dt="2020-11-18T13:17:18.940" v="24" actId="13926"/>
          <ac:graphicFrameMkLst>
            <pc:docMk/>
            <pc:sldMk cId="467378802" sldId="492"/>
            <ac:graphicFrameMk id="23" creationId="{00000000-0000-0000-0000-000000000000}"/>
          </ac:graphicFrameMkLst>
        </pc:graphicFrameChg>
      </pc:sldChg>
      <pc:sldChg chg="modSp mod">
        <pc:chgData name="Manish Sharma" userId="97d895ad-8d7a-4884-8c18-743afd731b6f" providerId="ADAL" clId="{98BF074C-1873-4ADD-A7F9-710116C06AA3}" dt="2020-11-18T14:49:41.755" v="214" actId="20577"/>
        <pc:sldMkLst>
          <pc:docMk/>
          <pc:sldMk cId="1603357931" sldId="494"/>
        </pc:sldMkLst>
        <pc:spChg chg="mod">
          <ac:chgData name="Manish Sharma" userId="97d895ad-8d7a-4884-8c18-743afd731b6f" providerId="ADAL" clId="{98BF074C-1873-4ADD-A7F9-710116C06AA3}" dt="2020-11-18T14:49:41.755" v="214" actId="20577"/>
          <ac:spMkLst>
            <pc:docMk/>
            <pc:sldMk cId="1603357931" sldId="494"/>
            <ac:spMk id="76" creationId="{44CA77D8-9CF9-4BA8-9B8A-8E2AAFCEFFE0}"/>
          </ac:spMkLst>
        </pc:spChg>
      </pc:sldChg>
      <pc:sldChg chg="modSp mod">
        <pc:chgData name="Manish Sharma" userId="97d895ad-8d7a-4884-8c18-743afd731b6f" providerId="ADAL" clId="{98BF074C-1873-4ADD-A7F9-710116C06AA3}" dt="2020-11-18T19:12:30.361" v="403" actId="20577"/>
        <pc:sldMkLst>
          <pc:docMk/>
          <pc:sldMk cId="1268643240" sldId="513"/>
        </pc:sldMkLst>
        <pc:graphicFrameChg chg="modGraphic">
          <ac:chgData name="Manish Sharma" userId="97d895ad-8d7a-4884-8c18-743afd731b6f" providerId="ADAL" clId="{98BF074C-1873-4ADD-A7F9-710116C06AA3}" dt="2020-11-18T19:12:30.361" v="403" actId="20577"/>
          <ac:graphicFrameMkLst>
            <pc:docMk/>
            <pc:sldMk cId="1268643240" sldId="513"/>
            <ac:graphicFrameMk id="28" creationId="{994870E9-25EF-4A43-B1A1-38CC6A36FD4D}"/>
          </ac:graphicFrameMkLst>
        </pc:graphicFrameChg>
      </pc:sldChg>
      <pc:sldChg chg="modSp mod">
        <pc:chgData name="Manish Sharma" userId="97d895ad-8d7a-4884-8c18-743afd731b6f" providerId="ADAL" clId="{98BF074C-1873-4ADD-A7F9-710116C06AA3}" dt="2020-11-18T19:08:38.761" v="382" actId="20577"/>
        <pc:sldMkLst>
          <pc:docMk/>
          <pc:sldMk cId="742559225" sldId="514"/>
        </pc:sldMkLst>
        <pc:spChg chg="mod">
          <ac:chgData name="Manish Sharma" userId="97d895ad-8d7a-4884-8c18-743afd731b6f" providerId="ADAL" clId="{98BF074C-1873-4ADD-A7F9-710116C06AA3}" dt="2020-11-18T19:08:32.233" v="379" actId="20577"/>
          <ac:spMkLst>
            <pc:docMk/>
            <pc:sldMk cId="742559225" sldId="514"/>
            <ac:spMk id="4" creationId="{1D54A381-9ED5-4626-82D3-1EFCE1DF6AEC}"/>
          </ac:spMkLst>
        </pc:spChg>
        <pc:spChg chg="mod">
          <ac:chgData name="Manish Sharma" userId="97d895ad-8d7a-4884-8c18-743afd731b6f" providerId="ADAL" clId="{98BF074C-1873-4ADD-A7F9-710116C06AA3}" dt="2020-11-18T19:08:38.761" v="382" actId="20577"/>
          <ac:spMkLst>
            <pc:docMk/>
            <pc:sldMk cId="742559225" sldId="514"/>
            <ac:spMk id="21" creationId="{00000000-0000-0000-0000-000000000000}"/>
          </ac:spMkLst>
        </pc:spChg>
        <pc:spChg chg="mod">
          <ac:chgData name="Manish Sharma" userId="97d895ad-8d7a-4884-8c18-743afd731b6f" providerId="ADAL" clId="{98BF074C-1873-4ADD-A7F9-710116C06AA3}" dt="2020-11-18T19:08:23.761" v="377" actId="20577"/>
          <ac:spMkLst>
            <pc:docMk/>
            <pc:sldMk cId="742559225" sldId="514"/>
            <ac:spMk id="116" creationId="{00000000-0000-0000-0000-000000000000}"/>
          </ac:spMkLst>
        </pc:spChg>
      </pc:sldChg>
      <pc:sldChg chg="modSp mod">
        <pc:chgData name="Manish Sharma" userId="97d895ad-8d7a-4884-8c18-743afd731b6f" providerId="ADAL" clId="{98BF074C-1873-4ADD-A7F9-710116C06AA3}" dt="2020-11-18T14:50:02.145" v="232" actId="20577"/>
        <pc:sldMkLst>
          <pc:docMk/>
          <pc:sldMk cId="518674020" sldId="520"/>
        </pc:sldMkLst>
        <pc:spChg chg="mod">
          <ac:chgData name="Manish Sharma" userId="97d895ad-8d7a-4884-8c18-743afd731b6f" providerId="ADAL" clId="{98BF074C-1873-4ADD-A7F9-710116C06AA3}" dt="2020-11-18T14:50:02.145" v="232" actId="20577"/>
          <ac:spMkLst>
            <pc:docMk/>
            <pc:sldMk cId="518674020" sldId="520"/>
            <ac:spMk id="76" creationId="{44CA77D8-9CF9-4BA8-9B8A-8E2AAFCEFFE0}"/>
          </ac:spMkLst>
        </pc:spChg>
      </pc:sldChg>
      <pc:sldChg chg="addSp delSp modSp mod">
        <pc:chgData name="Manish Sharma" userId="97d895ad-8d7a-4884-8c18-743afd731b6f" providerId="ADAL" clId="{98BF074C-1873-4ADD-A7F9-710116C06AA3}" dt="2020-11-18T19:11:29.160" v="399" actId="1076"/>
        <pc:sldMkLst>
          <pc:docMk/>
          <pc:sldMk cId="108594913" sldId="522"/>
        </pc:sldMkLst>
        <pc:spChg chg="mod">
          <ac:chgData name="Manish Sharma" userId="97d895ad-8d7a-4884-8c18-743afd731b6f" providerId="ADAL" clId="{98BF074C-1873-4ADD-A7F9-710116C06AA3}" dt="2020-11-18T19:09:14.405" v="388" actId="20577"/>
          <ac:spMkLst>
            <pc:docMk/>
            <pc:sldMk cId="108594913" sldId="522"/>
            <ac:spMk id="20" creationId="{00000000-0000-0000-0000-000000000000}"/>
          </ac:spMkLst>
        </pc:spChg>
        <pc:graphicFrameChg chg="add mod modGraphic">
          <ac:chgData name="Manish Sharma" userId="97d895ad-8d7a-4884-8c18-743afd731b6f" providerId="ADAL" clId="{98BF074C-1873-4ADD-A7F9-710116C06AA3}" dt="2020-11-18T19:10:59.074" v="397" actId="20577"/>
          <ac:graphicFrameMkLst>
            <pc:docMk/>
            <pc:sldMk cId="108594913" sldId="522"/>
            <ac:graphicFrameMk id="3" creationId="{7A3AE443-3CD0-4ADA-B781-84959006DCA6}"/>
          </ac:graphicFrameMkLst>
        </pc:graphicFrameChg>
        <pc:graphicFrameChg chg="del">
          <ac:chgData name="Manish Sharma" userId="97d895ad-8d7a-4884-8c18-743afd731b6f" providerId="ADAL" clId="{98BF074C-1873-4ADD-A7F9-710116C06AA3}" dt="2020-11-18T18:52:01.343" v="325" actId="478"/>
          <ac:graphicFrameMkLst>
            <pc:docMk/>
            <pc:sldMk cId="108594913" sldId="522"/>
            <ac:graphicFrameMk id="4" creationId="{773DBB83-D38F-46C2-A3E1-095955935B27}"/>
          </ac:graphicFrameMkLst>
        </pc:graphicFrameChg>
        <pc:graphicFrameChg chg="add mod">
          <ac:chgData name="Manish Sharma" userId="97d895ad-8d7a-4884-8c18-743afd731b6f" providerId="ADAL" clId="{98BF074C-1873-4ADD-A7F9-710116C06AA3}" dt="2020-11-18T19:11:29.160" v="399" actId="1076"/>
          <ac:graphicFrameMkLst>
            <pc:docMk/>
            <pc:sldMk cId="108594913" sldId="522"/>
            <ac:graphicFrameMk id="5" creationId="{819863AB-9D35-4685-9524-0680065B8B35}"/>
          </ac:graphicFrameMkLst>
        </pc:graphicFrameChg>
        <pc:graphicFrameChg chg="del mod">
          <ac:chgData name="Manish Sharma" userId="97d895ad-8d7a-4884-8c18-743afd731b6f" providerId="ADAL" clId="{98BF074C-1873-4ADD-A7F9-710116C06AA3}" dt="2020-11-18T18:41:13.532" v="324" actId="478"/>
          <ac:graphicFrameMkLst>
            <pc:docMk/>
            <pc:sldMk cId="108594913" sldId="522"/>
            <ac:graphicFrameMk id="6" creationId="{1BE35C6F-DDAB-4FEF-AA1D-788A7FDF080A}"/>
          </ac:graphicFrameMkLst>
        </pc:graphicFrameChg>
      </pc:sldChg>
      <pc:sldChg chg="modSp mod">
        <pc:chgData name="Manish Sharma" userId="97d895ad-8d7a-4884-8c18-743afd731b6f" providerId="ADAL" clId="{98BF074C-1873-4ADD-A7F9-710116C06AA3}" dt="2020-11-18T19:08:55.547" v="386" actId="20577"/>
        <pc:sldMkLst>
          <pc:docMk/>
          <pc:sldMk cId="1691118265" sldId="524"/>
        </pc:sldMkLst>
        <pc:spChg chg="mod">
          <ac:chgData name="Manish Sharma" userId="97d895ad-8d7a-4884-8c18-743afd731b6f" providerId="ADAL" clId="{98BF074C-1873-4ADD-A7F9-710116C06AA3}" dt="2020-11-18T19:08:55.547" v="386" actId="20577"/>
          <ac:spMkLst>
            <pc:docMk/>
            <pc:sldMk cId="1691118265" sldId="524"/>
            <ac:spMk id="14" creationId="{C1C0AD37-CCF3-468A-98B5-F34CF1C88E45}"/>
          </ac:spMkLst>
        </pc:spChg>
        <pc:spChg chg="mod">
          <ac:chgData name="Manish Sharma" userId="97d895ad-8d7a-4884-8c18-743afd731b6f" providerId="ADAL" clId="{98BF074C-1873-4ADD-A7F9-710116C06AA3}" dt="2020-11-18T19:08:47.257" v="383" actId="20577"/>
          <ac:spMkLst>
            <pc:docMk/>
            <pc:sldMk cId="1691118265" sldId="524"/>
            <ac:spMk id="18" creationId="{AEFE1B7A-8C89-49E9-99B9-C28FF04F35A2}"/>
          </ac:spMkLst>
        </pc:spChg>
      </pc:sldChg>
      <pc:sldChg chg="modSp mod">
        <pc:chgData name="Manish Sharma" userId="97d895ad-8d7a-4884-8c18-743afd731b6f" providerId="ADAL" clId="{98BF074C-1873-4ADD-A7F9-710116C06AA3}" dt="2020-11-18T15:52:29.503" v="270" actId="20577"/>
        <pc:sldMkLst>
          <pc:docMk/>
          <pc:sldMk cId="525587053" sldId="555"/>
        </pc:sldMkLst>
        <pc:graphicFrameChg chg="modGraphic">
          <ac:chgData name="Manish Sharma" userId="97d895ad-8d7a-4884-8c18-743afd731b6f" providerId="ADAL" clId="{98BF074C-1873-4ADD-A7F9-710116C06AA3}" dt="2020-11-18T15:52:29.503" v="270" actId="20577"/>
          <ac:graphicFrameMkLst>
            <pc:docMk/>
            <pc:sldMk cId="525587053" sldId="555"/>
            <ac:graphicFrameMk id="28" creationId="{994870E9-25EF-4A43-B1A1-38CC6A36FD4D}"/>
          </ac:graphicFrameMkLst>
        </pc:graphicFrameChg>
      </pc:sldChg>
    </pc:docChg>
  </pc:docChgLst>
  <pc:docChgLst>
    <pc:chgData name="Manish Sharma" userId="97d895ad-8d7a-4884-8c18-743afd731b6f" providerId="ADAL" clId="{020B0728-B75C-448D-A411-EDF0F3BC7629}"/>
    <pc:docChg chg="undo custSel addSld delSld modSld addSection modSection">
      <pc:chgData name="Manish Sharma" userId="97d895ad-8d7a-4884-8c18-743afd731b6f" providerId="ADAL" clId="{020B0728-B75C-448D-A411-EDF0F3BC7629}" dt="2020-09-30T22:13:50.601" v="7678" actId="14100"/>
      <pc:docMkLst>
        <pc:docMk/>
      </pc:docMkLst>
      <pc:sldChg chg="modSp mod">
        <pc:chgData name="Manish Sharma" userId="97d895ad-8d7a-4884-8c18-743afd731b6f" providerId="ADAL" clId="{020B0728-B75C-448D-A411-EDF0F3BC7629}" dt="2020-09-29T16:02:48.672" v="31" actId="20577"/>
        <pc:sldMkLst>
          <pc:docMk/>
          <pc:sldMk cId="2693573443" sldId="272"/>
        </pc:sldMkLst>
        <pc:spChg chg="mod">
          <ac:chgData name="Manish Sharma" userId="97d895ad-8d7a-4884-8c18-743afd731b6f" providerId="ADAL" clId="{020B0728-B75C-448D-A411-EDF0F3BC7629}" dt="2020-09-29T16:02:34.677" v="4" actId="20577"/>
          <ac:spMkLst>
            <pc:docMk/>
            <pc:sldMk cId="2693573443" sldId="272"/>
            <ac:spMk id="2" creationId="{00000000-0000-0000-0000-000000000000}"/>
          </ac:spMkLst>
        </pc:spChg>
        <pc:spChg chg="mod">
          <ac:chgData name="Manish Sharma" userId="97d895ad-8d7a-4884-8c18-743afd731b6f" providerId="ADAL" clId="{020B0728-B75C-448D-A411-EDF0F3BC7629}" dt="2020-09-29T16:02:48.672" v="31" actId="20577"/>
          <ac:spMkLst>
            <pc:docMk/>
            <pc:sldMk cId="2693573443" sldId="272"/>
            <ac:spMk id="5" creationId="{00000000-0000-0000-0000-000000000000}"/>
          </ac:spMkLst>
        </pc:spChg>
      </pc:sldChg>
      <pc:sldChg chg="addSp modSp mod">
        <pc:chgData name="Manish Sharma" userId="97d895ad-8d7a-4884-8c18-743afd731b6f" providerId="ADAL" clId="{020B0728-B75C-448D-A411-EDF0F3BC7629}" dt="2020-09-29T17:05:24.099" v="779" actId="13926"/>
        <pc:sldMkLst>
          <pc:docMk/>
          <pc:sldMk cId="2478486860" sldId="318"/>
        </pc:sldMkLst>
        <pc:spChg chg="mod">
          <ac:chgData name="Manish Sharma" userId="97d895ad-8d7a-4884-8c18-743afd731b6f" providerId="ADAL" clId="{020B0728-B75C-448D-A411-EDF0F3BC7629}" dt="2020-09-29T17:05:24.099" v="779" actId="13926"/>
          <ac:spMkLst>
            <pc:docMk/>
            <pc:sldMk cId="2478486860" sldId="318"/>
            <ac:spMk id="4" creationId="{00000000-0000-0000-0000-000000000000}"/>
          </ac:spMkLst>
        </pc:spChg>
        <pc:spChg chg="add">
          <ac:chgData name="Manish Sharma" userId="97d895ad-8d7a-4884-8c18-743afd731b6f" providerId="ADAL" clId="{020B0728-B75C-448D-A411-EDF0F3BC7629}" dt="2020-09-29T16:04:56.369" v="33" actId="22"/>
          <ac:spMkLst>
            <pc:docMk/>
            <pc:sldMk cId="2478486860" sldId="318"/>
            <ac:spMk id="14" creationId="{46D7380B-6FD0-4040-9EB6-B3FFC1459608}"/>
          </ac:spMkLst>
        </pc:spChg>
      </pc:sldChg>
      <pc:sldChg chg="addSp delSp modSp mod">
        <pc:chgData name="Manish Sharma" userId="97d895ad-8d7a-4884-8c18-743afd731b6f" providerId="ADAL" clId="{020B0728-B75C-448D-A411-EDF0F3BC7629}" dt="2020-09-29T23:57:44.495" v="6166" actId="20577"/>
        <pc:sldMkLst>
          <pc:docMk/>
          <pc:sldMk cId="3229088273" sldId="365"/>
        </pc:sldMkLst>
        <pc:spChg chg="mod">
          <ac:chgData name="Manish Sharma" userId="97d895ad-8d7a-4884-8c18-743afd731b6f" providerId="ADAL" clId="{020B0728-B75C-448D-A411-EDF0F3BC7629}" dt="2020-09-29T16:41:55.084" v="498" actId="14100"/>
          <ac:spMkLst>
            <pc:docMk/>
            <pc:sldMk cId="3229088273" sldId="365"/>
            <ac:spMk id="2" creationId="{00000000-0000-0000-0000-000000000000}"/>
          </ac:spMkLst>
        </pc:spChg>
        <pc:spChg chg="add del">
          <ac:chgData name="Manish Sharma" userId="97d895ad-8d7a-4884-8c18-743afd731b6f" providerId="ADAL" clId="{020B0728-B75C-448D-A411-EDF0F3BC7629}" dt="2020-09-29T22:55:22.583" v="5832" actId="478"/>
          <ac:spMkLst>
            <pc:docMk/>
            <pc:sldMk cId="3229088273" sldId="365"/>
            <ac:spMk id="3" creationId="{395BD938-D52A-4709-9835-16B071A3B22C}"/>
          </ac:spMkLst>
        </pc:spChg>
        <pc:spChg chg="mod">
          <ac:chgData name="Manish Sharma" userId="97d895ad-8d7a-4884-8c18-743afd731b6f" providerId="ADAL" clId="{020B0728-B75C-448D-A411-EDF0F3BC7629}" dt="2020-09-29T23:57:44.495" v="6166" actId="20577"/>
          <ac:spMkLst>
            <pc:docMk/>
            <pc:sldMk cId="3229088273" sldId="365"/>
            <ac:spMk id="7" creationId="{B633BA49-44C2-41E0-8A5F-10881248D9C0}"/>
          </ac:spMkLst>
        </pc:spChg>
        <pc:graphicFrameChg chg="mod modGraphic">
          <ac:chgData name="Manish Sharma" userId="97d895ad-8d7a-4884-8c18-743afd731b6f" providerId="ADAL" clId="{020B0728-B75C-448D-A411-EDF0F3BC7629}" dt="2020-09-29T16:50:12.541" v="579"/>
          <ac:graphicFrameMkLst>
            <pc:docMk/>
            <pc:sldMk cId="3229088273" sldId="365"/>
            <ac:graphicFrameMk id="20" creationId="{C706CF1C-16BE-40AB-AD10-3D3B1B2FD25F}"/>
          </ac:graphicFrameMkLst>
        </pc:graphicFrameChg>
        <pc:graphicFrameChg chg="modGraphic">
          <ac:chgData name="Manish Sharma" userId="97d895ad-8d7a-4884-8c18-743afd731b6f" providerId="ADAL" clId="{020B0728-B75C-448D-A411-EDF0F3BC7629}" dt="2020-09-29T16:48:37.033" v="550" actId="20577"/>
          <ac:graphicFrameMkLst>
            <pc:docMk/>
            <pc:sldMk cId="3229088273" sldId="365"/>
            <ac:graphicFrameMk id="22" creationId="{25ADC611-E4BA-4F2F-9BF9-A6228171DDE2}"/>
          </ac:graphicFrameMkLst>
        </pc:graphicFrameChg>
        <pc:graphicFrameChg chg="modGraphic">
          <ac:chgData name="Manish Sharma" userId="97d895ad-8d7a-4884-8c18-743afd731b6f" providerId="ADAL" clId="{020B0728-B75C-448D-A411-EDF0F3BC7629}" dt="2020-09-29T22:40:37.649" v="4844" actId="6549"/>
          <ac:graphicFrameMkLst>
            <pc:docMk/>
            <pc:sldMk cId="3229088273" sldId="365"/>
            <ac:graphicFrameMk id="23" creationId="{00000000-0000-0000-0000-000000000000}"/>
          </ac:graphicFrameMkLst>
        </pc:graphicFrameChg>
        <pc:graphicFrameChg chg="mod modGraphic">
          <ac:chgData name="Manish Sharma" userId="97d895ad-8d7a-4884-8c18-743afd731b6f" providerId="ADAL" clId="{020B0728-B75C-448D-A411-EDF0F3BC7629}" dt="2020-09-29T16:50:17.314" v="582" actId="404"/>
          <ac:graphicFrameMkLst>
            <pc:docMk/>
            <pc:sldMk cId="3229088273" sldId="365"/>
            <ac:graphicFrameMk id="26" creationId="{A088A704-3458-4A85-A10E-CBFB205EDF51}"/>
          </ac:graphicFrameMkLst>
        </pc:graphicFrameChg>
        <pc:graphicFrameChg chg="add mod">
          <ac:chgData name="Manish Sharma" userId="97d895ad-8d7a-4884-8c18-743afd731b6f" providerId="ADAL" clId="{020B0728-B75C-448D-A411-EDF0F3BC7629}" dt="2020-09-29T16:54:44.777" v="585"/>
          <ac:graphicFrameMkLst>
            <pc:docMk/>
            <pc:sldMk cId="3229088273" sldId="365"/>
            <ac:graphicFrameMk id="27" creationId="{FC0F42D8-C705-45F9-BA45-E7FC255C9F2D}"/>
          </ac:graphicFrameMkLst>
        </pc:graphicFrameChg>
        <pc:graphicFrameChg chg="add mod">
          <ac:chgData name="Manish Sharma" userId="97d895ad-8d7a-4884-8c18-743afd731b6f" providerId="ADAL" clId="{020B0728-B75C-448D-A411-EDF0F3BC7629}" dt="2020-09-29T21:58:29.386" v="4000"/>
          <ac:graphicFrameMkLst>
            <pc:docMk/>
            <pc:sldMk cId="3229088273" sldId="365"/>
            <ac:graphicFrameMk id="28" creationId="{9E676B55-AD9A-433F-B3CC-A2D4CCE7EF79}"/>
          </ac:graphicFrameMkLst>
        </pc:graphicFrameChg>
        <pc:graphicFrameChg chg="del">
          <ac:chgData name="Manish Sharma" userId="97d895ad-8d7a-4884-8c18-743afd731b6f" providerId="ADAL" clId="{020B0728-B75C-448D-A411-EDF0F3BC7629}" dt="2020-09-29T16:54:41.456" v="583" actId="478"/>
          <ac:graphicFrameMkLst>
            <pc:docMk/>
            <pc:sldMk cId="3229088273" sldId="365"/>
            <ac:graphicFrameMk id="30" creationId="{8A382710-1C59-4E29-AF93-FE3239C607A8}"/>
          </ac:graphicFrameMkLst>
        </pc:graphicFrameChg>
      </pc:sldChg>
      <pc:sldChg chg="addSp mod">
        <pc:chgData name="Manish Sharma" userId="97d895ad-8d7a-4884-8c18-743afd731b6f" providerId="ADAL" clId="{020B0728-B75C-448D-A411-EDF0F3BC7629}" dt="2020-09-29T16:05:05.778" v="41" actId="22"/>
        <pc:sldMkLst>
          <pc:docMk/>
          <pc:sldMk cId="1518793287" sldId="368"/>
        </pc:sldMkLst>
        <pc:spChg chg="add">
          <ac:chgData name="Manish Sharma" userId="97d895ad-8d7a-4884-8c18-743afd731b6f" providerId="ADAL" clId="{020B0728-B75C-448D-A411-EDF0F3BC7629}" dt="2020-09-29T16:05:05.778" v="41" actId="22"/>
          <ac:spMkLst>
            <pc:docMk/>
            <pc:sldMk cId="1518793287" sldId="368"/>
            <ac:spMk id="4" creationId="{7DE3EC43-746F-4CBA-A757-46DC7DCB6FE8}"/>
          </ac:spMkLst>
        </pc:spChg>
      </pc:sldChg>
      <pc:sldChg chg="addSp delSp mod">
        <pc:chgData name="Manish Sharma" userId="97d895ad-8d7a-4884-8c18-743afd731b6f" providerId="ADAL" clId="{020B0728-B75C-448D-A411-EDF0F3BC7629}" dt="2020-09-29T16:10:35.123" v="74" actId="22"/>
        <pc:sldMkLst>
          <pc:docMk/>
          <pc:sldMk cId="3649563644" sldId="376"/>
        </pc:sldMkLst>
        <pc:spChg chg="add del">
          <ac:chgData name="Manish Sharma" userId="97d895ad-8d7a-4884-8c18-743afd731b6f" providerId="ADAL" clId="{020B0728-B75C-448D-A411-EDF0F3BC7629}" dt="2020-09-29T16:10:34.796" v="73" actId="478"/>
          <ac:spMkLst>
            <pc:docMk/>
            <pc:sldMk cId="3649563644" sldId="376"/>
            <ac:spMk id="4" creationId="{84BF7C8E-DD8E-46A8-91AD-E7757FD17533}"/>
          </ac:spMkLst>
        </pc:spChg>
        <pc:spChg chg="add">
          <ac:chgData name="Manish Sharma" userId="97d895ad-8d7a-4884-8c18-743afd731b6f" providerId="ADAL" clId="{020B0728-B75C-448D-A411-EDF0F3BC7629}" dt="2020-09-29T16:10:35.123" v="74" actId="22"/>
          <ac:spMkLst>
            <pc:docMk/>
            <pc:sldMk cId="3649563644" sldId="376"/>
            <ac:spMk id="6" creationId="{2C8BFD4E-9E18-44CF-96E2-2383346D6CD7}"/>
          </ac:spMkLst>
        </pc:spChg>
      </pc:sldChg>
      <pc:sldChg chg="addSp delSp modSp mod addCm delCm">
        <pc:chgData name="Manish Sharma" userId="97d895ad-8d7a-4884-8c18-743afd731b6f" providerId="ADAL" clId="{020B0728-B75C-448D-A411-EDF0F3BC7629}" dt="2020-09-30T20:25:07.757" v="6318" actId="1076"/>
        <pc:sldMkLst>
          <pc:docMk/>
          <pc:sldMk cId="2829381692" sldId="393"/>
        </pc:sldMkLst>
        <pc:spChg chg="mod">
          <ac:chgData name="Manish Sharma" userId="97d895ad-8d7a-4884-8c18-743afd731b6f" providerId="ADAL" clId="{020B0728-B75C-448D-A411-EDF0F3BC7629}" dt="2020-09-30T20:18:41.887" v="6258" actId="20577"/>
          <ac:spMkLst>
            <pc:docMk/>
            <pc:sldMk cId="2829381692" sldId="393"/>
            <ac:spMk id="2" creationId="{00000000-0000-0000-0000-000000000000}"/>
          </ac:spMkLst>
        </pc:spChg>
        <pc:spChg chg="add del">
          <ac:chgData name="Manish Sharma" userId="97d895ad-8d7a-4884-8c18-743afd731b6f" providerId="ADAL" clId="{020B0728-B75C-448D-A411-EDF0F3BC7629}" dt="2020-09-30T20:21:33.086" v="6292" actId="478"/>
          <ac:spMkLst>
            <pc:docMk/>
            <pc:sldMk cId="2829381692" sldId="393"/>
            <ac:spMk id="4" creationId="{2611D0D1-C293-45B1-ADF6-543CAE325B60}"/>
          </ac:spMkLst>
        </pc:spChg>
        <pc:spChg chg="mod">
          <ac:chgData name="Manish Sharma" userId="97d895ad-8d7a-4884-8c18-743afd731b6f" providerId="ADAL" clId="{020B0728-B75C-448D-A411-EDF0F3BC7629}" dt="2020-09-30T20:24:54.051" v="6316" actId="1076"/>
          <ac:spMkLst>
            <pc:docMk/>
            <pc:sldMk cId="2829381692" sldId="393"/>
            <ac:spMk id="6" creationId="{1B139A15-2A8B-435B-9E43-95ED4D4F86D0}"/>
          </ac:spMkLst>
        </pc:spChg>
        <pc:spChg chg="mod">
          <ac:chgData name="Manish Sharma" userId="97d895ad-8d7a-4884-8c18-743afd731b6f" providerId="ADAL" clId="{020B0728-B75C-448D-A411-EDF0F3BC7629}" dt="2020-09-30T20:24:54.051" v="6316" actId="1076"/>
          <ac:spMkLst>
            <pc:docMk/>
            <pc:sldMk cId="2829381692" sldId="393"/>
            <ac:spMk id="7" creationId="{57676C1D-5CD7-4587-9C44-8245D75CC612}"/>
          </ac:spMkLst>
        </pc:spChg>
        <pc:spChg chg="mod">
          <ac:chgData name="Manish Sharma" userId="97d895ad-8d7a-4884-8c18-743afd731b6f" providerId="ADAL" clId="{020B0728-B75C-448D-A411-EDF0F3BC7629}" dt="2020-09-30T20:21:51.496" v="6299" actId="14100"/>
          <ac:spMkLst>
            <pc:docMk/>
            <pc:sldMk cId="2829381692" sldId="393"/>
            <ac:spMk id="16" creationId="{90E40009-D7A5-4621-8204-224ABC009747}"/>
          </ac:spMkLst>
        </pc:spChg>
        <pc:spChg chg="mod">
          <ac:chgData name="Manish Sharma" userId="97d895ad-8d7a-4884-8c18-743afd731b6f" providerId="ADAL" clId="{020B0728-B75C-448D-A411-EDF0F3BC7629}" dt="2020-09-30T20:20:17.446" v="6283" actId="20577"/>
          <ac:spMkLst>
            <pc:docMk/>
            <pc:sldMk cId="2829381692" sldId="393"/>
            <ac:spMk id="20" creationId="{00000000-0000-0000-0000-000000000000}"/>
          </ac:spMkLst>
        </pc:spChg>
        <pc:spChg chg="mod">
          <ac:chgData name="Manish Sharma" userId="97d895ad-8d7a-4884-8c18-743afd731b6f" providerId="ADAL" clId="{020B0728-B75C-448D-A411-EDF0F3BC7629}" dt="2020-09-30T20:21:58.870" v="6301" actId="14100"/>
          <ac:spMkLst>
            <pc:docMk/>
            <pc:sldMk cId="2829381692" sldId="393"/>
            <ac:spMk id="24" creationId="{323E64DC-A6B0-4990-9F4D-703175765359}"/>
          </ac:spMkLst>
        </pc:spChg>
        <pc:spChg chg="mod">
          <ac:chgData name="Manish Sharma" userId="97d895ad-8d7a-4884-8c18-743afd731b6f" providerId="ADAL" clId="{020B0728-B75C-448D-A411-EDF0F3BC7629}" dt="2020-09-30T20:25:07.757" v="6318" actId="1076"/>
          <ac:spMkLst>
            <pc:docMk/>
            <pc:sldMk cId="2829381692" sldId="393"/>
            <ac:spMk id="25" creationId="{077381A9-23E6-4F3E-8768-8744299F355D}"/>
          </ac:spMkLst>
        </pc:spChg>
        <pc:spChg chg="mod">
          <ac:chgData name="Manish Sharma" userId="97d895ad-8d7a-4884-8c18-743afd731b6f" providerId="ADAL" clId="{020B0728-B75C-448D-A411-EDF0F3BC7629}" dt="2020-09-30T20:25:03.423" v="6317" actId="1076"/>
          <ac:spMkLst>
            <pc:docMk/>
            <pc:sldMk cId="2829381692" sldId="393"/>
            <ac:spMk id="26" creationId="{AEB16DAA-5611-403C-B2AC-BDBDBC7C939C}"/>
          </ac:spMkLst>
        </pc:spChg>
        <pc:spChg chg="mod">
          <ac:chgData name="Manish Sharma" userId="97d895ad-8d7a-4884-8c18-743afd731b6f" providerId="ADAL" clId="{020B0728-B75C-448D-A411-EDF0F3BC7629}" dt="2020-09-30T20:25:07.757" v="6318" actId="1076"/>
          <ac:spMkLst>
            <pc:docMk/>
            <pc:sldMk cId="2829381692" sldId="393"/>
            <ac:spMk id="27" creationId="{E714E7CA-AF0C-41D3-8351-BCEFA128D2C8}"/>
          </ac:spMkLst>
        </pc:spChg>
        <pc:spChg chg="mod">
          <ac:chgData name="Manish Sharma" userId="97d895ad-8d7a-4884-8c18-743afd731b6f" providerId="ADAL" clId="{020B0728-B75C-448D-A411-EDF0F3BC7629}" dt="2020-09-30T20:25:03.423" v="6317" actId="1076"/>
          <ac:spMkLst>
            <pc:docMk/>
            <pc:sldMk cId="2829381692" sldId="393"/>
            <ac:spMk id="28" creationId="{60809691-D8F4-466E-AE0B-66584789A72C}"/>
          </ac:spMkLst>
        </pc:spChg>
        <pc:spChg chg="mod">
          <ac:chgData name="Manish Sharma" userId="97d895ad-8d7a-4884-8c18-743afd731b6f" providerId="ADAL" clId="{020B0728-B75C-448D-A411-EDF0F3BC7629}" dt="2020-09-30T20:20:38.725" v="6288" actId="20577"/>
          <ac:spMkLst>
            <pc:docMk/>
            <pc:sldMk cId="2829381692" sldId="393"/>
            <ac:spMk id="30" creationId="{BC68C9EA-24FC-4D79-A0C1-213D45B72034}"/>
          </ac:spMkLst>
        </pc:spChg>
        <pc:spChg chg="mod">
          <ac:chgData name="Manish Sharma" userId="97d895ad-8d7a-4884-8c18-743afd731b6f" providerId="ADAL" clId="{020B0728-B75C-448D-A411-EDF0F3BC7629}" dt="2020-09-30T20:24:32.099" v="6312" actId="14100"/>
          <ac:spMkLst>
            <pc:docMk/>
            <pc:sldMk cId="2829381692" sldId="393"/>
            <ac:spMk id="40" creationId="{32BFE17C-9EF1-4ED8-B344-D6C79B21CF41}"/>
          </ac:spMkLst>
        </pc:spChg>
        <pc:grpChg chg="mod">
          <ac:chgData name="Manish Sharma" userId="97d895ad-8d7a-4884-8c18-743afd731b6f" providerId="ADAL" clId="{020B0728-B75C-448D-A411-EDF0F3BC7629}" dt="2020-09-30T20:25:07.757" v="6318" actId="1076"/>
          <ac:grpSpMkLst>
            <pc:docMk/>
            <pc:sldMk cId="2829381692" sldId="393"/>
            <ac:grpSpMk id="14" creationId="{ADA30913-405A-42C6-93ED-0B02E95B6119}"/>
          </ac:grpSpMkLst>
        </pc:grpChg>
        <pc:grpChg chg="mod">
          <ac:chgData name="Manish Sharma" userId="97d895ad-8d7a-4884-8c18-743afd731b6f" providerId="ADAL" clId="{020B0728-B75C-448D-A411-EDF0F3BC7629}" dt="2020-09-30T20:25:03.423" v="6317" actId="1076"/>
          <ac:grpSpMkLst>
            <pc:docMk/>
            <pc:sldMk cId="2829381692" sldId="393"/>
            <ac:grpSpMk id="17" creationId="{697B894C-C243-4DE6-8B71-AC7BD64D86EE}"/>
          </ac:grpSpMkLst>
        </pc:grpChg>
        <pc:grpChg chg="mod">
          <ac:chgData name="Manish Sharma" userId="97d895ad-8d7a-4884-8c18-743afd731b6f" providerId="ADAL" clId="{020B0728-B75C-448D-A411-EDF0F3BC7629}" dt="2020-09-30T20:24:54.051" v="6316" actId="1076"/>
          <ac:grpSpMkLst>
            <pc:docMk/>
            <pc:sldMk cId="2829381692" sldId="393"/>
            <ac:grpSpMk id="33" creationId="{1CD82E41-0C61-4A46-84F3-B56BC0B373B4}"/>
          </ac:grpSpMkLst>
        </pc:grpChg>
        <pc:graphicFrameChg chg="del mod">
          <ac:chgData name="Manish Sharma" userId="97d895ad-8d7a-4884-8c18-743afd731b6f" providerId="ADAL" clId="{020B0728-B75C-448D-A411-EDF0F3BC7629}" dt="2020-09-30T20:20:41.517" v="6289" actId="478"/>
          <ac:graphicFrameMkLst>
            <pc:docMk/>
            <pc:sldMk cId="2829381692" sldId="393"/>
            <ac:graphicFrameMk id="3" creationId="{159FC79D-9D0D-4268-B05F-3B93C23B39FE}"/>
          </ac:graphicFrameMkLst>
        </pc:graphicFrameChg>
        <pc:graphicFrameChg chg="mod modGraphic">
          <ac:chgData name="Manish Sharma" userId="97d895ad-8d7a-4884-8c18-743afd731b6f" providerId="ADAL" clId="{020B0728-B75C-448D-A411-EDF0F3BC7629}" dt="2020-09-30T20:24:38.725" v="6313" actId="1076"/>
          <ac:graphicFrameMkLst>
            <pc:docMk/>
            <pc:sldMk cId="2829381692" sldId="393"/>
            <ac:graphicFrameMk id="5" creationId="{CBCCD75D-9E82-4855-8922-C7ADCD864A31}"/>
          </ac:graphicFrameMkLst>
        </pc:graphicFrameChg>
        <pc:graphicFrameChg chg="add mod">
          <ac:chgData name="Manish Sharma" userId="97d895ad-8d7a-4884-8c18-743afd731b6f" providerId="ADAL" clId="{020B0728-B75C-448D-A411-EDF0F3BC7629}" dt="2020-09-30T20:21:24.018" v="6291" actId="1076"/>
          <ac:graphicFrameMkLst>
            <pc:docMk/>
            <pc:sldMk cId="2829381692" sldId="393"/>
            <ac:graphicFrameMk id="8" creationId="{F2F07E77-49D0-4B8D-88A3-E09B5D122DF2}"/>
          </ac:graphicFrameMkLst>
        </pc:graphicFrameChg>
      </pc:sldChg>
      <pc:sldChg chg="addSp mod">
        <pc:chgData name="Manish Sharma" userId="97d895ad-8d7a-4884-8c18-743afd731b6f" providerId="ADAL" clId="{020B0728-B75C-448D-A411-EDF0F3BC7629}" dt="2020-09-29T16:04:59.557" v="35" actId="22"/>
        <pc:sldMkLst>
          <pc:docMk/>
          <pc:sldMk cId="1999519132" sldId="425"/>
        </pc:sldMkLst>
        <pc:spChg chg="add">
          <ac:chgData name="Manish Sharma" userId="97d895ad-8d7a-4884-8c18-743afd731b6f" providerId="ADAL" clId="{020B0728-B75C-448D-A411-EDF0F3BC7629}" dt="2020-09-29T16:04:59.557" v="35" actId="22"/>
          <ac:spMkLst>
            <pc:docMk/>
            <pc:sldMk cId="1999519132" sldId="425"/>
            <ac:spMk id="3" creationId="{A746D218-EF60-4781-AA69-598A339D803F}"/>
          </ac:spMkLst>
        </pc:spChg>
      </pc:sldChg>
      <pc:sldChg chg="addSp mod">
        <pc:chgData name="Manish Sharma" userId="97d895ad-8d7a-4884-8c18-743afd731b6f" providerId="ADAL" clId="{020B0728-B75C-448D-A411-EDF0F3BC7629}" dt="2020-09-29T16:04:55.043" v="32" actId="22"/>
        <pc:sldMkLst>
          <pc:docMk/>
          <pc:sldMk cId="706555508" sldId="426"/>
        </pc:sldMkLst>
        <pc:spChg chg="add">
          <ac:chgData name="Manish Sharma" userId="97d895ad-8d7a-4884-8c18-743afd731b6f" providerId="ADAL" clId="{020B0728-B75C-448D-A411-EDF0F3BC7629}" dt="2020-09-29T16:04:55.043" v="32" actId="22"/>
          <ac:spMkLst>
            <pc:docMk/>
            <pc:sldMk cId="706555508" sldId="426"/>
            <ac:spMk id="5" creationId="{8B8F61BF-CF9A-4F4F-9759-095FCC122D2C}"/>
          </ac:spMkLst>
        </pc:spChg>
      </pc:sldChg>
      <pc:sldChg chg="addSp delSp modSp mod">
        <pc:chgData name="Manish Sharma" userId="97d895ad-8d7a-4884-8c18-743afd731b6f" providerId="ADAL" clId="{020B0728-B75C-448D-A411-EDF0F3BC7629}" dt="2020-09-30T19:27:08.024" v="6225" actId="14100"/>
        <pc:sldMkLst>
          <pc:docMk/>
          <pc:sldMk cId="3705176354" sldId="428"/>
        </pc:sldMkLst>
        <pc:spChg chg="mod">
          <ac:chgData name="Manish Sharma" userId="97d895ad-8d7a-4884-8c18-743afd731b6f" providerId="ADAL" clId="{020B0728-B75C-448D-A411-EDF0F3BC7629}" dt="2020-09-29T16:35:42.422" v="403" actId="20577"/>
          <ac:spMkLst>
            <pc:docMk/>
            <pc:sldMk cId="3705176354" sldId="428"/>
            <ac:spMk id="2" creationId="{00000000-0000-0000-0000-000000000000}"/>
          </ac:spMkLst>
        </pc:spChg>
        <pc:spChg chg="add del">
          <ac:chgData name="Manish Sharma" userId="97d895ad-8d7a-4884-8c18-743afd731b6f" providerId="ADAL" clId="{020B0728-B75C-448D-A411-EDF0F3BC7629}" dt="2020-09-29T16:35:17.094" v="364" actId="478"/>
          <ac:spMkLst>
            <pc:docMk/>
            <pc:sldMk cId="3705176354" sldId="428"/>
            <ac:spMk id="4" creationId="{E5FC0382-F41B-4410-937B-5B14054AEEB9}"/>
          </ac:spMkLst>
        </pc:spChg>
        <pc:spChg chg="mod">
          <ac:chgData name="Manish Sharma" userId="97d895ad-8d7a-4884-8c18-743afd731b6f" providerId="ADAL" clId="{020B0728-B75C-448D-A411-EDF0F3BC7629}" dt="2020-09-29T22:22:19.021" v="4393" actId="13926"/>
          <ac:spMkLst>
            <pc:docMk/>
            <pc:sldMk cId="3705176354" sldId="428"/>
            <ac:spMk id="21" creationId="{00000000-0000-0000-0000-000000000000}"/>
          </ac:spMkLst>
        </pc:spChg>
        <pc:spChg chg="mod">
          <ac:chgData name="Manish Sharma" userId="97d895ad-8d7a-4884-8c18-743afd731b6f" providerId="ADAL" clId="{020B0728-B75C-448D-A411-EDF0F3BC7629}" dt="2020-09-29T16:36:07.912" v="409" actId="108"/>
          <ac:spMkLst>
            <pc:docMk/>
            <pc:sldMk cId="3705176354" sldId="428"/>
            <ac:spMk id="73" creationId="{4C88BB89-4068-499B-8F3F-29D9CFDEB8D9}"/>
          </ac:spMkLst>
        </pc:spChg>
        <pc:spChg chg="mod">
          <ac:chgData name="Manish Sharma" userId="97d895ad-8d7a-4884-8c18-743afd731b6f" providerId="ADAL" clId="{020B0728-B75C-448D-A411-EDF0F3BC7629}" dt="2020-09-29T16:36:09.762" v="410" actId="108"/>
          <ac:spMkLst>
            <pc:docMk/>
            <pc:sldMk cId="3705176354" sldId="428"/>
            <ac:spMk id="74" creationId="{0331598C-AB42-4ED3-AD29-91628B8360D4}"/>
          </ac:spMkLst>
        </pc:spChg>
        <pc:spChg chg="mod">
          <ac:chgData name="Manish Sharma" userId="97d895ad-8d7a-4884-8c18-743afd731b6f" providerId="ADAL" clId="{020B0728-B75C-448D-A411-EDF0F3BC7629}" dt="2020-09-29T16:36:57.048" v="434" actId="14100"/>
          <ac:spMkLst>
            <pc:docMk/>
            <pc:sldMk cId="3705176354" sldId="428"/>
            <ac:spMk id="77" creationId="{00000000-0000-0000-0000-000000000000}"/>
          </ac:spMkLst>
        </pc:spChg>
        <pc:spChg chg="mod">
          <ac:chgData name="Manish Sharma" userId="97d895ad-8d7a-4884-8c18-743afd731b6f" providerId="ADAL" clId="{020B0728-B75C-448D-A411-EDF0F3BC7629}" dt="2020-09-29T16:35:51.835" v="404" actId="108"/>
          <ac:spMkLst>
            <pc:docMk/>
            <pc:sldMk cId="3705176354" sldId="428"/>
            <ac:spMk id="78" creationId="{00000000-0000-0000-0000-000000000000}"/>
          </ac:spMkLst>
        </pc:spChg>
        <pc:spChg chg="mod">
          <ac:chgData name="Manish Sharma" userId="97d895ad-8d7a-4884-8c18-743afd731b6f" providerId="ADAL" clId="{020B0728-B75C-448D-A411-EDF0F3BC7629}" dt="2020-09-29T16:35:57.954" v="405" actId="108"/>
          <ac:spMkLst>
            <pc:docMk/>
            <pc:sldMk cId="3705176354" sldId="428"/>
            <ac:spMk id="81" creationId="{00000000-0000-0000-0000-000000000000}"/>
          </ac:spMkLst>
        </pc:spChg>
        <pc:spChg chg="mod">
          <ac:chgData name="Manish Sharma" userId="97d895ad-8d7a-4884-8c18-743afd731b6f" providerId="ADAL" clId="{020B0728-B75C-448D-A411-EDF0F3BC7629}" dt="2020-09-29T16:35:59.213" v="406" actId="108"/>
          <ac:spMkLst>
            <pc:docMk/>
            <pc:sldMk cId="3705176354" sldId="428"/>
            <ac:spMk id="90" creationId="{00000000-0000-0000-0000-000000000000}"/>
          </ac:spMkLst>
        </pc:spChg>
        <pc:spChg chg="mod">
          <ac:chgData name="Manish Sharma" userId="97d895ad-8d7a-4884-8c18-743afd731b6f" providerId="ADAL" clId="{020B0728-B75C-448D-A411-EDF0F3BC7629}" dt="2020-09-29T16:36:31.179" v="413" actId="14100"/>
          <ac:spMkLst>
            <pc:docMk/>
            <pc:sldMk cId="3705176354" sldId="428"/>
            <ac:spMk id="93" creationId="{00000000-0000-0000-0000-000000000000}"/>
          </ac:spMkLst>
        </pc:spChg>
        <pc:spChg chg="mod">
          <ac:chgData name="Manish Sharma" userId="97d895ad-8d7a-4884-8c18-743afd731b6f" providerId="ADAL" clId="{020B0728-B75C-448D-A411-EDF0F3BC7629}" dt="2020-09-29T16:36:31.179" v="413" actId="14100"/>
          <ac:spMkLst>
            <pc:docMk/>
            <pc:sldMk cId="3705176354" sldId="428"/>
            <ac:spMk id="94" creationId="{00000000-0000-0000-0000-000000000000}"/>
          </ac:spMkLst>
        </pc:spChg>
        <pc:spChg chg="mod">
          <ac:chgData name="Manish Sharma" userId="97d895ad-8d7a-4884-8c18-743afd731b6f" providerId="ADAL" clId="{020B0728-B75C-448D-A411-EDF0F3BC7629}" dt="2020-09-29T16:36:31.179" v="413" actId="14100"/>
          <ac:spMkLst>
            <pc:docMk/>
            <pc:sldMk cId="3705176354" sldId="428"/>
            <ac:spMk id="95" creationId="{00000000-0000-0000-0000-000000000000}"/>
          </ac:spMkLst>
        </pc:spChg>
        <pc:spChg chg="mod">
          <ac:chgData name="Manish Sharma" userId="97d895ad-8d7a-4884-8c18-743afd731b6f" providerId="ADAL" clId="{020B0728-B75C-448D-A411-EDF0F3BC7629}" dt="2020-09-29T16:34:05.595" v="332" actId="20577"/>
          <ac:spMkLst>
            <pc:docMk/>
            <pc:sldMk cId="3705176354" sldId="428"/>
            <ac:spMk id="96" creationId="{00000000-0000-0000-0000-000000000000}"/>
          </ac:spMkLst>
        </pc:spChg>
        <pc:spChg chg="mod">
          <ac:chgData name="Manish Sharma" userId="97d895ad-8d7a-4884-8c18-743afd731b6f" providerId="ADAL" clId="{020B0728-B75C-448D-A411-EDF0F3BC7629}" dt="2020-09-29T16:36:38.089" v="414" actId="14100"/>
          <ac:spMkLst>
            <pc:docMk/>
            <pc:sldMk cId="3705176354" sldId="428"/>
            <ac:spMk id="99" creationId="{00000000-0000-0000-0000-000000000000}"/>
          </ac:spMkLst>
        </pc:spChg>
        <pc:spChg chg="mod">
          <ac:chgData name="Manish Sharma" userId="97d895ad-8d7a-4884-8c18-743afd731b6f" providerId="ADAL" clId="{020B0728-B75C-448D-A411-EDF0F3BC7629}" dt="2020-09-29T16:36:38.089" v="414" actId="14100"/>
          <ac:spMkLst>
            <pc:docMk/>
            <pc:sldMk cId="3705176354" sldId="428"/>
            <ac:spMk id="100" creationId="{00000000-0000-0000-0000-000000000000}"/>
          </ac:spMkLst>
        </pc:spChg>
        <pc:spChg chg="mod">
          <ac:chgData name="Manish Sharma" userId="97d895ad-8d7a-4884-8c18-743afd731b6f" providerId="ADAL" clId="{020B0728-B75C-448D-A411-EDF0F3BC7629}" dt="2020-09-29T16:36:38.089" v="414" actId="14100"/>
          <ac:spMkLst>
            <pc:docMk/>
            <pc:sldMk cId="3705176354" sldId="428"/>
            <ac:spMk id="101" creationId="{00000000-0000-0000-0000-000000000000}"/>
          </ac:spMkLst>
        </pc:spChg>
        <pc:spChg chg="mod">
          <ac:chgData name="Manish Sharma" userId="97d895ad-8d7a-4884-8c18-743afd731b6f" providerId="ADAL" clId="{020B0728-B75C-448D-A411-EDF0F3BC7629}" dt="2020-09-29T16:36:01.323" v="407" actId="108"/>
          <ac:spMkLst>
            <pc:docMk/>
            <pc:sldMk cId="3705176354" sldId="428"/>
            <ac:spMk id="102" creationId="{00000000-0000-0000-0000-000000000000}"/>
          </ac:spMkLst>
        </pc:spChg>
        <pc:spChg chg="mod">
          <ac:chgData name="Manish Sharma" userId="97d895ad-8d7a-4884-8c18-743afd731b6f" providerId="ADAL" clId="{020B0728-B75C-448D-A411-EDF0F3BC7629}" dt="2020-09-29T16:36:11.121" v="411" actId="108"/>
          <ac:spMkLst>
            <pc:docMk/>
            <pc:sldMk cId="3705176354" sldId="428"/>
            <ac:spMk id="103" creationId="{00000000-0000-0000-0000-000000000000}"/>
          </ac:spMkLst>
        </pc:spChg>
        <pc:spChg chg="mod">
          <ac:chgData name="Manish Sharma" userId="97d895ad-8d7a-4884-8c18-743afd731b6f" providerId="ADAL" clId="{020B0728-B75C-448D-A411-EDF0F3BC7629}" dt="2020-09-29T16:36:02.080" v="408" actId="108"/>
          <ac:spMkLst>
            <pc:docMk/>
            <pc:sldMk cId="3705176354" sldId="428"/>
            <ac:spMk id="108" creationId="{00000000-0000-0000-0000-000000000000}"/>
          </ac:spMkLst>
        </pc:spChg>
        <pc:spChg chg="mod">
          <ac:chgData name="Manish Sharma" userId="97d895ad-8d7a-4884-8c18-743afd731b6f" providerId="ADAL" clId="{020B0728-B75C-448D-A411-EDF0F3BC7629}" dt="2020-09-29T16:36:23.969" v="412" actId="14100"/>
          <ac:spMkLst>
            <pc:docMk/>
            <pc:sldMk cId="3705176354" sldId="428"/>
            <ac:spMk id="110" creationId="{00000000-0000-0000-0000-000000000000}"/>
          </ac:spMkLst>
        </pc:spChg>
        <pc:spChg chg="mod">
          <ac:chgData name="Manish Sharma" userId="97d895ad-8d7a-4884-8c18-743afd731b6f" providerId="ADAL" clId="{020B0728-B75C-448D-A411-EDF0F3BC7629}" dt="2020-09-29T16:36:23.969" v="412" actId="14100"/>
          <ac:spMkLst>
            <pc:docMk/>
            <pc:sldMk cId="3705176354" sldId="428"/>
            <ac:spMk id="111" creationId="{00000000-0000-0000-0000-000000000000}"/>
          </ac:spMkLst>
        </pc:spChg>
        <pc:spChg chg="mod">
          <ac:chgData name="Manish Sharma" userId="97d895ad-8d7a-4884-8c18-743afd731b6f" providerId="ADAL" clId="{020B0728-B75C-448D-A411-EDF0F3BC7629}" dt="2020-09-29T16:36:23.969" v="412" actId="14100"/>
          <ac:spMkLst>
            <pc:docMk/>
            <pc:sldMk cId="3705176354" sldId="428"/>
            <ac:spMk id="112" creationId="{00000000-0000-0000-0000-000000000000}"/>
          </ac:spMkLst>
        </pc:spChg>
        <pc:spChg chg="mod">
          <ac:chgData name="Manish Sharma" userId="97d895ad-8d7a-4884-8c18-743afd731b6f" providerId="ADAL" clId="{020B0728-B75C-448D-A411-EDF0F3BC7629}" dt="2020-09-29T16:23:18.036" v="264" actId="20577"/>
          <ac:spMkLst>
            <pc:docMk/>
            <pc:sldMk cId="3705176354" sldId="428"/>
            <ac:spMk id="116" creationId="{00000000-0000-0000-0000-000000000000}"/>
          </ac:spMkLst>
        </pc:spChg>
        <pc:spChg chg="mod">
          <ac:chgData name="Manish Sharma" userId="97d895ad-8d7a-4884-8c18-743afd731b6f" providerId="ADAL" clId="{020B0728-B75C-448D-A411-EDF0F3BC7629}" dt="2020-09-29T16:23:08.757" v="258" actId="20577"/>
          <ac:spMkLst>
            <pc:docMk/>
            <pc:sldMk cId="3705176354" sldId="428"/>
            <ac:spMk id="117" creationId="{00000000-0000-0000-0000-000000000000}"/>
          </ac:spMkLst>
        </pc:spChg>
        <pc:spChg chg="mod">
          <ac:chgData name="Manish Sharma" userId="97d895ad-8d7a-4884-8c18-743afd731b6f" providerId="ADAL" clId="{020B0728-B75C-448D-A411-EDF0F3BC7629}" dt="2020-09-30T19:27:08.024" v="6225" actId="14100"/>
          <ac:spMkLst>
            <pc:docMk/>
            <pc:sldMk cId="3705176354" sldId="428"/>
            <ac:spMk id="120" creationId="{00000000-0000-0000-0000-000000000000}"/>
          </ac:spMkLst>
        </pc:spChg>
        <pc:spChg chg="mod">
          <ac:chgData name="Manish Sharma" userId="97d895ad-8d7a-4884-8c18-743afd731b6f" providerId="ADAL" clId="{020B0728-B75C-448D-A411-EDF0F3BC7629}" dt="2020-09-30T19:27:08.024" v="6225" actId="14100"/>
          <ac:spMkLst>
            <pc:docMk/>
            <pc:sldMk cId="3705176354" sldId="428"/>
            <ac:spMk id="121" creationId="{00000000-0000-0000-0000-000000000000}"/>
          </ac:spMkLst>
        </pc:spChg>
        <pc:spChg chg="mod">
          <ac:chgData name="Manish Sharma" userId="97d895ad-8d7a-4884-8c18-743afd731b6f" providerId="ADAL" clId="{020B0728-B75C-448D-A411-EDF0F3BC7629}" dt="2020-09-30T19:27:08.024" v="6225" actId="14100"/>
          <ac:spMkLst>
            <pc:docMk/>
            <pc:sldMk cId="3705176354" sldId="428"/>
            <ac:spMk id="122" creationId="{00000000-0000-0000-0000-000000000000}"/>
          </ac:spMkLst>
        </pc:spChg>
        <pc:spChg chg="mod">
          <ac:chgData name="Manish Sharma" userId="97d895ad-8d7a-4884-8c18-743afd731b6f" providerId="ADAL" clId="{020B0728-B75C-448D-A411-EDF0F3BC7629}" dt="2020-09-29T16:21:37.958" v="247" actId="20577"/>
          <ac:spMkLst>
            <pc:docMk/>
            <pc:sldMk cId="3705176354" sldId="428"/>
            <ac:spMk id="123" creationId="{00000000-0000-0000-0000-000000000000}"/>
          </ac:spMkLst>
        </pc:spChg>
        <pc:spChg chg="mod">
          <ac:chgData name="Manish Sharma" userId="97d895ad-8d7a-4884-8c18-743afd731b6f" providerId="ADAL" clId="{020B0728-B75C-448D-A411-EDF0F3BC7629}" dt="2020-09-29T16:37:03.589" v="462" actId="1038"/>
          <ac:spMkLst>
            <pc:docMk/>
            <pc:sldMk cId="3705176354" sldId="428"/>
            <ac:spMk id="135" creationId="{00000000-0000-0000-0000-000000000000}"/>
          </ac:spMkLst>
        </pc:spChg>
        <pc:grpChg chg="mod">
          <ac:chgData name="Manish Sharma" userId="97d895ad-8d7a-4884-8c18-743afd731b6f" providerId="ADAL" clId="{020B0728-B75C-448D-A411-EDF0F3BC7629}" dt="2020-09-29T16:36:31.179" v="413" actId="14100"/>
          <ac:grpSpMkLst>
            <pc:docMk/>
            <pc:sldMk cId="3705176354" sldId="428"/>
            <ac:grpSpMk id="92" creationId="{00000000-0000-0000-0000-000000000000}"/>
          </ac:grpSpMkLst>
        </pc:grpChg>
        <pc:grpChg chg="mod">
          <ac:chgData name="Manish Sharma" userId="97d895ad-8d7a-4884-8c18-743afd731b6f" providerId="ADAL" clId="{020B0728-B75C-448D-A411-EDF0F3BC7629}" dt="2020-09-29T16:36:38.089" v="414" actId="14100"/>
          <ac:grpSpMkLst>
            <pc:docMk/>
            <pc:sldMk cId="3705176354" sldId="428"/>
            <ac:grpSpMk id="98" creationId="{00000000-0000-0000-0000-000000000000}"/>
          </ac:grpSpMkLst>
        </pc:grpChg>
        <pc:grpChg chg="mod">
          <ac:chgData name="Manish Sharma" userId="97d895ad-8d7a-4884-8c18-743afd731b6f" providerId="ADAL" clId="{020B0728-B75C-448D-A411-EDF0F3BC7629}" dt="2020-09-29T16:36:23.969" v="412" actId="14100"/>
          <ac:grpSpMkLst>
            <pc:docMk/>
            <pc:sldMk cId="3705176354" sldId="428"/>
            <ac:grpSpMk id="109" creationId="{00000000-0000-0000-0000-000000000000}"/>
          </ac:grpSpMkLst>
        </pc:grpChg>
        <pc:grpChg chg="mod">
          <ac:chgData name="Manish Sharma" userId="97d895ad-8d7a-4884-8c18-743afd731b6f" providerId="ADAL" clId="{020B0728-B75C-448D-A411-EDF0F3BC7629}" dt="2020-09-30T19:27:08.024" v="6225" actId="14100"/>
          <ac:grpSpMkLst>
            <pc:docMk/>
            <pc:sldMk cId="3705176354" sldId="428"/>
            <ac:grpSpMk id="119" creationId="{00000000-0000-0000-0000-000000000000}"/>
          </ac:grpSpMkLst>
        </pc:grpChg>
      </pc:sldChg>
      <pc:sldChg chg="addSp delSp modSp mod">
        <pc:chgData name="Manish Sharma" userId="97d895ad-8d7a-4884-8c18-743afd731b6f" providerId="ADAL" clId="{020B0728-B75C-448D-A411-EDF0F3BC7629}" dt="2020-09-29T16:21:04.278" v="244" actId="478"/>
        <pc:sldMkLst>
          <pc:docMk/>
          <pc:sldMk cId="2872844160" sldId="440"/>
        </pc:sldMkLst>
        <pc:spChg chg="mod">
          <ac:chgData name="Manish Sharma" userId="97d895ad-8d7a-4884-8c18-743afd731b6f" providerId="ADAL" clId="{020B0728-B75C-448D-A411-EDF0F3BC7629}" dt="2020-09-29T16:20:42.833" v="220" actId="1076"/>
          <ac:spMkLst>
            <pc:docMk/>
            <pc:sldMk cId="2872844160" sldId="440"/>
            <ac:spMk id="2" creationId="{000F93BD-1633-45C3-B844-70B135096D8F}"/>
          </ac:spMkLst>
        </pc:spChg>
        <pc:spChg chg="add del">
          <ac:chgData name="Manish Sharma" userId="97d895ad-8d7a-4884-8c18-743afd731b6f" providerId="ADAL" clId="{020B0728-B75C-448D-A411-EDF0F3BC7629}" dt="2020-09-29T16:21:04.278" v="244" actId="478"/>
          <ac:spMkLst>
            <pc:docMk/>
            <pc:sldMk cId="2872844160" sldId="440"/>
            <ac:spMk id="3" creationId="{E49DEA24-E9C2-49BE-B6CB-9DC16310A140}"/>
          </ac:spMkLst>
        </pc:spChg>
        <pc:spChg chg="add mod">
          <ac:chgData name="Manish Sharma" userId="97d895ad-8d7a-4884-8c18-743afd731b6f" providerId="ADAL" clId="{020B0728-B75C-448D-A411-EDF0F3BC7629}" dt="2020-09-29T16:20:52.439" v="241" actId="20577"/>
          <ac:spMkLst>
            <pc:docMk/>
            <pc:sldMk cId="2872844160" sldId="440"/>
            <ac:spMk id="4" creationId="{3E964DF1-1215-4823-93FD-5E4AFD5E8740}"/>
          </ac:spMkLst>
        </pc:spChg>
        <pc:spChg chg="mod">
          <ac:chgData name="Manish Sharma" userId="97d895ad-8d7a-4884-8c18-743afd731b6f" providerId="ADAL" clId="{020B0728-B75C-448D-A411-EDF0F3BC7629}" dt="2020-09-29T16:20:17.614" v="216" actId="20577"/>
          <ac:spMkLst>
            <pc:docMk/>
            <pc:sldMk cId="2872844160" sldId="440"/>
            <ac:spMk id="14" creationId="{10910E56-12B7-4659-A83E-149B51BC73C3}"/>
          </ac:spMkLst>
        </pc:spChg>
        <pc:spChg chg="mod">
          <ac:chgData name="Manish Sharma" userId="97d895ad-8d7a-4884-8c18-743afd731b6f" providerId="ADAL" clId="{020B0728-B75C-448D-A411-EDF0F3BC7629}" dt="2020-09-29T16:21:00.176" v="243" actId="20577"/>
          <ac:spMkLst>
            <pc:docMk/>
            <pc:sldMk cId="2872844160" sldId="440"/>
            <ac:spMk id="20" creationId="{00000000-0000-0000-0000-000000000000}"/>
          </ac:spMkLst>
        </pc:spChg>
      </pc:sldChg>
      <pc:sldChg chg="addSp mod">
        <pc:chgData name="Manish Sharma" userId="97d895ad-8d7a-4884-8c18-743afd731b6f" providerId="ADAL" clId="{020B0728-B75C-448D-A411-EDF0F3BC7629}" dt="2020-09-29T16:05:07.020" v="42" actId="22"/>
        <pc:sldMkLst>
          <pc:docMk/>
          <pc:sldMk cId="3785293199" sldId="445"/>
        </pc:sldMkLst>
        <pc:spChg chg="add">
          <ac:chgData name="Manish Sharma" userId="97d895ad-8d7a-4884-8c18-743afd731b6f" providerId="ADAL" clId="{020B0728-B75C-448D-A411-EDF0F3BC7629}" dt="2020-09-29T16:05:07.020" v="42" actId="22"/>
          <ac:spMkLst>
            <pc:docMk/>
            <pc:sldMk cId="3785293199" sldId="445"/>
            <ac:spMk id="6" creationId="{5009A32F-6A07-43E0-A258-5968CFEC77E4}"/>
          </ac:spMkLst>
        </pc:spChg>
      </pc:sldChg>
      <pc:sldChg chg="addSp mod">
        <pc:chgData name="Manish Sharma" userId="97d895ad-8d7a-4884-8c18-743afd731b6f" providerId="ADAL" clId="{020B0728-B75C-448D-A411-EDF0F3BC7629}" dt="2020-09-29T16:05:08.969" v="44" actId="22"/>
        <pc:sldMkLst>
          <pc:docMk/>
          <pc:sldMk cId="2797066760" sldId="446"/>
        </pc:sldMkLst>
        <pc:spChg chg="add">
          <ac:chgData name="Manish Sharma" userId="97d895ad-8d7a-4884-8c18-743afd731b6f" providerId="ADAL" clId="{020B0728-B75C-448D-A411-EDF0F3BC7629}" dt="2020-09-29T16:05:08.969" v="44" actId="22"/>
          <ac:spMkLst>
            <pc:docMk/>
            <pc:sldMk cId="2797066760" sldId="446"/>
            <ac:spMk id="3" creationId="{000A2C7E-78F9-4C3B-BD7E-67890CFF75F4}"/>
          </ac:spMkLst>
        </pc:spChg>
      </pc:sldChg>
      <pc:sldChg chg="addSp mod">
        <pc:chgData name="Manish Sharma" userId="97d895ad-8d7a-4884-8c18-743afd731b6f" providerId="ADAL" clId="{020B0728-B75C-448D-A411-EDF0F3BC7629}" dt="2020-09-29T16:05:03.129" v="38" actId="22"/>
        <pc:sldMkLst>
          <pc:docMk/>
          <pc:sldMk cId="2762800380" sldId="448"/>
        </pc:sldMkLst>
        <pc:spChg chg="add">
          <ac:chgData name="Manish Sharma" userId="97d895ad-8d7a-4884-8c18-743afd731b6f" providerId="ADAL" clId="{020B0728-B75C-448D-A411-EDF0F3BC7629}" dt="2020-09-29T16:05:03.129" v="38" actId="22"/>
          <ac:spMkLst>
            <pc:docMk/>
            <pc:sldMk cId="2762800380" sldId="448"/>
            <ac:spMk id="4" creationId="{DD047AB2-9A4F-459B-9F56-B09EA23CE669}"/>
          </ac:spMkLst>
        </pc:spChg>
      </pc:sldChg>
      <pc:sldChg chg="addSp mod">
        <pc:chgData name="Manish Sharma" userId="97d895ad-8d7a-4884-8c18-743afd731b6f" providerId="ADAL" clId="{020B0728-B75C-448D-A411-EDF0F3BC7629}" dt="2020-09-29T16:05:03.727" v="39" actId="22"/>
        <pc:sldMkLst>
          <pc:docMk/>
          <pc:sldMk cId="780727013" sldId="452"/>
        </pc:sldMkLst>
        <pc:spChg chg="add">
          <ac:chgData name="Manish Sharma" userId="97d895ad-8d7a-4884-8c18-743afd731b6f" providerId="ADAL" clId="{020B0728-B75C-448D-A411-EDF0F3BC7629}" dt="2020-09-29T16:05:03.727" v="39" actId="22"/>
          <ac:spMkLst>
            <pc:docMk/>
            <pc:sldMk cId="780727013" sldId="452"/>
            <ac:spMk id="4" creationId="{8EAA724A-B4B0-41EF-82F5-DF2D666E0A6E}"/>
          </ac:spMkLst>
        </pc:spChg>
      </pc:sldChg>
      <pc:sldChg chg="addSp del mod">
        <pc:chgData name="Manish Sharma" userId="97d895ad-8d7a-4884-8c18-743afd731b6f" providerId="ADAL" clId="{020B0728-B75C-448D-A411-EDF0F3BC7629}" dt="2020-09-29T17:01:57.964" v="668" actId="47"/>
        <pc:sldMkLst>
          <pc:docMk/>
          <pc:sldMk cId="3912176047" sldId="454"/>
        </pc:sldMkLst>
        <pc:spChg chg="add">
          <ac:chgData name="Manish Sharma" userId="97d895ad-8d7a-4884-8c18-743afd731b6f" providerId="ADAL" clId="{020B0728-B75C-448D-A411-EDF0F3BC7629}" dt="2020-09-29T16:05:09.996" v="45" actId="22"/>
          <ac:spMkLst>
            <pc:docMk/>
            <pc:sldMk cId="3912176047" sldId="454"/>
            <ac:spMk id="4" creationId="{11782280-8E5F-4C2A-9DF7-8DBA91017BA3}"/>
          </ac:spMkLst>
        </pc:spChg>
      </pc:sldChg>
      <pc:sldChg chg="addSp delSp modSp mod">
        <pc:chgData name="Manish Sharma" userId="97d895ad-8d7a-4884-8c18-743afd731b6f" providerId="ADAL" clId="{020B0728-B75C-448D-A411-EDF0F3BC7629}" dt="2020-09-30T22:13:50.601" v="7678" actId="14100"/>
        <pc:sldMkLst>
          <pc:docMk/>
          <pc:sldMk cId="318827490" sldId="456"/>
        </pc:sldMkLst>
        <pc:spChg chg="mod">
          <ac:chgData name="Manish Sharma" userId="97d895ad-8d7a-4884-8c18-743afd731b6f" providerId="ADAL" clId="{020B0728-B75C-448D-A411-EDF0F3BC7629}" dt="2020-09-30T21:50:19.274" v="6400" actId="20577"/>
          <ac:spMkLst>
            <pc:docMk/>
            <pc:sldMk cId="318827490" sldId="456"/>
            <ac:spMk id="2" creationId="{00000000-0000-0000-0000-000000000000}"/>
          </ac:spMkLst>
        </pc:spChg>
        <pc:spChg chg="add del">
          <ac:chgData name="Manish Sharma" userId="97d895ad-8d7a-4884-8c18-743afd731b6f" providerId="ADAL" clId="{020B0728-B75C-448D-A411-EDF0F3BC7629}" dt="2020-09-30T21:49:45.562" v="6345" actId="478"/>
          <ac:spMkLst>
            <pc:docMk/>
            <pc:sldMk cId="318827490" sldId="456"/>
            <ac:spMk id="4" creationId="{7C4097C3-04DA-4106-BF86-7A33FEC94B39}"/>
          </ac:spMkLst>
        </pc:spChg>
        <pc:spChg chg="mod">
          <ac:chgData name="Manish Sharma" userId="97d895ad-8d7a-4884-8c18-743afd731b6f" providerId="ADAL" clId="{020B0728-B75C-448D-A411-EDF0F3BC7629}" dt="2020-09-30T22:12:15.596" v="7670" actId="14100"/>
          <ac:spMkLst>
            <pc:docMk/>
            <pc:sldMk cId="318827490" sldId="456"/>
            <ac:spMk id="21" creationId="{00000000-0000-0000-0000-000000000000}"/>
          </ac:spMkLst>
        </pc:spChg>
        <pc:spChg chg="mod">
          <ac:chgData name="Manish Sharma" userId="97d895ad-8d7a-4884-8c18-743afd731b6f" providerId="ADAL" clId="{020B0728-B75C-448D-A411-EDF0F3BC7629}" dt="2020-09-30T21:50:32.814" v="6401" actId="108"/>
          <ac:spMkLst>
            <pc:docMk/>
            <pc:sldMk cId="318827490" sldId="456"/>
            <ac:spMk id="73" creationId="{4C88BB89-4068-499B-8F3F-29D9CFDEB8D9}"/>
          </ac:spMkLst>
        </pc:spChg>
        <pc:spChg chg="mod">
          <ac:chgData name="Manish Sharma" userId="97d895ad-8d7a-4884-8c18-743afd731b6f" providerId="ADAL" clId="{020B0728-B75C-448D-A411-EDF0F3BC7629}" dt="2020-09-30T21:49:02.795" v="6335" actId="6549"/>
          <ac:spMkLst>
            <pc:docMk/>
            <pc:sldMk cId="318827490" sldId="456"/>
            <ac:spMk id="81" creationId="{00000000-0000-0000-0000-000000000000}"/>
          </ac:spMkLst>
        </pc:spChg>
        <pc:spChg chg="mod">
          <ac:chgData name="Manish Sharma" userId="97d895ad-8d7a-4884-8c18-743afd731b6f" providerId="ADAL" clId="{020B0728-B75C-448D-A411-EDF0F3BC7629}" dt="2020-09-30T22:13:29.708" v="7677" actId="14100"/>
          <ac:spMkLst>
            <pc:docMk/>
            <pc:sldMk cId="318827490" sldId="456"/>
            <ac:spMk id="82" creationId="{00000000-0000-0000-0000-000000000000}"/>
          </ac:spMkLst>
        </pc:spChg>
        <pc:spChg chg="mod">
          <ac:chgData name="Manish Sharma" userId="97d895ad-8d7a-4884-8c18-743afd731b6f" providerId="ADAL" clId="{020B0728-B75C-448D-A411-EDF0F3BC7629}" dt="2020-09-30T22:13:29.708" v="7677" actId="14100"/>
          <ac:spMkLst>
            <pc:docMk/>
            <pc:sldMk cId="318827490" sldId="456"/>
            <ac:spMk id="83" creationId="{00000000-0000-0000-0000-000000000000}"/>
          </ac:spMkLst>
        </pc:spChg>
        <pc:spChg chg="mod">
          <ac:chgData name="Manish Sharma" userId="97d895ad-8d7a-4884-8c18-743afd731b6f" providerId="ADAL" clId="{020B0728-B75C-448D-A411-EDF0F3BC7629}" dt="2020-09-30T22:13:29.708" v="7677" actId="14100"/>
          <ac:spMkLst>
            <pc:docMk/>
            <pc:sldMk cId="318827490" sldId="456"/>
            <ac:spMk id="84" creationId="{00000000-0000-0000-0000-000000000000}"/>
          </ac:spMkLst>
        </pc:spChg>
        <pc:spChg chg="mod">
          <ac:chgData name="Manish Sharma" userId="97d895ad-8d7a-4884-8c18-743afd731b6f" providerId="ADAL" clId="{020B0728-B75C-448D-A411-EDF0F3BC7629}" dt="2020-09-30T21:50:39.974" v="6402" actId="108"/>
          <ac:spMkLst>
            <pc:docMk/>
            <pc:sldMk cId="318827490" sldId="456"/>
            <ac:spMk id="90" creationId="{00000000-0000-0000-0000-000000000000}"/>
          </ac:spMkLst>
        </pc:spChg>
        <pc:spChg chg="mod">
          <ac:chgData name="Manish Sharma" userId="97d895ad-8d7a-4884-8c18-743afd731b6f" providerId="ADAL" clId="{020B0728-B75C-448D-A411-EDF0F3BC7629}" dt="2020-09-30T21:52:21.854" v="6410" actId="14100"/>
          <ac:spMkLst>
            <pc:docMk/>
            <pc:sldMk cId="318827490" sldId="456"/>
            <ac:spMk id="93" creationId="{00000000-0000-0000-0000-000000000000}"/>
          </ac:spMkLst>
        </pc:spChg>
        <pc:spChg chg="mod">
          <ac:chgData name="Manish Sharma" userId="97d895ad-8d7a-4884-8c18-743afd731b6f" providerId="ADAL" clId="{020B0728-B75C-448D-A411-EDF0F3BC7629}" dt="2020-09-30T21:52:21.854" v="6410" actId="14100"/>
          <ac:spMkLst>
            <pc:docMk/>
            <pc:sldMk cId="318827490" sldId="456"/>
            <ac:spMk id="94" creationId="{00000000-0000-0000-0000-000000000000}"/>
          </ac:spMkLst>
        </pc:spChg>
        <pc:spChg chg="mod">
          <ac:chgData name="Manish Sharma" userId="97d895ad-8d7a-4884-8c18-743afd731b6f" providerId="ADAL" clId="{020B0728-B75C-448D-A411-EDF0F3BC7629}" dt="2020-09-30T21:52:21.854" v="6410" actId="14100"/>
          <ac:spMkLst>
            <pc:docMk/>
            <pc:sldMk cId="318827490" sldId="456"/>
            <ac:spMk id="95" creationId="{00000000-0000-0000-0000-000000000000}"/>
          </ac:spMkLst>
        </pc:spChg>
        <pc:spChg chg="mod">
          <ac:chgData name="Manish Sharma" userId="97d895ad-8d7a-4884-8c18-743afd731b6f" providerId="ADAL" clId="{020B0728-B75C-448D-A411-EDF0F3BC7629}" dt="2020-09-30T21:49:16.536" v="6340" actId="20577"/>
          <ac:spMkLst>
            <pc:docMk/>
            <pc:sldMk cId="318827490" sldId="456"/>
            <ac:spMk id="96" creationId="{00000000-0000-0000-0000-000000000000}"/>
          </ac:spMkLst>
        </pc:spChg>
        <pc:spChg chg="mod">
          <ac:chgData name="Manish Sharma" userId="97d895ad-8d7a-4884-8c18-743afd731b6f" providerId="ADAL" clId="{020B0728-B75C-448D-A411-EDF0F3BC7629}" dt="2020-09-30T21:51:56.288" v="6409" actId="14100"/>
          <ac:spMkLst>
            <pc:docMk/>
            <pc:sldMk cId="318827490" sldId="456"/>
            <ac:spMk id="99" creationId="{00000000-0000-0000-0000-000000000000}"/>
          </ac:spMkLst>
        </pc:spChg>
        <pc:spChg chg="mod">
          <ac:chgData name="Manish Sharma" userId="97d895ad-8d7a-4884-8c18-743afd731b6f" providerId="ADAL" clId="{020B0728-B75C-448D-A411-EDF0F3BC7629}" dt="2020-09-30T21:51:56.288" v="6409" actId="14100"/>
          <ac:spMkLst>
            <pc:docMk/>
            <pc:sldMk cId="318827490" sldId="456"/>
            <ac:spMk id="100" creationId="{00000000-0000-0000-0000-000000000000}"/>
          </ac:spMkLst>
        </pc:spChg>
        <pc:spChg chg="mod">
          <ac:chgData name="Manish Sharma" userId="97d895ad-8d7a-4884-8c18-743afd731b6f" providerId="ADAL" clId="{020B0728-B75C-448D-A411-EDF0F3BC7629}" dt="2020-09-30T21:51:56.288" v="6409" actId="14100"/>
          <ac:spMkLst>
            <pc:docMk/>
            <pc:sldMk cId="318827490" sldId="456"/>
            <ac:spMk id="101" creationId="{00000000-0000-0000-0000-000000000000}"/>
          </ac:spMkLst>
        </pc:spChg>
        <pc:spChg chg="mod">
          <ac:chgData name="Manish Sharma" userId="97d895ad-8d7a-4884-8c18-743afd731b6f" providerId="ADAL" clId="{020B0728-B75C-448D-A411-EDF0F3BC7629}" dt="2020-09-30T21:49:23.219" v="6342" actId="20577"/>
          <ac:spMkLst>
            <pc:docMk/>
            <pc:sldMk cId="318827490" sldId="456"/>
            <ac:spMk id="102" creationId="{00000000-0000-0000-0000-000000000000}"/>
          </ac:spMkLst>
        </pc:spChg>
        <pc:spChg chg="mod">
          <ac:chgData name="Manish Sharma" userId="97d895ad-8d7a-4884-8c18-743afd731b6f" providerId="ADAL" clId="{020B0728-B75C-448D-A411-EDF0F3BC7629}" dt="2020-09-30T22:13:19.449" v="7675" actId="14100"/>
          <ac:spMkLst>
            <pc:docMk/>
            <pc:sldMk cId="318827490" sldId="456"/>
            <ac:spMk id="105" creationId="{00000000-0000-0000-0000-000000000000}"/>
          </ac:spMkLst>
        </pc:spChg>
        <pc:spChg chg="mod">
          <ac:chgData name="Manish Sharma" userId="97d895ad-8d7a-4884-8c18-743afd731b6f" providerId="ADAL" clId="{020B0728-B75C-448D-A411-EDF0F3BC7629}" dt="2020-09-30T22:13:19.449" v="7675" actId="14100"/>
          <ac:spMkLst>
            <pc:docMk/>
            <pc:sldMk cId="318827490" sldId="456"/>
            <ac:spMk id="106" creationId="{00000000-0000-0000-0000-000000000000}"/>
          </ac:spMkLst>
        </pc:spChg>
        <pc:spChg chg="mod">
          <ac:chgData name="Manish Sharma" userId="97d895ad-8d7a-4884-8c18-743afd731b6f" providerId="ADAL" clId="{020B0728-B75C-448D-A411-EDF0F3BC7629}" dt="2020-09-30T22:13:19.449" v="7675" actId="14100"/>
          <ac:spMkLst>
            <pc:docMk/>
            <pc:sldMk cId="318827490" sldId="456"/>
            <ac:spMk id="107" creationId="{00000000-0000-0000-0000-000000000000}"/>
          </ac:spMkLst>
        </pc:spChg>
        <pc:spChg chg="mod">
          <ac:chgData name="Manish Sharma" userId="97d895ad-8d7a-4884-8c18-743afd731b6f" providerId="ADAL" clId="{020B0728-B75C-448D-A411-EDF0F3BC7629}" dt="2020-09-30T21:49:31.240" v="6344" actId="20577"/>
          <ac:spMkLst>
            <pc:docMk/>
            <pc:sldMk cId="318827490" sldId="456"/>
            <ac:spMk id="108" creationId="{00000000-0000-0000-0000-000000000000}"/>
          </ac:spMkLst>
        </pc:spChg>
        <pc:spChg chg="mod">
          <ac:chgData name="Manish Sharma" userId="97d895ad-8d7a-4884-8c18-743afd731b6f" providerId="ADAL" clId="{020B0728-B75C-448D-A411-EDF0F3BC7629}" dt="2020-09-30T22:13:50.601" v="7678" actId="14100"/>
          <ac:spMkLst>
            <pc:docMk/>
            <pc:sldMk cId="318827490" sldId="456"/>
            <ac:spMk id="110" creationId="{00000000-0000-0000-0000-000000000000}"/>
          </ac:spMkLst>
        </pc:spChg>
        <pc:spChg chg="mod">
          <ac:chgData name="Manish Sharma" userId="97d895ad-8d7a-4884-8c18-743afd731b6f" providerId="ADAL" clId="{020B0728-B75C-448D-A411-EDF0F3BC7629}" dt="2020-09-30T22:13:50.601" v="7678" actId="14100"/>
          <ac:spMkLst>
            <pc:docMk/>
            <pc:sldMk cId="318827490" sldId="456"/>
            <ac:spMk id="111" creationId="{00000000-0000-0000-0000-000000000000}"/>
          </ac:spMkLst>
        </pc:spChg>
        <pc:spChg chg="mod">
          <ac:chgData name="Manish Sharma" userId="97d895ad-8d7a-4884-8c18-743afd731b6f" providerId="ADAL" clId="{020B0728-B75C-448D-A411-EDF0F3BC7629}" dt="2020-09-30T22:13:50.601" v="7678" actId="14100"/>
          <ac:spMkLst>
            <pc:docMk/>
            <pc:sldMk cId="318827490" sldId="456"/>
            <ac:spMk id="112" creationId="{00000000-0000-0000-0000-000000000000}"/>
          </ac:spMkLst>
        </pc:spChg>
        <pc:spChg chg="mod">
          <ac:chgData name="Manish Sharma" userId="97d895ad-8d7a-4884-8c18-743afd731b6f" providerId="ADAL" clId="{020B0728-B75C-448D-A411-EDF0F3BC7629}" dt="2020-09-30T21:48:55.258" v="6332" actId="20577"/>
          <ac:spMkLst>
            <pc:docMk/>
            <pc:sldMk cId="318827490" sldId="456"/>
            <ac:spMk id="116" creationId="{00000000-0000-0000-0000-000000000000}"/>
          </ac:spMkLst>
        </pc:spChg>
        <pc:spChg chg="mod">
          <ac:chgData name="Manish Sharma" userId="97d895ad-8d7a-4884-8c18-743afd731b6f" providerId="ADAL" clId="{020B0728-B75C-448D-A411-EDF0F3BC7629}" dt="2020-09-30T21:48:42.763" v="6327" actId="20577"/>
          <ac:spMkLst>
            <pc:docMk/>
            <pc:sldMk cId="318827490" sldId="456"/>
            <ac:spMk id="117" creationId="{00000000-0000-0000-0000-000000000000}"/>
          </ac:spMkLst>
        </pc:spChg>
        <pc:spChg chg="mod">
          <ac:chgData name="Manish Sharma" userId="97d895ad-8d7a-4884-8c18-743afd731b6f" providerId="ADAL" clId="{020B0728-B75C-448D-A411-EDF0F3BC7629}" dt="2020-09-30T21:52:28.982" v="6411" actId="14100"/>
          <ac:spMkLst>
            <pc:docMk/>
            <pc:sldMk cId="318827490" sldId="456"/>
            <ac:spMk id="120" creationId="{00000000-0000-0000-0000-000000000000}"/>
          </ac:spMkLst>
        </pc:spChg>
        <pc:spChg chg="mod">
          <ac:chgData name="Manish Sharma" userId="97d895ad-8d7a-4884-8c18-743afd731b6f" providerId="ADAL" clId="{020B0728-B75C-448D-A411-EDF0F3BC7629}" dt="2020-09-30T21:52:28.982" v="6411" actId="14100"/>
          <ac:spMkLst>
            <pc:docMk/>
            <pc:sldMk cId="318827490" sldId="456"/>
            <ac:spMk id="121" creationId="{00000000-0000-0000-0000-000000000000}"/>
          </ac:spMkLst>
        </pc:spChg>
        <pc:spChg chg="mod">
          <ac:chgData name="Manish Sharma" userId="97d895ad-8d7a-4884-8c18-743afd731b6f" providerId="ADAL" clId="{020B0728-B75C-448D-A411-EDF0F3BC7629}" dt="2020-09-30T21:52:28.982" v="6411" actId="14100"/>
          <ac:spMkLst>
            <pc:docMk/>
            <pc:sldMk cId="318827490" sldId="456"/>
            <ac:spMk id="122" creationId="{00000000-0000-0000-0000-000000000000}"/>
          </ac:spMkLst>
        </pc:spChg>
        <pc:spChg chg="mod">
          <ac:chgData name="Manish Sharma" userId="97d895ad-8d7a-4884-8c18-743afd731b6f" providerId="ADAL" clId="{020B0728-B75C-448D-A411-EDF0F3BC7629}" dt="2020-09-30T21:48:28.464" v="6319" actId="20577"/>
          <ac:spMkLst>
            <pc:docMk/>
            <pc:sldMk cId="318827490" sldId="456"/>
            <ac:spMk id="123" creationId="{00000000-0000-0000-0000-000000000000}"/>
          </ac:spMkLst>
        </pc:spChg>
        <pc:grpChg chg="mod">
          <ac:chgData name="Manish Sharma" userId="97d895ad-8d7a-4884-8c18-743afd731b6f" providerId="ADAL" clId="{020B0728-B75C-448D-A411-EDF0F3BC7629}" dt="2020-09-30T22:13:29.708" v="7677" actId="14100"/>
          <ac:grpSpMkLst>
            <pc:docMk/>
            <pc:sldMk cId="318827490" sldId="456"/>
            <ac:grpSpMk id="80" creationId="{00000000-0000-0000-0000-000000000000}"/>
          </ac:grpSpMkLst>
        </pc:grpChg>
        <pc:grpChg chg="mod">
          <ac:chgData name="Manish Sharma" userId="97d895ad-8d7a-4884-8c18-743afd731b6f" providerId="ADAL" clId="{020B0728-B75C-448D-A411-EDF0F3BC7629}" dt="2020-09-30T21:52:21.854" v="6410" actId="14100"/>
          <ac:grpSpMkLst>
            <pc:docMk/>
            <pc:sldMk cId="318827490" sldId="456"/>
            <ac:grpSpMk id="92" creationId="{00000000-0000-0000-0000-000000000000}"/>
          </ac:grpSpMkLst>
        </pc:grpChg>
        <pc:grpChg chg="mod">
          <ac:chgData name="Manish Sharma" userId="97d895ad-8d7a-4884-8c18-743afd731b6f" providerId="ADAL" clId="{020B0728-B75C-448D-A411-EDF0F3BC7629}" dt="2020-09-30T21:51:56.288" v="6409" actId="14100"/>
          <ac:grpSpMkLst>
            <pc:docMk/>
            <pc:sldMk cId="318827490" sldId="456"/>
            <ac:grpSpMk id="98" creationId="{00000000-0000-0000-0000-000000000000}"/>
          </ac:grpSpMkLst>
        </pc:grpChg>
        <pc:grpChg chg="mod">
          <ac:chgData name="Manish Sharma" userId="97d895ad-8d7a-4884-8c18-743afd731b6f" providerId="ADAL" clId="{020B0728-B75C-448D-A411-EDF0F3BC7629}" dt="2020-09-30T22:13:19.449" v="7675" actId="14100"/>
          <ac:grpSpMkLst>
            <pc:docMk/>
            <pc:sldMk cId="318827490" sldId="456"/>
            <ac:grpSpMk id="104" creationId="{00000000-0000-0000-0000-000000000000}"/>
          </ac:grpSpMkLst>
        </pc:grpChg>
        <pc:grpChg chg="mod">
          <ac:chgData name="Manish Sharma" userId="97d895ad-8d7a-4884-8c18-743afd731b6f" providerId="ADAL" clId="{020B0728-B75C-448D-A411-EDF0F3BC7629}" dt="2020-09-30T22:13:50.601" v="7678" actId="14100"/>
          <ac:grpSpMkLst>
            <pc:docMk/>
            <pc:sldMk cId="318827490" sldId="456"/>
            <ac:grpSpMk id="109" creationId="{00000000-0000-0000-0000-000000000000}"/>
          </ac:grpSpMkLst>
        </pc:grpChg>
        <pc:grpChg chg="mod">
          <ac:chgData name="Manish Sharma" userId="97d895ad-8d7a-4884-8c18-743afd731b6f" providerId="ADAL" clId="{020B0728-B75C-448D-A411-EDF0F3BC7629}" dt="2020-09-30T21:52:28.982" v="6411" actId="14100"/>
          <ac:grpSpMkLst>
            <pc:docMk/>
            <pc:sldMk cId="318827490" sldId="456"/>
            <ac:grpSpMk id="119" creationId="{00000000-0000-0000-0000-000000000000}"/>
          </ac:grpSpMkLst>
        </pc:grpChg>
      </pc:sldChg>
      <pc:sldChg chg="addSp mod">
        <pc:chgData name="Manish Sharma" userId="97d895ad-8d7a-4884-8c18-743afd731b6f" providerId="ADAL" clId="{020B0728-B75C-448D-A411-EDF0F3BC7629}" dt="2020-09-29T16:05:12.471" v="48" actId="22"/>
        <pc:sldMkLst>
          <pc:docMk/>
          <pc:sldMk cId="64462132" sldId="457"/>
        </pc:sldMkLst>
        <pc:spChg chg="add">
          <ac:chgData name="Manish Sharma" userId="97d895ad-8d7a-4884-8c18-743afd731b6f" providerId="ADAL" clId="{020B0728-B75C-448D-A411-EDF0F3BC7629}" dt="2020-09-29T16:05:12.471" v="48" actId="22"/>
          <ac:spMkLst>
            <pc:docMk/>
            <pc:sldMk cId="64462132" sldId="457"/>
            <ac:spMk id="3" creationId="{30B74498-E3E0-4825-B266-5A36310B6D06}"/>
          </ac:spMkLst>
        </pc:spChg>
      </pc:sldChg>
      <pc:sldChg chg="addSp delSp mod">
        <pc:chgData name="Manish Sharma" userId="97d895ad-8d7a-4884-8c18-743afd731b6f" providerId="ADAL" clId="{020B0728-B75C-448D-A411-EDF0F3BC7629}" dt="2020-09-29T16:59:08.182" v="663" actId="21"/>
        <pc:sldMkLst>
          <pc:docMk/>
          <pc:sldMk cId="1282065873" sldId="458"/>
        </pc:sldMkLst>
        <pc:spChg chg="add">
          <ac:chgData name="Manish Sharma" userId="97d895ad-8d7a-4884-8c18-743afd731b6f" providerId="ADAL" clId="{020B0728-B75C-448D-A411-EDF0F3BC7629}" dt="2020-09-29T16:05:13.136" v="49" actId="22"/>
          <ac:spMkLst>
            <pc:docMk/>
            <pc:sldMk cId="1282065873" sldId="458"/>
            <ac:spMk id="4" creationId="{4B477770-CB8F-4297-A59C-8AAC1CC99612}"/>
          </ac:spMkLst>
        </pc:spChg>
        <pc:spChg chg="add del">
          <ac:chgData name="Manish Sharma" userId="97d895ad-8d7a-4884-8c18-743afd731b6f" providerId="ADAL" clId="{020B0728-B75C-448D-A411-EDF0F3BC7629}" dt="2020-09-29T16:59:08.182" v="663" actId="21"/>
          <ac:spMkLst>
            <pc:docMk/>
            <pc:sldMk cId="1282065873" sldId="458"/>
            <ac:spMk id="5" creationId="{4EA60698-0DF9-408B-B844-1F64041FF865}"/>
          </ac:spMkLst>
        </pc:spChg>
      </pc:sldChg>
      <pc:sldChg chg="addSp mod">
        <pc:chgData name="Manish Sharma" userId="97d895ad-8d7a-4884-8c18-743afd731b6f" providerId="ADAL" clId="{020B0728-B75C-448D-A411-EDF0F3BC7629}" dt="2020-09-29T16:59:10.104" v="664" actId="22"/>
        <pc:sldMkLst>
          <pc:docMk/>
          <pc:sldMk cId="2955311574" sldId="459"/>
        </pc:sldMkLst>
        <pc:spChg chg="add">
          <ac:chgData name="Manish Sharma" userId="97d895ad-8d7a-4884-8c18-743afd731b6f" providerId="ADAL" clId="{020B0728-B75C-448D-A411-EDF0F3BC7629}" dt="2020-09-29T16:59:10.104" v="664" actId="22"/>
          <ac:spMkLst>
            <pc:docMk/>
            <pc:sldMk cId="2955311574" sldId="459"/>
            <ac:spMk id="4" creationId="{C58A7A76-ED1F-4ED2-98E2-DDAA20093EDE}"/>
          </ac:spMkLst>
        </pc:spChg>
      </pc:sldChg>
      <pc:sldChg chg="addSp modSp mod">
        <pc:chgData name="Manish Sharma" userId="97d895ad-8d7a-4884-8c18-743afd731b6f" providerId="ADAL" clId="{020B0728-B75C-448D-A411-EDF0F3BC7629}" dt="2020-09-29T16:10:09.097" v="70" actId="20577"/>
        <pc:sldMkLst>
          <pc:docMk/>
          <pc:sldMk cId="3561461661" sldId="461"/>
        </pc:sldMkLst>
        <pc:spChg chg="add mod">
          <ac:chgData name="Manish Sharma" userId="97d895ad-8d7a-4884-8c18-743afd731b6f" providerId="ADAL" clId="{020B0728-B75C-448D-A411-EDF0F3BC7629}" dt="2020-09-29T16:10:09.097" v="70" actId="20577"/>
          <ac:spMkLst>
            <pc:docMk/>
            <pc:sldMk cId="3561461661" sldId="461"/>
            <ac:spMk id="4" creationId="{F3122DBE-F1BF-4B7D-9743-2C1527394980}"/>
          </ac:spMkLst>
        </pc:spChg>
      </pc:sldChg>
      <pc:sldChg chg="addSp mod">
        <pc:chgData name="Manish Sharma" userId="97d895ad-8d7a-4884-8c18-743afd731b6f" providerId="ADAL" clId="{020B0728-B75C-448D-A411-EDF0F3BC7629}" dt="2020-09-29T16:05:17.633" v="53" actId="22"/>
        <pc:sldMkLst>
          <pc:docMk/>
          <pc:sldMk cId="1606788452" sldId="463"/>
        </pc:sldMkLst>
        <pc:spChg chg="add">
          <ac:chgData name="Manish Sharma" userId="97d895ad-8d7a-4884-8c18-743afd731b6f" providerId="ADAL" clId="{020B0728-B75C-448D-A411-EDF0F3BC7629}" dt="2020-09-29T16:05:17.633" v="53" actId="22"/>
          <ac:spMkLst>
            <pc:docMk/>
            <pc:sldMk cId="1606788452" sldId="463"/>
            <ac:spMk id="6" creationId="{41B138F5-9B75-4BFA-9720-0CAC3E7BED6C}"/>
          </ac:spMkLst>
        </pc:spChg>
      </pc:sldChg>
      <pc:sldChg chg="addSp mod">
        <pc:chgData name="Manish Sharma" userId="97d895ad-8d7a-4884-8c18-743afd731b6f" providerId="ADAL" clId="{020B0728-B75C-448D-A411-EDF0F3BC7629}" dt="2020-09-29T16:05:18.290" v="54" actId="22"/>
        <pc:sldMkLst>
          <pc:docMk/>
          <pc:sldMk cId="1229755797" sldId="464"/>
        </pc:sldMkLst>
        <pc:spChg chg="add">
          <ac:chgData name="Manish Sharma" userId="97d895ad-8d7a-4884-8c18-743afd731b6f" providerId="ADAL" clId="{020B0728-B75C-448D-A411-EDF0F3BC7629}" dt="2020-09-29T16:05:18.290" v="54" actId="22"/>
          <ac:spMkLst>
            <pc:docMk/>
            <pc:sldMk cId="1229755797" sldId="464"/>
            <ac:spMk id="3" creationId="{3AC7C1CD-954F-4789-BAD9-A2DA65286073}"/>
          </ac:spMkLst>
        </pc:spChg>
      </pc:sldChg>
      <pc:sldChg chg="addSp mod">
        <pc:chgData name="Manish Sharma" userId="97d895ad-8d7a-4884-8c18-743afd731b6f" providerId="ADAL" clId="{020B0728-B75C-448D-A411-EDF0F3BC7629}" dt="2020-09-29T16:05:19.026" v="55" actId="22"/>
        <pc:sldMkLst>
          <pc:docMk/>
          <pc:sldMk cId="824401427" sldId="465"/>
        </pc:sldMkLst>
        <pc:spChg chg="add">
          <ac:chgData name="Manish Sharma" userId="97d895ad-8d7a-4884-8c18-743afd731b6f" providerId="ADAL" clId="{020B0728-B75C-448D-A411-EDF0F3BC7629}" dt="2020-09-29T16:05:19.026" v="55" actId="22"/>
          <ac:spMkLst>
            <pc:docMk/>
            <pc:sldMk cId="824401427" sldId="465"/>
            <ac:spMk id="3" creationId="{D4507406-A4B1-410C-B39F-E5EF75978132}"/>
          </ac:spMkLst>
        </pc:spChg>
      </pc:sldChg>
      <pc:sldChg chg="addSp del mod">
        <pc:chgData name="Manish Sharma" userId="97d895ad-8d7a-4884-8c18-743afd731b6f" providerId="ADAL" clId="{020B0728-B75C-448D-A411-EDF0F3BC7629}" dt="2020-09-29T17:03:26.756" v="682" actId="47"/>
        <pc:sldMkLst>
          <pc:docMk/>
          <pc:sldMk cId="2092240626" sldId="466"/>
        </pc:sldMkLst>
        <pc:spChg chg="add">
          <ac:chgData name="Manish Sharma" userId="97d895ad-8d7a-4884-8c18-743afd731b6f" providerId="ADAL" clId="{020B0728-B75C-448D-A411-EDF0F3BC7629}" dt="2020-09-29T16:05:22.699" v="56" actId="22"/>
          <ac:spMkLst>
            <pc:docMk/>
            <pc:sldMk cId="2092240626" sldId="466"/>
            <ac:spMk id="4" creationId="{80FAB042-1A03-489B-9A4F-1161C1D94422}"/>
          </ac:spMkLst>
        </pc:spChg>
      </pc:sldChg>
      <pc:sldChg chg="addSp del mod">
        <pc:chgData name="Manish Sharma" userId="97d895ad-8d7a-4884-8c18-743afd731b6f" providerId="ADAL" clId="{020B0728-B75C-448D-A411-EDF0F3BC7629}" dt="2020-09-29T17:03:48.659" v="687" actId="47"/>
        <pc:sldMkLst>
          <pc:docMk/>
          <pc:sldMk cId="843158835" sldId="467"/>
        </pc:sldMkLst>
        <pc:spChg chg="add">
          <ac:chgData name="Manish Sharma" userId="97d895ad-8d7a-4884-8c18-743afd731b6f" providerId="ADAL" clId="{020B0728-B75C-448D-A411-EDF0F3BC7629}" dt="2020-09-29T16:05:24.816" v="57" actId="22"/>
          <ac:spMkLst>
            <pc:docMk/>
            <pc:sldMk cId="843158835" sldId="467"/>
            <ac:spMk id="4" creationId="{9CF33C4A-5E1A-461D-A1DF-7F86D4105A04}"/>
          </ac:spMkLst>
        </pc:spChg>
      </pc:sldChg>
      <pc:sldChg chg="addSp mod">
        <pc:chgData name="Manish Sharma" userId="97d895ad-8d7a-4884-8c18-743afd731b6f" providerId="ADAL" clId="{020B0728-B75C-448D-A411-EDF0F3BC7629}" dt="2020-09-29T16:05:16.385" v="52" actId="22"/>
        <pc:sldMkLst>
          <pc:docMk/>
          <pc:sldMk cId="3135919075" sldId="468"/>
        </pc:sldMkLst>
        <pc:spChg chg="add">
          <ac:chgData name="Manish Sharma" userId="97d895ad-8d7a-4884-8c18-743afd731b6f" providerId="ADAL" clId="{020B0728-B75C-448D-A411-EDF0F3BC7629}" dt="2020-09-29T16:05:16.385" v="52" actId="22"/>
          <ac:spMkLst>
            <pc:docMk/>
            <pc:sldMk cId="3135919075" sldId="468"/>
            <ac:spMk id="4" creationId="{0FBBBDC7-976C-4C02-8502-F784B9BF250A}"/>
          </ac:spMkLst>
        </pc:spChg>
      </pc:sldChg>
      <pc:sldChg chg="addSp mod">
        <pc:chgData name="Manish Sharma" userId="97d895ad-8d7a-4884-8c18-743afd731b6f" providerId="ADAL" clId="{020B0728-B75C-448D-A411-EDF0F3BC7629}" dt="2020-09-29T16:05:10.566" v="46" actId="22"/>
        <pc:sldMkLst>
          <pc:docMk/>
          <pc:sldMk cId="1096163664" sldId="469"/>
        </pc:sldMkLst>
        <pc:spChg chg="add">
          <ac:chgData name="Manish Sharma" userId="97d895ad-8d7a-4884-8c18-743afd731b6f" providerId="ADAL" clId="{020B0728-B75C-448D-A411-EDF0F3BC7629}" dt="2020-09-29T16:05:10.566" v="46" actId="22"/>
          <ac:spMkLst>
            <pc:docMk/>
            <pc:sldMk cId="1096163664" sldId="469"/>
            <ac:spMk id="3" creationId="{86FEB8FA-0D8E-4F85-B326-B62CD270F10B}"/>
          </ac:spMkLst>
        </pc:spChg>
      </pc:sldChg>
      <pc:sldChg chg="add del">
        <pc:chgData name="Manish Sharma" userId="97d895ad-8d7a-4884-8c18-743afd731b6f" providerId="ADAL" clId="{020B0728-B75C-448D-A411-EDF0F3BC7629}" dt="2020-09-29T17:02:52.837" v="677" actId="47"/>
        <pc:sldMkLst>
          <pc:docMk/>
          <pc:sldMk cId="2520477888" sldId="470"/>
        </pc:sldMkLst>
      </pc:sldChg>
      <pc:sldChg chg="modSp add mod">
        <pc:chgData name="Manish Sharma" userId="97d895ad-8d7a-4884-8c18-743afd731b6f" providerId="ADAL" clId="{020B0728-B75C-448D-A411-EDF0F3BC7629}" dt="2020-09-29T22:26:06.721" v="4417" actId="14734"/>
        <pc:sldMkLst>
          <pc:docMk/>
          <pc:sldMk cId="415686876" sldId="471"/>
        </pc:sldMkLst>
        <pc:spChg chg="mod">
          <ac:chgData name="Manish Sharma" userId="97d895ad-8d7a-4884-8c18-743afd731b6f" providerId="ADAL" clId="{020B0728-B75C-448D-A411-EDF0F3BC7629}" dt="2020-09-29T19:32:23.140" v="3995" actId="13926"/>
          <ac:spMkLst>
            <pc:docMk/>
            <pc:sldMk cId="415686876" sldId="471"/>
            <ac:spMk id="25" creationId="{822CB3C9-19F1-48FD-B87F-0FE3265E0570}"/>
          </ac:spMkLst>
        </pc:spChg>
        <pc:graphicFrameChg chg="mod modGraphic">
          <ac:chgData name="Manish Sharma" userId="97d895ad-8d7a-4884-8c18-743afd731b6f" providerId="ADAL" clId="{020B0728-B75C-448D-A411-EDF0F3BC7629}" dt="2020-09-29T22:26:06.721" v="4417" actId="14734"/>
          <ac:graphicFrameMkLst>
            <pc:docMk/>
            <pc:sldMk cId="415686876" sldId="471"/>
            <ac:graphicFrameMk id="28" creationId="{994870E9-25EF-4A43-B1A1-38CC6A36FD4D}"/>
          </ac:graphicFrameMkLst>
        </pc:graphicFrameChg>
      </pc:sldChg>
      <pc:sldChg chg="addSp delSp modSp add mod">
        <pc:chgData name="Manish Sharma" userId="97d895ad-8d7a-4884-8c18-743afd731b6f" providerId="ADAL" clId="{020B0728-B75C-448D-A411-EDF0F3BC7629}" dt="2020-09-29T19:29:24.363" v="3729" actId="20577"/>
        <pc:sldMkLst>
          <pc:docMk/>
          <pc:sldMk cId="1932913272" sldId="472"/>
        </pc:sldMkLst>
        <pc:spChg chg="mod">
          <ac:chgData name="Manish Sharma" userId="97d895ad-8d7a-4884-8c18-743afd731b6f" providerId="ADAL" clId="{020B0728-B75C-448D-A411-EDF0F3BC7629}" dt="2020-09-29T19:29:24.363" v="3729" actId="20577"/>
          <ac:spMkLst>
            <pc:docMk/>
            <pc:sldMk cId="1932913272" sldId="472"/>
            <ac:spMk id="2" creationId="{00000000-0000-0000-0000-000000000000}"/>
          </ac:spMkLst>
        </pc:spChg>
        <pc:spChg chg="del">
          <ac:chgData name="Manish Sharma" userId="97d895ad-8d7a-4884-8c18-743afd731b6f" providerId="ADAL" clId="{020B0728-B75C-448D-A411-EDF0F3BC7629}" dt="2020-09-29T19:27:25.607" v="3695" actId="478"/>
          <ac:spMkLst>
            <pc:docMk/>
            <pc:sldMk cId="1932913272" sldId="472"/>
            <ac:spMk id="4" creationId="{7C4097C3-04DA-4106-BF86-7A33FEC94B39}"/>
          </ac:spMkLst>
        </pc:spChg>
        <pc:spChg chg="mod">
          <ac:chgData name="Manish Sharma" userId="97d895ad-8d7a-4884-8c18-743afd731b6f" providerId="ADAL" clId="{020B0728-B75C-448D-A411-EDF0F3BC7629}" dt="2020-09-29T19:27:19.254" v="3694" actId="20577"/>
          <ac:spMkLst>
            <pc:docMk/>
            <pc:sldMk cId="1932913272" sldId="472"/>
            <ac:spMk id="21" creationId="{00000000-0000-0000-0000-000000000000}"/>
          </ac:spMkLst>
        </pc:spChg>
        <pc:spChg chg="mod">
          <ac:chgData name="Manish Sharma" userId="97d895ad-8d7a-4884-8c18-743afd731b6f" providerId="ADAL" clId="{020B0728-B75C-448D-A411-EDF0F3BC7629}" dt="2020-09-29T17:10:36.393" v="887" actId="108"/>
          <ac:spMkLst>
            <pc:docMk/>
            <pc:sldMk cId="1932913272" sldId="472"/>
            <ac:spMk id="73" creationId="{4C88BB89-4068-499B-8F3F-29D9CFDEB8D9}"/>
          </ac:spMkLst>
        </pc:spChg>
        <pc:spChg chg="mod">
          <ac:chgData name="Manish Sharma" userId="97d895ad-8d7a-4884-8c18-743afd731b6f" providerId="ADAL" clId="{020B0728-B75C-448D-A411-EDF0F3BC7629}" dt="2020-09-29T17:10:38.998" v="889" actId="108"/>
          <ac:spMkLst>
            <pc:docMk/>
            <pc:sldMk cId="1932913272" sldId="472"/>
            <ac:spMk id="74" creationId="{0331598C-AB42-4ED3-AD29-91628B8360D4}"/>
          </ac:spMkLst>
        </pc:spChg>
        <pc:spChg chg="mod">
          <ac:chgData name="Manish Sharma" userId="97d895ad-8d7a-4884-8c18-743afd731b6f" providerId="ADAL" clId="{020B0728-B75C-448D-A411-EDF0F3BC7629}" dt="2020-09-29T17:10:37.814" v="888" actId="108"/>
          <ac:spMkLst>
            <pc:docMk/>
            <pc:sldMk cId="1932913272" sldId="472"/>
            <ac:spMk id="75" creationId="{C3667D43-2D3C-46D6-BEB3-58980BA9DA59}"/>
          </ac:spMkLst>
        </pc:spChg>
        <pc:spChg chg="mod">
          <ac:chgData name="Manish Sharma" userId="97d895ad-8d7a-4884-8c18-743afd731b6f" providerId="ADAL" clId="{020B0728-B75C-448D-A411-EDF0F3BC7629}" dt="2020-09-29T18:27:35.458" v="3046" actId="20577"/>
          <ac:spMkLst>
            <pc:docMk/>
            <pc:sldMk cId="1932913272" sldId="472"/>
            <ac:spMk id="77" creationId="{00000000-0000-0000-0000-000000000000}"/>
          </ac:spMkLst>
        </pc:spChg>
        <pc:spChg chg="mod">
          <ac:chgData name="Manish Sharma" userId="97d895ad-8d7a-4884-8c18-743afd731b6f" providerId="ADAL" clId="{020B0728-B75C-448D-A411-EDF0F3BC7629}" dt="2020-09-29T17:10:13.448" v="881" actId="208"/>
          <ac:spMkLst>
            <pc:docMk/>
            <pc:sldMk cId="1932913272" sldId="472"/>
            <ac:spMk id="78" creationId="{00000000-0000-0000-0000-000000000000}"/>
          </ac:spMkLst>
        </pc:spChg>
        <pc:spChg chg="mod">
          <ac:chgData name="Manish Sharma" userId="97d895ad-8d7a-4884-8c18-743afd731b6f" providerId="ADAL" clId="{020B0728-B75C-448D-A411-EDF0F3BC7629}" dt="2020-09-29T19:23:20.127" v="3474" actId="20577"/>
          <ac:spMkLst>
            <pc:docMk/>
            <pc:sldMk cId="1932913272" sldId="472"/>
            <ac:spMk id="81" creationId="{00000000-0000-0000-0000-000000000000}"/>
          </ac:spMkLst>
        </pc:spChg>
        <pc:spChg chg="mod">
          <ac:chgData name="Manish Sharma" userId="97d895ad-8d7a-4884-8c18-743afd731b6f" providerId="ADAL" clId="{020B0728-B75C-448D-A411-EDF0F3BC7629}" dt="2020-09-29T19:23:23.127" v="3478" actId="20577"/>
          <ac:spMkLst>
            <pc:docMk/>
            <pc:sldMk cId="1932913272" sldId="472"/>
            <ac:spMk id="90" creationId="{00000000-0000-0000-0000-000000000000}"/>
          </ac:spMkLst>
        </pc:spChg>
        <pc:spChg chg="mod">
          <ac:chgData name="Manish Sharma" userId="97d895ad-8d7a-4884-8c18-743afd731b6f" providerId="ADAL" clId="{020B0728-B75C-448D-A411-EDF0F3BC7629}" dt="2020-09-29T19:23:27.047" v="3482" actId="20577"/>
          <ac:spMkLst>
            <pc:docMk/>
            <pc:sldMk cId="1932913272" sldId="472"/>
            <ac:spMk id="96" creationId="{00000000-0000-0000-0000-000000000000}"/>
          </ac:spMkLst>
        </pc:spChg>
        <pc:spChg chg="add del mod">
          <ac:chgData name="Manish Sharma" userId="97d895ad-8d7a-4884-8c18-743afd731b6f" providerId="ADAL" clId="{020B0728-B75C-448D-A411-EDF0F3BC7629}" dt="2020-09-29T19:23:35.766" v="3488" actId="20577"/>
          <ac:spMkLst>
            <pc:docMk/>
            <pc:sldMk cId="1932913272" sldId="472"/>
            <ac:spMk id="102" creationId="{00000000-0000-0000-0000-000000000000}"/>
          </ac:spMkLst>
        </pc:spChg>
        <pc:spChg chg="mod">
          <ac:chgData name="Manish Sharma" userId="97d895ad-8d7a-4884-8c18-743afd731b6f" providerId="ADAL" clId="{020B0728-B75C-448D-A411-EDF0F3BC7629}" dt="2020-09-29T17:10:40.465" v="890" actId="108"/>
          <ac:spMkLst>
            <pc:docMk/>
            <pc:sldMk cId="1932913272" sldId="472"/>
            <ac:spMk id="103" creationId="{00000000-0000-0000-0000-000000000000}"/>
          </ac:spMkLst>
        </pc:spChg>
        <pc:spChg chg="mod">
          <ac:chgData name="Manish Sharma" userId="97d895ad-8d7a-4884-8c18-743afd731b6f" providerId="ADAL" clId="{020B0728-B75C-448D-A411-EDF0F3BC7629}" dt="2020-09-29T19:23:40.278" v="3490" actId="20577"/>
          <ac:spMkLst>
            <pc:docMk/>
            <pc:sldMk cId="1932913272" sldId="472"/>
            <ac:spMk id="108" creationId="{00000000-0000-0000-0000-000000000000}"/>
          </ac:spMkLst>
        </pc:spChg>
        <pc:spChg chg="mod">
          <ac:chgData name="Manish Sharma" userId="97d895ad-8d7a-4884-8c18-743afd731b6f" providerId="ADAL" clId="{020B0728-B75C-448D-A411-EDF0F3BC7629}" dt="2020-09-29T19:23:14.671" v="3472" actId="20577"/>
          <ac:spMkLst>
            <pc:docMk/>
            <pc:sldMk cId="1932913272" sldId="472"/>
            <ac:spMk id="116" creationId="{00000000-0000-0000-0000-000000000000}"/>
          </ac:spMkLst>
        </pc:spChg>
        <pc:spChg chg="mod">
          <ac:chgData name="Manish Sharma" userId="97d895ad-8d7a-4884-8c18-743afd731b6f" providerId="ADAL" clId="{020B0728-B75C-448D-A411-EDF0F3BC7629}" dt="2020-09-29T19:23:11.422" v="3471" actId="20577"/>
          <ac:spMkLst>
            <pc:docMk/>
            <pc:sldMk cId="1932913272" sldId="472"/>
            <ac:spMk id="117" creationId="{00000000-0000-0000-0000-000000000000}"/>
          </ac:spMkLst>
        </pc:spChg>
        <pc:spChg chg="mod">
          <ac:chgData name="Manish Sharma" userId="97d895ad-8d7a-4884-8c18-743afd731b6f" providerId="ADAL" clId="{020B0728-B75C-448D-A411-EDF0F3BC7629}" dt="2020-09-29T19:22:51.673" v="3467" actId="20577"/>
          <ac:spMkLst>
            <pc:docMk/>
            <pc:sldMk cId="1932913272" sldId="472"/>
            <ac:spMk id="123" creationId="{00000000-0000-0000-0000-000000000000}"/>
          </ac:spMkLst>
        </pc:spChg>
        <pc:spChg chg="mod">
          <ac:chgData name="Manish Sharma" userId="97d895ad-8d7a-4884-8c18-743afd731b6f" providerId="ADAL" clId="{020B0728-B75C-448D-A411-EDF0F3BC7629}" dt="2020-09-29T18:27:27.159" v="3027" actId="1037"/>
          <ac:spMkLst>
            <pc:docMk/>
            <pc:sldMk cId="1932913272" sldId="472"/>
            <ac:spMk id="135" creationId="{00000000-0000-0000-0000-000000000000}"/>
          </ac:spMkLst>
        </pc:spChg>
      </pc:sldChg>
      <pc:sldChg chg="addSp delSp modSp add mod">
        <pc:chgData name="Manish Sharma" userId="97d895ad-8d7a-4884-8c18-743afd731b6f" providerId="ADAL" clId="{020B0728-B75C-448D-A411-EDF0F3BC7629}" dt="2020-09-29T19:22:35.805" v="3465" actId="20577"/>
        <pc:sldMkLst>
          <pc:docMk/>
          <pc:sldMk cId="3036870701" sldId="473"/>
        </pc:sldMkLst>
        <pc:spChg chg="mod">
          <ac:chgData name="Manish Sharma" userId="97d895ad-8d7a-4884-8c18-743afd731b6f" providerId="ADAL" clId="{020B0728-B75C-448D-A411-EDF0F3BC7629}" dt="2020-09-29T17:42:48.494" v="982" actId="14100"/>
          <ac:spMkLst>
            <pc:docMk/>
            <pc:sldMk cId="3036870701" sldId="473"/>
            <ac:spMk id="2" creationId="{00000000-0000-0000-0000-000000000000}"/>
          </ac:spMkLst>
        </pc:spChg>
        <pc:spChg chg="del">
          <ac:chgData name="Manish Sharma" userId="97d895ad-8d7a-4884-8c18-743afd731b6f" providerId="ADAL" clId="{020B0728-B75C-448D-A411-EDF0F3BC7629}" dt="2020-09-29T19:21:11.751" v="3136" actId="478"/>
          <ac:spMkLst>
            <pc:docMk/>
            <pc:sldMk cId="3036870701" sldId="473"/>
            <ac:spMk id="3" creationId="{30B74498-E3E0-4825-B266-5A36310B6D06}"/>
          </ac:spMkLst>
        </pc:spChg>
        <pc:spChg chg="mod">
          <ac:chgData name="Manish Sharma" userId="97d895ad-8d7a-4884-8c18-743afd731b6f" providerId="ADAL" clId="{020B0728-B75C-448D-A411-EDF0F3BC7629}" dt="2020-09-29T19:22:35.805" v="3465" actId="20577"/>
          <ac:spMkLst>
            <pc:docMk/>
            <pc:sldMk cId="3036870701" sldId="473"/>
            <ac:spMk id="7" creationId="{B633BA49-44C2-41E0-8A5F-10881248D9C0}"/>
          </ac:spMkLst>
        </pc:spChg>
        <pc:graphicFrameChg chg="mod modGraphic">
          <ac:chgData name="Manish Sharma" userId="97d895ad-8d7a-4884-8c18-743afd731b6f" providerId="ADAL" clId="{020B0728-B75C-448D-A411-EDF0F3BC7629}" dt="2020-09-29T19:20:52.136" v="3132"/>
          <ac:graphicFrameMkLst>
            <pc:docMk/>
            <pc:sldMk cId="3036870701" sldId="473"/>
            <ac:graphicFrameMk id="20" creationId="{C706CF1C-16BE-40AB-AD10-3D3B1B2FD25F}"/>
          </ac:graphicFrameMkLst>
        </pc:graphicFrameChg>
        <pc:graphicFrameChg chg="modGraphic">
          <ac:chgData name="Manish Sharma" userId="97d895ad-8d7a-4884-8c18-743afd731b6f" providerId="ADAL" clId="{020B0728-B75C-448D-A411-EDF0F3BC7629}" dt="2020-09-29T19:15:18.621" v="3101" actId="13926"/>
          <ac:graphicFrameMkLst>
            <pc:docMk/>
            <pc:sldMk cId="3036870701" sldId="473"/>
            <ac:graphicFrameMk id="22" creationId="{25ADC611-E4BA-4F2F-9BF9-A6228171DDE2}"/>
          </ac:graphicFrameMkLst>
        </pc:graphicFrameChg>
        <pc:graphicFrameChg chg="modGraphic">
          <ac:chgData name="Manish Sharma" userId="97d895ad-8d7a-4884-8c18-743afd731b6f" providerId="ADAL" clId="{020B0728-B75C-448D-A411-EDF0F3BC7629}" dt="2020-09-29T19:17:43.839" v="3128" actId="20577"/>
          <ac:graphicFrameMkLst>
            <pc:docMk/>
            <pc:sldMk cId="3036870701" sldId="473"/>
            <ac:graphicFrameMk id="23" creationId="{00000000-0000-0000-0000-000000000000}"/>
          </ac:graphicFrameMkLst>
        </pc:graphicFrameChg>
        <pc:graphicFrameChg chg="mod modGraphic">
          <ac:chgData name="Manish Sharma" userId="97d895ad-8d7a-4884-8c18-743afd731b6f" providerId="ADAL" clId="{020B0728-B75C-448D-A411-EDF0F3BC7629}" dt="2020-09-29T19:20:57.162" v="3135" actId="404"/>
          <ac:graphicFrameMkLst>
            <pc:docMk/>
            <pc:sldMk cId="3036870701" sldId="473"/>
            <ac:graphicFrameMk id="26" creationId="{A088A704-3458-4A85-A10E-CBFB205EDF51}"/>
          </ac:graphicFrameMkLst>
        </pc:graphicFrameChg>
        <pc:graphicFrameChg chg="add del mod">
          <ac:chgData name="Manish Sharma" userId="97d895ad-8d7a-4884-8c18-743afd731b6f" providerId="ADAL" clId="{020B0728-B75C-448D-A411-EDF0F3BC7629}" dt="2020-09-29T18:09:45.296" v="1217" actId="478"/>
          <ac:graphicFrameMkLst>
            <pc:docMk/>
            <pc:sldMk cId="3036870701" sldId="473"/>
            <ac:graphicFrameMk id="27" creationId="{61D098B7-37B3-45DD-A837-16BBE1071EA2}"/>
          </ac:graphicFrameMkLst>
        </pc:graphicFrameChg>
        <pc:graphicFrameChg chg="add mod">
          <ac:chgData name="Manish Sharma" userId="97d895ad-8d7a-4884-8c18-743afd731b6f" providerId="ADAL" clId="{020B0728-B75C-448D-A411-EDF0F3BC7629}" dt="2020-09-29T19:13:45.337" v="3048"/>
          <ac:graphicFrameMkLst>
            <pc:docMk/>
            <pc:sldMk cId="3036870701" sldId="473"/>
            <ac:graphicFrameMk id="28" creationId="{92F94D66-2C85-4577-AB9F-E2FA012191E9}"/>
          </ac:graphicFrameMkLst>
        </pc:graphicFrameChg>
        <pc:graphicFrameChg chg="add mod">
          <ac:chgData name="Manish Sharma" userId="97d895ad-8d7a-4884-8c18-743afd731b6f" providerId="ADAL" clId="{020B0728-B75C-448D-A411-EDF0F3BC7629}" dt="2020-09-29T19:13:58.615" v="3053"/>
          <ac:graphicFrameMkLst>
            <pc:docMk/>
            <pc:sldMk cId="3036870701" sldId="473"/>
            <ac:graphicFrameMk id="29" creationId="{E563D46C-1639-44B2-85BF-8B0BCED522CE}"/>
          </ac:graphicFrameMkLst>
        </pc:graphicFrameChg>
        <pc:graphicFrameChg chg="del">
          <ac:chgData name="Manish Sharma" userId="97d895ad-8d7a-4884-8c18-743afd731b6f" providerId="ADAL" clId="{020B0728-B75C-448D-A411-EDF0F3BC7629}" dt="2020-09-29T17:42:17.185" v="953" actId="478"/>
          <ac:graphicFrameMkLst>
            <pc:docMk/>
            <pc:sldMk cId="3036870701" sldId="473"/>
            <ac:graphicFrameMk id="30" creationId="{56645DE4-9770-48B7-9AA0-A244685A9565}"/>
          </ac:graphicFrameMkLst>
        </pc:graphicFrameChg>
      </pc:sldChg>
      <pc:sldChg chg="delSp add mod">
        <pc:chgData name="Manish Sharma" userId="97d895ad-8d7a-4884-8c18-743afd731b6f" providerId="ADAL" clId="{020B0728-B75C-448D-A411-EDF0F3BC7629}" dt="2020-09-29T16:59:19.311" v="666" actId="478"/>
        <pc:sldMkLst>
          <pc:docMk/>
          <pc:sldMk cId="2478356659" sldId="474"/>
        </pc:sldMkLst>
        <pc:spChg chg="del">
          <ac:chgData name="Manish Sharma" userId="97d895ad-8d7a-4884-8c18-743afd731b6f" providerId="ADAL" clId="{020B0728-B75C-448D-A411-EDF0F3BC7629}" dt="2020-09-29T16:59:19.311" v="666" actId="478"/>
          <ac:spMkLst>
            <pc:docMk/>
            <pc:sldMk cId="2478356659" sldId="474"/>
            <ac:spMk id="5" creationId="{4EA60698-0DF9-408B-B844-1F64041FF865}"/>
          </ac:spMkLst>
        </pc:spChg>
      </pc:sldChg>
      <pc:sldChg chg="addSp add mod">
        <pc:chgData name="Manish Sharma" userId="97d895ad-8d7a-4884-8c18-743afd731b6f" providerId="ADAL" clId="{020B0728-B75C-448D-A411-EDF0F3BC7629}" dt="2020-09-29T16:59:16.163" v="665" actId="22"/>
        <pc:sldMkLst>
          <pc:docMk/>
          <pc:sldMk cId="2130452992" sldId="475"/>
        </pc:sldMkLst>
        <pc:spChg chg="add">
          <ac:chgData name="Manish Sharma" userId="97d895ad-8d7a-4884-8c18-743afd731b6f" providerId="ADAL" clId="{020B0728-B75C-448D-A411-EDF0F3BC7629}" dt="2020-09-29T16:59:16.163" v="665" actId="22"/>
          <ac:spMkLst>
            <pc:docMk/>
            <pc:sldMk cId="2130452992" sldId="475"/>
            <ac:spMk id="4" creationId="{D4AEE22A-5CD2-4396-B5CC-AFA8E54CEAD1}"/>
          </ac:spMkLst>
        </pc:spChg>
      </pc:sldChg>
      <pc:sldChg chg="addSp delSp add mod">
        <pc:chgData name="Manish Sharma" userId="97d895ad-8d7a-4884-8c18-743afd731b6f" providerId="ADAL" clId="{020B0728-B75C-448D-A411-EDF0F3BC7629}" dt="2020-09-29T16:10:22.711" v="72" actId="478"/>
        <pc:sldMkLst>
          <pc:docMk/>
          <pc:sldMk cId="1839882295" sldId="476"/>
        </pc:sldMkLst>
        <pc:spChg chg="del">
          <ac:chgData name="Manish Sharma" userId="97d895ad-8d7a-4884-8c18-743afd731b6f" providerId="ADAL" clId="{020B0728-B75C-448D-A411-EDF0F3BC7629}" dt="2020-09-29T16:10:22.711" v="72" actId="478"/>
          <ac:spMkLst>
            <pc:docMk/>
            <pc:sldMk cId="1839882295" sldId="476"/>
            <ac:spMk id="4" creationId="{F3122DBE-F1BF-4B7D-9743-2C1527394980}"/>
          </ac:spMkLst>
        </pc:spChg>
        <pc:spChg chg="add">
          <ac:chgData name="Manish Sharma" userId="97d895ad-8d7a-4884-8c18-743afd731b6f" providerId="ADAL" clId="{020B0728-B75C-448D-A411-EDF0F3BC7629}" dt="2020-09-29T16:10:20.541" v="71" actId="22"/>
          <ac:spMkLst>
            <pc:docMk/>
            <pc:sldMk cId="1839882295" sldId="476"/>
            <ac:spMk id="6" creationId="{7F7A00B4-AA17-4355-98CF-8661B85E076A}"/>
          </ac:spMkLst>
        </pc:spChg>
      </pc:sldChg>
      <pc:sldChg chg="add">
        <pc:chgData name="Manish Sharma" userId="97d895ad-8d7a-4884-8c18-743afd731b6f" providerId="ADAL" clId="{020B0728-B75C-448D-A411-EDF0F3BC7629}" dt="2020-09-29T16:05:37.099" v="58"/>
        <pc:sldMkLst>
          <pc:docMk/>
          <pc:sldMk cId="1396904212" sldId="477"/>
        </pc:sldMkLst>
      </pc:sldChg>
      <pc:sldChg chg="add">
        <pc:chgData name="Manish Sharma" userId="97d895ad-8d7a-4884-8c18-743afd731b6f" providerId="ADAL" clId="{020B0728-B75C-448D-A411-EDF0F3BC7629}" dt="2020-09-29T16:05:37.099" v="58"/>
        <pc:sldMkLst>
          <pc:docMk/>
          <pc:sldMk cId="2330178975" sldId="478"/>
        </pc:sldMkLst>
      </pc:sldChg>
      <pc:sldChg chg="add">
        <pc:chgData name="Manish Sharma" userId="97d895ad-8d7a-4884-8c18-743afd731b6f" providerId="ADAL" clId="{020B0728-B75C-448D-A411-EDF0F3BC7629}" dt="2020-09-29T16:05:37.099" v="58"/>
        <pc:sldMkLst>
          <pc:docMk/>
          <pc:sldMk cId="654666181" sldId="479"/>
        </pc:sldMkLst>
      </pc:sldChg>
      <pc:sldChg chg="add">
        <pc:chgData name="Manish Sharma" userId="97d895ad-8d7a-4884-8c18-743afd731b6f" providerId="ADAL" clId="{020B0728-B75C-448D-A411-EDF0F3BC7629}" dt="2020-09-29T16:05:37.099" v="58"/>
        <pc:sldMkLst>
          <pc:docMk/>
          <pc:sldMk cId="1732276980" sldId="480"/>
        </pc:sldMkLst>
      </pc:sldChg>
      <pc:sldChg chg="addSp modSp add mod">
        <pc:chgData name="Manish Sharma" userId="97d895ad-8d7a-4884-8c18-743afd731b6f" providerId="ADAL" clId="{020B0728-B75C-448D-A411-EDF0F3BC7629}" dt="2020-09-29T17:02:40.355" v="675" actId="1076"/>
        <pc:sldMkLst>
          <pc:docMk/>
          <pc:sldMk cId="1684810098" sldId="481"/>
        </pc:sldMkLst>
        <pc:spChg chg="mod">
          <ac:chgData name="Manish Sharma" userId="97d895ad-8d7a-4884-8c18-743afd731b6f" providerId="ADAL" clId="{020B0728-B75C-448D-A411-EDF0F3BC7629}" dt="2020-09-29T17:02:40.355" v="675" actId="1076"/>
          <ac:spMkLst>
            <pc:docMk/>
            <pc:sldMk cId="1684810098" sldId="481"/>
            <ac:spMk id="12" creationId="{00000000-0000-0000-0000-000000000000}"/>
          </ac:spMkLst>
        </pc:spChg>
        <pc:spChg chg="mod">
          <ac:chgData name="Manish Sharma" userId="97d895ad-8d7a-4884-8c18-743afd731b6f" providerId="ADAL" clId="{020B0728-B75C-448D-A411-EDF0F3BC7629}" dt="2020-09-29T17:02:29.270" v="673" actId="108"/>
          <ac:spMkLst>
            <pc:docMk/>
            <pc:sldMk cId="1684810098" sldId="481"/>
            <ac:spMk id="14" creationId="{10910E56-12B7-4659-A83E-149B51BC73C3}"/>
          </ac:spMkLst>
        </pc:spChg>
        <pc:spChg chg="mod">
          <ac:chgData name="Manish Sharma" userId="97d895ad-8d7a-4884-8c18-743afd731b6f" providerId="ADAL" clId="{020B0728-B75C-448D-A411-EDF0F3BC7629}" dt="2020-09-29T17:02:33.764" v="674" actId="108"/>
          <ac:spMkLst>
            <pc:docMk/>
            <pc:sldMk cId="1684810098" sldId="481"/>
            <ac:spMk id="20" creationId="{00000000-0000-0000-0000-000000000000}"/>
          </ac:spMkLst>
        </pc:spChg>
        <pc:grpChg chg="add mod">
          <ac:chgData name="Manish Sharma" userId="97d895ad-8d7a-4884-8c18-743afd731b6f" providerId="ADAL" clId="{020B0728-B75C-448D-A411-EDF0F3BC7629}" dt="2020-09-29T17:02:40.355" v="675" actId="1076"/>
          <ac:grpSpMkLst>
            <pc:docMk/>
            <pc:sldMk cId="1684810098" sldId="481"/>
            <ac:grpSpMk id="3" creationId="{39B0CC43-18D5-47E5-AD76-A975AE443BFC}"/>
          </ac:grpSpMkLst>
        </pc:grpChg>
        <pc:picChg chg="mod">
          <ac:chgData name="Manish Sharma" userId="97d895ad-8d7a-4884-8c18-743afd731b6f" providerId="ADAL" clId="{020B0728-B75C-448D-A411-EDF0F3BC7629}" dt="2020-09-29T17:02:40.355" v="675" actId="1076"/>
          <ac:picMkLst>
            <pc:docMk/>
            <pc:sldMk cId="1684810098" sldId="481"/>
            <ac:picMk id="11" creationId="{00000000-0000-0000-0000-000000000000}"/>
          </ac:picMkLst>
        </pc:picChg>
      </pc:sldChg>
      <pc:sldChg chg="modSp add">
        <pc:chgData name="Manish Sharma" userId="97d895ad-8d7a-4884-8c18-743afd731b6f" providerId="ADAL" clId="{020B0728-B75C-448D-A411-EDF0F3BC7629}" dt="2020-09-29T17:03:10.457" v="680" actId="1076"/>
        <pc:sldMkLst>
          <pc:docMk/>
          <pc:sldMk cId="1664973961" sldId="482"/>
        </pc:sldMkLst>
        <pc:spChg chg="mod">
          <ac:chgData name="Manish Sharma" userId="97d895ad-8d7a-4884-8c18-743afd731b6f" providerId="ADAL" clId="{020B0728-B75C-448D-A411-EDF0F3BC7629}" dt="2020-09-29T17:03:00.481" v="678" actId="108"/>
          <ac:spMkLst>
            <pc:docMk/>
            <pc:sldMk cId="1664973961" sldId="482"/>
            <ac:spMk id="4" creationId="{3E964DF1-1215-4823-93FD-5E4AFD5E8740}"/>
          </ac:spMkLst>
        </pc:spChg>
        <pc:spChg chg="mod">
          <ac:chgData name="Manish Sharma" userId="97d895ad-8d7a-4884-8c18-743afd731b6f" providerId="ADAL" clId="{020B0728-B75C-448D-A411-EDF0F3BC7629}" dt="2020-09-29T17:03:10.457" v="680" actId="1076"/>
          <ac:spMkLst>
            <pc:docMk/>
            <pc:sldMk cId="1664973961" sldId="482"/>
            <ac:spMk id="12" creationId="{00000000-0000-0000-0000-000000000000}"/>
          </ac:spMkLst>
        </pc:spChg>
        <pc:spChg chg="mod">
          <ac:chgData name="Manish Sharma" userId="97d895ad-8d7a-4884-8c18-743afd731b6f" providerId="ADAL" clId="{020B0728-B75C-448D-A411-EDF0F3BC7629}" dt="2020-09-29T17:03:04.242" v="679" actId="108"/>
          <ac:spMkLst>
            <pc:docMk/>
            <pc:sldMk cId="1664973961" sldId="482"/>
            <ac:spMk id="14" creationId="{10910E56-12B7-4659-A83E-149B51BC73C3}"/>
          </ac:spMkLst>
        </pc:spChg>
        <pc:grpChg chg="mod">
          <ac:chgData name="Manish Sharma" userId="97d895ad-8d7a-4884-8c18-743afd731b6f" providerId="ADAL" clId="{020B0728-B75C-448D-A411-EDF0F3BC7629}" dt="2020-09-29T17:03:10.457" v="680" actId="1076"/>
          <ac:grpSpMkLst>
            <pc:docMk/>
            <pc:sldMk cId="1664973961" sldId="482"/>
            <ac:grpSpMk id="3" creationId="{39B0CC43-18D5-47E5-AD76-A975AE443BFC}"/>
          </ac:grpSpMkLst>
        </pc:grpChg>
        <pc:picChg chg="mod">
          <ac:chgData name="Manish Sharma" userId="97d895ad-8d7a-4884-8c18-743afd731b6f" providerId="ADAL" clId="{020B0728-B75C-448D-A411-EDF0F3BC7629}" dt="2020-09-29T17:03:10.457" v="680" actId="1076"/>
          <ac:picMkLst>
            <pc:docMk/>
            <pc:sldMk cId="1664973961" sldId="482"/>
            <ac:picMk id="11" creationId="{00000000-0000-0000-0000-000000000000}"/>
          </ac:picMkLst>
        </pc:picChg>
      </pc:sldChg>
      <pc:sldChg chg="modSp add">
        <pc:chgData name="Manish Sharma" userId="97d895ad-8d7a-4884-8c18-743afd731b6f" providerId="ADAL" clId="{020B0728-B75C-448D-A411-EDF0F3BC7629}" dt="2020-09-29T17:03:42.054" v="685" actId="1076"/>
        <pc:sldMkLst>
          <pc:docMk/>
          <pc:sldMk cId="1800981068" sldId="483"/>
        </pc:sldMkLst>
        <pc:spChg chg="mod">
          <ac:chgData name="Manish Sharma" userId="97d895ad-8d7a-4884-8c18-743afd731b6f" providerId="ADAL" clId="{020B0728-B75C-448D-A411-EDF0F3BC7629}" dt="2020-09-29T17:03:34.510" v="683" actId="108"/>
          <ac:spMkLst>
            <pc:docMk/>
            <pc:sldMk cId="1800981068" sldId="483"/>
            <ac:spMk id="2" creationId="{000F93BD-1633-45C3-B844-70B135096D8F}"/>
          </ac:spMkLst>
        </pc:spChg>
        <pc:spChg chg="mod">
          <ac:chgData name="Manish Sharma" userId="97d895ad-8d7a-4884-8c18-743afd731b6f" providerId="ADAL" clId="{020B0728-B75C-448D-A411-EDF0F3BC7629}" dt="2020-09-29T17:03:38.711" v="684" actId="108"/>
          <ac:spMkLst>
            <pc:docMk/>
            <pc:sldMk cId="1800981068" sldId="483"/>
            <ac:spMk id="4" creationId="{3E964DF1-1215-4823-93FD-5E4AFD5E8740}"/>
          </ac:spMkLst>
        </pc:spChg>
        <pc:spChg chg="mod">
          <ac:chgData name="Manish Sharma" userId="97d895ad-8d7a-4884-8c18-743afd731b6f" providerId="ADAL" clId="{020B0728-B75C-448D-A411-EDF0F3BC7629}" dt="2020-09-29T17:03:42.054" v="685" actId="1076"/>
          <ac:spMkLst>
            <pc:docMk/>
            <pc:sldMk cId="1800981068" sldId="483"/>
            <ac:spMk id="12" creationId="{00000000-0000-0000-0000-000000000000}"/>
          </ac:spMkLst>
        </pc:spChg>
        <pc:grpChg chg="mod">
          <ac:chgData name="Manish Sharma" userId="97d895ad-8d7a-4884-8c18-743afd731b6f" providerId="ADAL" clId="{020B0728-B75C-448D-A411-EDF0F3BC7629}" dt="2020-09-29T17:03:42.054" v="685" actId="1076"/>
          <ac:grpSpMkLst>
            <pc:docMk/>
            <pc:sldMk cId="1800981068" sldId="483"/>
            <ac:grpSpMk id="3" creationId="{39B0CC43-18D5-47E5-AD76-A975AE443BFC}"/>
          </ac:grpSpMkLst>
        </pc:grpChg>
        <pc:picChg chg="mod">
          <ac:chgData name="Manish Sharma" userId="97d895ad-8d7a-4884-8c18-743afd731b6f" providerId="ADAL" clId="{020B0728-B75C-448D-A411-EDF0F3BC7629}" dt="2020-09-29T17:03:42.054" v="685" actId="1076"/>
          <ac:picMkLst>
            <pc:docMk/>
            <pc:sldMk cId="1800981068" sldId="483"/>
            <ac:picMk id="11" creationId="{00000000-0000-0000-0000-000000000000}"/>
          </ac:picMkLst>
        </pc:picChg>
      </pc:sldChg>
      <pc:sldChg chg="add">
        <pc:chgData name="Manish Sharma" userId="97d895ad-8d7a-4884-8c18-743afd731b6f" providerId="ADAL" clId="{020B0728-B75C-448D-A411-EDF0F3BC7629}" dt="2020-09-29T17:03:47.289" v="686"/>
        <pc:sldMkLst>
          <pc:docMk/>
          <pc:sldMk cId="860295773" sldId="484"/>
        </pc:sldMkLst>
      </pc:sldChg>
      <pc:sldChg chg="modSp mod">
        <pc:chgData name="Manish Sharma" userId="97d895ad-8d7a-4884-8c18-743afd731b6f" providerId="ADAL" clId="{020B0728-B75C-448D-A411-EDF0F3BC7629}" dt="2020-09-30T18:27:15.761" v="6221" actId="20577"/>
        <pc:sldMkLst>
          <pc:docMk/>
          <pc:sldMk cId="2390210828" sldId="485"/>
        </pc:sldMkLst>
        <pc:spChg chg="mod">
          <ac:chgData name="Manish Sharma" userId="97d895ad-8d7a-4884-8c18-743afd731b6f" providerId="ADAL" clId="{020B0728-B75C-448D-A411-EDF0F3BC7629}" dt="2020-09-30T18:27:15.761" v="6221" actId="20577"/>
          <ac:spMkLst>
            <pc:docMk/>
            <pc:sldMk cId="2390210828" sldId="485"/>
            <ac:spMk id="2" creationId="{00000000-0000-0000-0000-000000000000}"/>
          </ac:spMkLst>
        </pc:spChg>
      </pc:sldChg>
    </pc:docChg>
  </pc:docChgLst>
  <pc:docChgLst>
    <pc:chgData name="Matthieu Mabyre" userId="S::m.mabyre@castsoftware.com::52a89cab-5e6b-49ac-8601-6d3bc79d567b" providerId="AD" clId="Web-{1F4718B7-1C8D-4F42-A671-1F54138A577E}"/>
    <pc:docChg chg="modSld">
      <pc:chgData name="Matthieu Mabyre" userId="S::m.mabyre@castsoftware.com::52a89cab-5e6b-49ac-8601-6d3bc79d567b" providerId="AD" clId="Web-{1F4718B7-1C8D-4F42-A671-1F54138A577E}" dt="2020-10-02T16:11:26.029" v="14" actId="1076"/>
      <pc:docMkLst>
        <pc:docMk/>
      </pc:docMkLst>
      <pc:sldChg chg="modSp">
        <pc:chgData name="Matthieu Mabyre" userId="S::m.mabyre@castsoftware.com::52a89cab-5e6b-49ac-8601-6d3bc79d567b" providerId="AD" clId="Web-{1F4718B7-1C8D-4F42-A671-1F54138A577E}" dt="2020-10-02T16:09:01.809" v="10" actId="20577"/>
        <pc:sldMkLst>
          <pc:docMk/>
          <pc:sldMk cId="2005443533" sldId="487"/>
        </pc:sldMkLst>
        <pc:spChg chg="mod">
          <ac:chgData name="Matthieu Mabyre" userId="S::m.mabyre@castsoftware.com::52a89cab-5e6b-49ac-8601-6d3bc79d567b" providerId="AD" clId="Web-{1F4718B7-1C8D-4F42-A671-1F54138A577E}" dt="2020-10-02T16:09:01.809" v="10" actId="20577"/>
          <ac:spMkLst>
            <pc:docMk/>
            <pc:sldMk cId="2005443533" sldId="487"/>
            <ac:spMk id="2" creationId="{00000000-0000-0000-0000-000000000000}"/>
          </ac:spMkLst>
        </pc:spChg>
      </pc:sldChg>
      <pc:sldChg chg="modSp">
        <pc:chgData name="Matthieu Mabyre" userId="S::m.mabyre@castsoftware.com::52a89cab-5e6b-49ac-8601-6d3bc79d567b" providerId="AD" clId="Web-{1F4718B7-1C8D-4F42-A671-1F54138A577E}" dt="2020-10-02T16:11:26.029" v="14" actId="1076"/>
        <pc:sldMkLst>
          <pc:docMk/>
          <pc:sldMk cId="3773836689" sldId="491"/>
        </pc:sldMkLst>
        <pc:spChg chg="mod">
          <ac:chgData name="Matthieu Mabyre" userId="S::m.mabyre@castsoftware.com::52a89cab-5e6b-49ac-8601-6d3bc79d567b" providerId="AD" clId="Web-{1F4718B7-1C8D-4F42-A671-1F54138A577E}" dt="2020-10-02T16:10:19.856" v="12" actId="1076"/>
          <ac:spMkLst>
            <pc:docMk/>
            <pc:sldMk cId="3773836689" sldId="491"/>
            <ac:spMk id="2" creationId="{00000000-0000-0000-0000-000000000000}"/>
          </ac:spMkLst>
        </pc:spChg>
        <pc:spChg chg="mod">
          <ac:chgData name="Matthieu Mabyre" userId="S::m.mabyre@castsoftware.com::52a89cab-5e6b-49ac-8601-6d3bc79d567b" providerId="AD" clId="Web-{1F4718B7-1C8D-4F42-A671-1F54138A577E}" dt="2020-10-02T16:11:26.029" v="13" actId="1076"/>
          <ac:spMkLst>
            <pc:docMk/>
            <pc:sldMk cId="3773836689" sldId="491"/>
            <ac:spMk id="39" creationId="{9B3B3C2B-2D6A-454B-9637-F6BD98B02D8E}"/>
          </ac:spMkLst>
        </pc:spChg>
        <pc:spChg chg="mod">
          <ac:chgData name="Matthieu Mabyre" userId="S::m.mabyre@castsoftware.com::52a89cab-5e6b-49ac-8601-6d3bc79d567b" providerId="AD" clId="Web-{1F4718B7-1C8D-4F42-A671-1F54138A577E}" dt="2020-10-02T16:11:26.029" v="14" actId="1076"/>
          <ac:spMkLst>
            <pc:docMk/>
            <pc:sldMk cId="3773836689" sldId="491"/>
            <ac:spMk id="40" creationId="{062DBB7B-8D0C-4648-A550-81B348C37DC4}"/>
          </ac:spMkLst>
        </pc:spChg>
      </pc:sldChg>
    </pc:docChg>
  </pc:docChgLst>
  <pc:docChgLst>
    <pc:chgData name="Matthieu Mabyre" userId="S::m.mabyre@castsoftware.com::52a89cab-5e6b-49ac-8601-6d3bc79d567b" providerId="AD" clId="Web-{FB0FF77A-A3E6-4E09-9F21-C77C37010153}"/>
    <pc:docChg chg="modSld">
      <pc:chgData name="Matthieu Mabyre" userId="S::m.mabyre@castsoftware.com::52a89cab-5e6b-49ac-8601-6d3bc79d567b" providerId="AD" clId="Web-{FB0FF77A-A3E6-4E09-9F21-C77C37010153}" dt="2020-11-12T22:48:53.634" v="4" actId="20577"/>
      <pc:docMkLst>
        <pc:docMk/>
      </pc:docMkLst>
      <pc:sldChg chg="modSp">
        <pc:chgData name="Matthieu Mabyre" userId="S::m.mabyre@castsoftware.com::52a89cab-5e6b-49ac-8601-6d3bc79d567b" providerId="AD" clId="Web-{FB0FF77A-A3E6-4E09-9F21-C77C37010153}" dt="2020-11-12T22:48:35.977" v="0"/>
        <pc:sldMkLst>
          <pc:docMk/>
          <pc:sldMk cId="3773836689" sldId="491"/>
        </pc:sldMkLst>
        <pc:spChg chg="mod">
          <ac:chgData name="Matthieu Mabyre" userId="S::m.mabyre@castsoftware.com::52a89cab-5e6b-49ac-8601-6d3bc79d567b" providerId="AD" clId="Web-{FB0FF77A-A3E6-4E09-9F21-C77C37010153}" dt="2020-11-12T22:48:35.977" v="0"/>
          <ac:spMkLst>
            <pc:docMk/>
            <pc:sldMk cId="3773836689" sldId="491"/>
            <ac:spMk id="2" creationId="{00000000-0000-0000-0000-000000000000}"/>
          </ac:spMkLst>
        </pc:spChg>
      </pc:sldChg>
      <pc:sldChg chg="addSp modSp">
        <pc:chgData name="Matthieu Mabyre" userId="S::m.mabyre@castsoftware.com::52a89cab-5e6b-49ac-8601-6d3bc79d567b" providerId="AD" clId="Web-{FB0FF77A-A3E6-4E09-9F21-C77C37010153}" dt="2020-11-12T22:48:51.508" v="3"/>
        <pc:sldMkLst>
          <pc:docMk/>
          <pc:sldMk cId="1973551745" sldId="523"/>
        </pc:sldMkLst>
        <pc:spChg chg="mod">
          <ac:chgData name="Matthieu Mabyre" userId="S::m.mabyre@castsoftware.com::52a89cab-5e6b-49ac-8601-6d3bc79d567b" providerId="AD" clId="Web-{FB0FF77A-A3E6-4E09-9F21-C77C37010153}" dt="2020-11-12T22:48:51.508" v="3"/>
          <ac:spMkLst>
            <pc:docMk/>
            <pc:sldMk cId="1973551745" sldId="523"/>
            <ac:spMk id="2" creationId="{00000000-0000-0000-0000-000000000000}"/>
          </ac:spMkLst>
        </pc:spChg>
        <pc:spChg chg="add">
          <ac:chgData name="Matthieu Mabyre" userId="S::m.mabyre@castsoftware.com::52a89cab-5e6b-49ac-8601-6d3bc79d567b" providerId="AD" clId="Web-{FB0FF77A-A3E6-4E09-9F21-C77C37010153}" dt="2020-11-12T22:48:46.133" v="2"/>
          <ac:spMkLst>
            <pc:docMk/>
            <pc:sldMk cId="1973551745" sldId="523"/>
            <ac:spMk id="3" creationId="{FBFC5B77-DBE6-4751-AE52-6F64202D4E8D}"/>
          </ac:spMkLst>
        </pc:spChg>
      </pc:sldChg>
    </pc:docChg>
  </pc:docChgLst>
  <pc:docChgLst>
    <pc:chgData name="Matthieu Mabyre" userId="S::m.mabyre@castsoftware.com::52a89cab-5e6b-49ac-8601-6d3bc79d567b" providerId="AD" clId="Web-{DCF4A352-3FDB-4008-B31E-839E9E8F2307}"/>
    <pc:docChg chg="modSld">
      <pc:chgData name="Matthieu Mabyre" userId="S::m.mabyre@castsoftware.com::52a89cab-5e6b-49ac-8601-6d3bc79d567b" providerId="AD" clId="Web-{DCF4A352-3FDB-4008-B31E-839E9E8F2307}" dt="2020-11-18T11:54:58.245" v="4" actId="14100"/>
      <pc:docMkLst>
        <pc:docMk/>
      </pc:docMkLst>
      <pc:sldChg chg="modSp">
        <pc:chgData name="Matthieu Mabyre" userId="S::m.mabyre@castsoftware.com::52a89cab-5e6b-49ac-8601-6d3bc79d567b" providerId="AD" clId="Web-{DCF4A352-3FDB-4008-B31E-839E9E8F2307}" dt="2020-11-18T11:54:58.245" v="4" actId="14100"/>
        <pc:sldMkLst>
          <pc:docMk/>
          <pc:sldMk cId="3773836689" sldId="491"/>
        </pc:sldMkLst>
        <pc:spChg chg="mod">
          <ac:chgData name="Matthieu Mabyre" userId="S::m.mabyre@castsoftware.com::52a89cab-5e6b-49ac-8601-6d3bc79d567b" providerId="AD" clId="Web-{DCF4A352-3FDB-4008-B31E-839E9E8F2307}" dt="2020-11-18T11:54:58.245" v="4" actId="14100"/>
          <ac:spMkLst>
            <pc:docMk/>
            <pc:sldMk cId="3773836689" sldId="491"/>
            <ac:spMk id="39" creationId="{9B3B3C2B-2D6A-454B-9637-F6BD98B02D8E}"/>
          </ac:spMkLst>
        </pc:spChg>
      </pc:sldChg>
    </pc:docChg>
  </pc:docChgLst>
  <pc:docChgLst>
    <pc:chgData name="Manish Sharma" userId="97d895ad-8d7a-4884-8c18-743afd731b6f" providerId="ADAL" clId="{0749CF5A-0753-4CE3-910C-0DBC7B5E6272}"/>
    <pc:docChg chg="undo custSel delSld modSld modSection">
      <pc:chgData name="Manish Sharma" userId="97d895ad-8d7a-4884-8c18-743afd731b6f" providerId="ADAL" clId="{0749CF5A-0753-4CE3-910C-0DBC7B5E6272}" dt="2020-10-02T18:34:26.436" v="393" actId="167"/>
      <pc:docMkLst>
        <pc:docMk/>
      </pc:docMkLst>
      <pc:sldChg chg="addSp delSp modSp mod">
        <pc:chgData name="Manish Sharma" userId="97d895ad-8d7a-4884-8c18-743afd731b6f" providerId="ADAL" clId="{0749CF5A-0753-4CE3-910C-0DBC7B5E6272}" dt="2020-10-02T18:34:26.436" v="393" actId="167"/>
        <pc:sldMkLst>
          <pc:docMk/>
          <pc:sldMk cId="2478356659" sldId="474"/>
        </pc:sldMkLst>
        <pc:picChg chg="del">
          <ac:chgData name="Manish Sharma" userId="97d895ad-8d7a-4884-8c18-743afd731b6f" providerId="ADAL" clId="{0749CF5A-0753-4CE3-910C-0DBC7B5E6272}" dt="2020-10-02T18:33:58.068" v="388" actId="478"/>
          <ac:picMkLst>
            <pc:docMk/>
            <pc:sldMk cId="2478356659" sldId="474"/>
            <ac:picMk id="6" creationId="{6237AA62-7B3F-4587-9EEF-4C8AE28CA950}"/>
          </ac:picMkLst>
        </pc:picChg>
        <pc:picChg chg="add mod ord">
          <ac:chgData name="Manish Sharma" userId="97d895ad-8d7a-4884-8c18-743afd731b6f" providerId="ADAL" clId="{0749CF5A-0753-4CE3-910C-0DBC7B5E6272}" dt="2020-10-02T18:34:26.436" v="393" actId="167"/>
          <ac:picMkLst>
            <pc:docMk/>
            <pc:sldMk cId="2478356659" sldId="474"/>
            <ac:picMk id="7" creationId="{187CBF93-8514-4A31-A932-BB01403FF25C}"/>
          </ac:picMkLst>
        </pc:picChg>
      </pc:sldChg>
      <pc:sldChg chg="del">
        <pc:chgData name="Manish Sharma" userId="97d895ad-8d7a-4884-8c18-743afd731b6f" providerId="ADAL" clId="{0749CF5A-0753-4CE3-910C-0DBC7B5E6272}" dt="2020-10-02T16:58:52.175" v="281" actId="47"/>
        <pc:sldMkLst>
          <pc:docMk/>
          <pc:sldMk cId="2130452992" sldId="475"/>
        </pc:sldMkLst>
      </pc:sldChg>
      <pc:sldChg chg="addSp delSp modSp mod">
        <pc:chgData name="Manish Sharma" userId="97d895ad-8d7a-4884-8c18-743afd731b6f" providerId="ADAL" clId="{0749CF5A-0753-4CE3-910C-0DBC7B5E6272}" dt="2020-10-02T16:58:26.778" v="280" actId="20577"/>
        <pc:sldMkLst>
          <pc:docMk/>
          <pc:sldMk cId="1839882295" sldId="476"/>
        </pc:sldMkLst>
        <pc:spChg chg="add mod">
          <ac:chgData name="Manish Sharma" userId="97d895ad-8d7a-4884-8c18-743afd731b6f" providerId="ADAL" clId="{0749CF5A-0753-4CE3-910C-0DBC7B5E6272}" dt="2020-10-02T16:58:03.979" v="242" actId="14100"/>
          <ac:spMkLst>
            <pc:docMk/>
            <pc:sldMk cId="1839882295" sldId="476"/>
            <ac:spMk id="4" creationId="{0C32E3D7-9A2F-4A92-9486-8BB04EA09A33}"/>
          </ac:spMkLst>
        </pc:spChg>
        <pc:spChg chg="add mod">
          <ac:chgData name="Manish Sharma" userId="97d895ad-8d7a-4884-8c18-743afd731b6f" providerId="ADAL" clId="{0749CF5A-0753-4CE3-910C-0DBC7B5E6272}" dt="2020-10-02T16:58:26.778" v="280" actId="20577"/>
          <ac:spMkLst>
            <pc:docMk/>
            <pc:sldMk cId="1839882295" sldId="476"/>
            <ac:spMk id="5" creationId="{D9A579C8-8EA5-4B30-8969-536345E1E51F}"/>
          </ac:spMkLst>
        </pc:spChg>
        <pc:spChg chg="del">
          <ac:chgData name="Manish Sharma" userId="97d895ad-8d7a-4884-8c18-743afd731b6f" providerId="ADAL" clId="{0749CF5A-0753-4CE3-910C-0DBC7B5E6272}" dt="2020-10-02T16:57:39.937" v="225" actId="478"/>
          <ac:spMkLst>
            <pc:docMk/>
            <pc:sldMk cId="1839882295" sldId="476"/>
            <ac:spMk id="32" creationId="{66C97658-9FBC-4EE3-9FD8-A943269193F6}"/>
          </ac:spMkLst>
        </pc:spChg>
      </pc:sldChg>
      <pc:sldChg chg="addSp delSp modSp mod">
        <pc:chgData name="Manish Sharma" userId="97d895ad-8d7a-4884-8c18-743afd731b6f" providerId="ADAL" clId="{0749CF5A-0753-4CE3-910C-0DBC7B5E6272}" dt="2020-10-02T18:30:13.421" v="387" actId="6549"/>
        <pc:sldMkLst>
          <pc:docMk/>
          <pc:sldMk cId="2330178975" sldId="478"/>
        </pc:sldMkLst>
        <pc:spChg chg="mod">
          <ac:chgData name="Manish Sharma" userId="97d895ad-8d7a-4884-8c18-743afd731b6f" providerId="ADAL" clId="{0749CF5A-0753-4CE3-910C-0DBC7B5E6272}" dt="2020-10-02T18:30:13.421" v="387" actId="6549"/>
          <ac:spMkLst>
            <pc:docMk/>
            <pc:sldMk cId="2330178975" sldId="478"/>
            <ac:spMk id="2" creationId="{00000000-0000-0000-0000-000000000000}"/>
          </ac:spMkLst>
        </pc:spChg>
        <pc:spChg chg="mod">
          <ac:chgData name="Manish Sharma" userId="97d895ad-8d7a-4884-8c18-743afd731b6f" providerId="ADAL" clId="{0749CF5A-0753-4CE3-910C-0DBC7B5E6272}" dt="2020-10-02T17:00:17.810" v="289" actId="20577"/>
          <ac:spMkLst>
            <pc:docMk/>
            <pc:sldMk cId="2330178975" sldId="478"/>
            <ac:spMk id="5" creationId="{57DA03D2-BDDD-4B29-A79F-3BCEC511705B}"/>
          </ac:spMkLst>
        </pc:spChg>
        <pc:spChg chg="del">
          <ac:chgData name="Manish Sharma" userId="97d895ad-8d7a-4884-8c18-743afd731b6f" providerId="ADAL" clId="{0749CF5A-0753-4CE3-910C-0DBC7B5E6272}" dt="2020-10-02T18:05:33.805" v="355" actId="478"/>
          <ac:spMkLst>
            <pc:docMk/>
            <pc:sldMk cId="2330178975" sldId="478"/>
            <ac:spMk id="6" creationId="{41B138F5-9B75-4BFA-9720-0CAC3E7BED6C}"/>
          </ac:spMkLst>
        </pc:spChg>
        <pc:spChg chg="add del mod">
          <ac:chgData name="Manish Sharma" userId="97d895ad-8d7a-4884-8c18-743afd731b6f" providerId="ADAL" clId="{0749CF5A-0753-4CE3-910C-0DBC7B5E6272}" dt="2020-10-02T17:04:35.206" v="339" actId="14100"/>
          <ac:spMkLst>
            <pc:docMk/>
            <pc:sldMk cId="2330178975" sldId="478"/>
            <ac:spMk id="14" creationId="{3ADA01F1-3B4B-4FAA-84E6-17ACC70140F8}"/>
          </ac:spMkLst>
        </pc:spChg>
        <pc:spChg chg="add mod">
          <ac:chgData name="Manish Sharma" userId="97d895ad-8d7a-4884-8c18-743afd731b6f" providerId="ADAL" clId="{0749CF5A-0753-4CE3-910C-0DBC7B5E6272}" dt="2020-10-02T17:01:42.261" v="307" actId="20577"/>
          <ac:spMkLst>
            <pc:docMk/>
            <pc:sldMk cId="2330178975" sldId="478"/>
            <ac:spMk id="15" creationId="{6A114929-7252-45CA-BC48-264E9FA7FCC0}"/>
          </ac:spMkLst>
        </pc:spChg>
        <pc:spChg chg="mod">
          <ac:chgData name="Manish Sharma" userId="97d895ad-8d7a-4884-8c18-743afd731b6f" providerId="ADAL" clId="{0749CF5A-0753-4CE3-910C-0DBC7B5E6272}" dt="2020-10-02T17:01:21.276" v="300"/>
          <ac:spMkLst>
            <pc:docMk/>
            <pc:sldMk cId="2330178975" sldId="478"/>
            <ac:spMk id="25" creationId="{2A68DE28-217C-4D58-BA92-1AC7776A922E}"/>
          </ac:spMkLst>
        </pc:spChg>
        <pc:spChg chg="mod">
          <ac:chgData name="Manish Sharma" userId="97d895ad-8d7a-4884-8c18-743afd731b6f" providerId="ADAL" clId="{0749CF5A-0753-4CE3-910C-0DBC7B5E6272}" dt="2020-10-02T17:01:51.345" v="311" actId="20577"/>
          <ac:spMkLst>
            <pc:docMk/>
            <pc:sldMk cId="2330178975" sldId="478"/>
            <ac:spMk id="27" creationId="{813FD8F9-6E60-45F9-A8B5-18176FF3E434}"/>
          </ac:spMkLst>
        </pc:spChg>
        <pc:spChg chg="mod">
          <ac:chgData name="Manish Sharma" userId="97d895ad-8d7a-4884-8c18-743afd731b6f" providerId="ADAL" clId="{0749CF5A-0753-4CE3-910C-0DBC7B5E6272}" dt="2020-10-02T17:01:47.219" v="309" actId="20577"/>
          <ac:spMkLst>
            <pc:docMk/>
            <pc:sldMk cId="2330178975" sldId="478"/>
            <ac:spMk id="29" creationId="{72CB840D-447D-492C-A14A-718942E7B821}"/>
          </ac:spMkLst>
        </pc:spChg>
        <pc:spChg chg="mod">
          <ac:chgData name="Manish Sharma" userId="97d895ad-8d7a-4884-8c18-743afd731b6f" providerId="ADAL" clId="{0749CF5A-0753-4CE3-910C-0DBC7B5E6272}" dt="2020-10-02T17:55:09.850" v="352" actId="1076"/>
          <ac:spMkLst>
            <pc:docMk/>
            <pc:sldMk cId="2330178975" sldId="478"/>
            <ac:spMk id="59" creationId="{4BBE2AF7-7872-47ED-A60A-F22539E34570}"/>
          </ac:spMkLst>
        </pc:spChg>
        <pc:graphicFrameChg chg="mod modGraphic">
          <ac:chgData name="Manish Sharma" userId="97d895ad-8d7a-4884-8c18-743afd731b6f" providerId="ADAL" clId="{0749CF5A-0753-4CE3-910C-0DBC7B5E6272}" dt="2020-10-02T17:55:19.274" v="354" actId="1076"/>
          <ac:graphicFrameMkLst>
            <pc:docMk/>
            <pc:sldMk cId="2330178975" sldId="478"/>
            <ac:graphicFrameMk id="53" creationId="{E5833FD7-3504-4AE9-9C58-79A4D525D16B}"/>
          </ac:graphicFrameMkLst>
        </pc:graphicFrameChg>
        <pc:graphicFrameChg chg="mod modGraphic">
          <ac:chgData name="Manish Sharma" userId="97d895ad-8d7a-4884-8c18-743afd731b6f" providerId="ADAL" clId="{0749CF5A-0753-4CE3-910C-0DBC7B5E6272}" dt="2020-10-02T17:55:13.004" v="353" actId="1076"/>
          <ac:graphicFrameMkLst>
            <pc:docMk/>
            <pc:sldMk cId="2330178975" sldId="478"/>
            <ac:graphicFrameMk id="55" creationId="{A7A9C0A9-652B-44C1-AFD0-CA965CA34DBB}"/>
          </ac:graphicFrameMkLst>
        </pc:graphicFrameChg>
        <pc:cxnChg chg="mod">
          <ac:chgData name="Manish Sharma" userId="97d895ad-8d7a-4884-8c18-743afd731b6f" providerId="ADAL" clId="{0749CF5A-0753-4CE3-910C-0DBC7B5E6272}" dt="2020-10-02T17:02:28.319" v="320" actId="14100"/>
          <ac:cxnSpMkLst>
            <pc:docMk/>
            <pc:sldMk cId="2330178975" sldId="478"/>
            <ac:cxnSpMk id="26" creationId="{E0400683-ABD0-44CD-A290-42A6F4B8ADBF}"/>
          </ac:cxnSpMkLst>
        </pc:cxnChg>
        <pc:cxnChg chg="mod">
          <ac:chgData name="Manish Sharma" userId="97d895ad-8d7a-4884-8c18-743afd731b6f" providerId="ADAL" clId="{0749CF5A-0753-4CE3-910C-0DBC7B5E6272}" dt="2020-10-02T17:02:19.843" v="318" actId="14100"/>
          <ac:cxnSpMkLst>
            <pc:docMk/>
            <pc:sldMk cId="2330178975" sldId="478"/>
            <ac:cxnSpMk id="28" creationId="{7E176FA6-7F35-4FD5-BCD2-7C2136CFFAA3}"/>
          </ac:cxnSpMkLst>
        </pc:cxnChg>
        <pc:cxnChg chg="mod">
          <ac:chgData name="Manish Sharma" userId="97d895ad-8d7a-4884-8c18-743afd731b6f" providerId="ADAL" clId="{0749CF5A-0753-4CE3-910C-0DBC7B5E6272}" dt="2020-10-02T17:02:16.980" v="317" actId="14100"/>
          <ac:cxnSpMkLst>
            <pc:docMk/>
            <pc:sldMk cId="2330178975" sldId="478"/>
            <ac:cxnSpMk id="30" creationId="{0ED2CC6C-47B4-4325-8655-C3CC64AEE9D2}"/>
          </ac:cxnSpMkLst>
        </pc:cxnChg>
        <pc:cxnChg chg="add mod">
          <ac:chgData name="Manish Sharma" userId="97d895ad-8d7a-4884-8c18-743afd731b6f" providerId="ADAL" clId="{0749CF5A-0753-4CE3-910C-0DBC7B5E6272}" dt="2020-10-02T17:02:22.831" v="319" actId="14100"/>
          <ac:cxnSpMkLst>
            <pc:docMk/>
            <pc:sldMk cId="2330178975" sldId="478"/>
            <ac:cxnSpMk id="65" creationId="{4400E2F1-B1EC-4F9A-83DA-B27FD7514ACC}"/>
          </ac:cxnSpMkLst>
        </pc:cxnChg>
      </pc:sldChg>
      <pc:sldChg chg="addSp delSp modSp mod">
        <pc:chgData name="Manish Sharma" userId="97d895ad-8d7a-4884-8c18-743afd731b6f" providerId="ADAL" clId="{0749CF5A-0753-4CE3-910C-0DBC7B5E6272}" dt="2020-10-02T18:27:36.091" v="365" actId="20577"/>
        <pc:sldMkLst>
          <pc:docMk/>
          <pc:sldMk cId="654666181" sldId="479"/>
        </pc:sldMkLst>
        <pc:spChg chg="mod">
          <ac:chgData name="Manish Sharma" userId="97d895ad-8d7a-4884-8c18-743afd731b6f" providerId="ADAL" clId="{0749CF5A-0753-4CE3-910C-0DBC7B5E6272}" dt="2020-10-02T18:27:36.091" v="365" actId="20577"/>
          <ac:spMkLst>
            <pc:docMk/>
            <pc:sldMk cId="654666181" sldId="479"/>
            <ac:spMk id="2" creationId="{00000000-0000-0000-0000-000000000000}"/>
          </ac:spMkLst>
        </pc:spChg>
        <pc:spChg chg="del">
          <ac:chgData name="Manish Sharma" userId="97d895ad-8d7a-4884-8c18-743afd731b6f" providerId="ADAL" clId="{0749CF5A-0753-4CE3-910C-0DBC7B5E6272}" dt="2020-10-02T16:38:07.130" v="16" actId="478"/>
          <ac:spMkLst>
            <pc:docMk/>
            <pc:sldMk cId="654666181" sldId="479"/>
            <ac:spMk id="3" creationId="{3AC7C1CD-954F-4789-BAD9-A2DA65286073}"/>
          </ac:spMkLst>
        </pc:spChg>
        <pc:spChg chg="del">
          <ac:chgData name="Manish Sharma" userId="97d895ad-8d7a-4884-8c18-743afd731b6f" providerId="ADAL" clId="{0749CF5A-0753-4CE3-910C-0DBC7B5E6272}" dt="2020-10-02T16:46:49.803" v="41" actId="478"/>
          <ac:spMkLst>
            <pc:docMk/>
            <pc:sldMk cId="654666181" sldId="479"/>
            <ac:spMk id="6" creationId="{1B139A15-2A8B-435B-9E43-95ED4D4F86D0}"/>
          </ac:spMkLst>
        </pc:spChg>
        <pc:spChg chg="del">
          <ac:chgData name="Manish Sharma" userId="97d895ad-8d7a-4884-8c18-743afd731b6f" providerId="ADAL" clId="{0749CF5A-0753-4CE3-910C-0DBC7B5E6272}" dt="2020-10-02T16:46:49.803" v="41" actId="478"/>
          <ac:spMkLst>
            <pc:docMk/>
            <pc:sldMk cId="654666181" sldId="479"/>
            <ac:spMk id="7" creationId="{57676C1D-5CD7-4587-9C44-8245D75CC612}"/>
          </ac:spMkLst>
        </pc:spChg>
        <pc:spChg chg="mod">
          <ac:chgData name="Manish Sharma" userId="97d895ad-8d7a-4884-8c18-743afd731b6f" providerId="ADAL" clId="{0749CF5A-0753-4CE3-910C-0DBC7B5E6272}" dt="2020-10-02T16:46:44.884" v="40" actId="20577"/>
          <ac:spMkLst>
            <pc:docMk/>
            <pc:sldMk cId="654666181" sldId="479"/>
            <ac:spMk id="16" creationId="{90E40009-D7A5-4621-8204-224ABC009747}"/>
          </ac:spMkLst>
        </pc:spChg>
        <pc:spChg chg="mod">
          <ac:chgData name="Manish Sharma" userId="97d895ad-8d7a-4884-8c18-743afd731b6f" providerId="ADAL" clId="{0749CF5A-0753-4CE3-910C-0DBC7B5E6272}" dt="2020-10-02T16:49:02.318" v="218" actId="20577"/>
          <ac:spMkLst>
            <pc:docMk/>
            <pc:sldMk cId="654666181" sldId="479"/>
            <ac:spMk id="20" creationId="{00000000-0000-0000-0000-000000000000}"/>
          </ac:spMkLst>
        </pc:spChg>
        <pc:spChg chg="mod">
          <ac:chgData name="Manish Sharma" userId="97d895ad-8d7a-4884-8c18-743afd731b6f" providerId="ADAL" clId="{0749CF5A-0753-4CE3-910C-0DBC7B5E6272}" dt="2020-10-02T16:47:03.395" v="44" actId="14100"/>
          <ac:spMkLst>
            <pc:docMk/>
            <pc:sldMk cId="654666181" sldId="479"/>
            <ac:spMk id="24" creationId="{323E64DC-A6B0-4990-9F4D-703175765359}"/>
          </ac:spMkLst>
        </pc:spChg>
        <pc:spChg chg="mod">
          <ac:chgData name="Manish Sharma" userId="97d895ad-8d7a-4884-8c18-743afd731b6f" providerId="ADAL" clId="{0749CF5A-0753-4CE3-910C-0DBC7B5E6272}" dt="2020-10-02T16:46:58.950" v="42" actId="1076"/>
          <ac:spMkLst>
            <pc:docMk/>
            <pc:sldMk cId="654666181" sldId="479"/>
            <ac:spMk id="26" creationId="{AEB16DAA-5611-403C-B2AC-BDBDBC7C939C}"/>
          </ac:spMkLst>
        </pc:spChg>
        <pc:spChg chg="mod">
          <ac:chgData name="Manish Sharma" userId="97d895ad-8d7a-4884-8c18-743afd731b6f" providerId="ADAL" clId="{0749CF5A-0753-4CE3-910C-0DBC7B5E6272}" dt="2020-10-02T16:46:36.846" v="35" actId="1076"/>
          <ac:spMkLst>
            <pc:docMk/>
            <pc:sldMk cId="654666181" sldId="479"/>
            <ac:spMk id="27" creationId="{E714E7CA-AF0C-41D3-8351-BCEFA128D2C8}"/>
          </ac:spMkLst>
        </pc:spChg>
        <pc:spChg chg="mod">
          <ac:chgData name="Manish Sharma" userId="97d895ad-8d7a-4884-8c18-743afd731b6f" providerId="ADAL" clId="{0749CF5A-0753-4CE3-910C-0DBC7B5E6272}" dt="2020-10-02T16:46:58.950" v="42" actId="1076"/>
          <ac:spMkLst>
            <pc:docMk/>
            <pc:sldMk cId="654666181" sldId="479"/>
            <ac:spMk id="28" creationId="{60809691-D8F4-466E-AE0B-66584789A72C}"/>
          </ac:spMkLst>
        </pc:spChg>
        <pc:spChg chg="mod">
          <ac:chgData name="Manish Sharma" userId="97d895ad-8d7a-4884-8c18-743afd731b6f" providerId="ADAL" clId="{0749CF5A-0753-4CE3-910C-0DBC7B5E6272}" dt="2020-10-02T16:49:11.853" v="220" actId="20577"/>
          <ac:spMkLst>
            <pc:docMk/>
            <pc:sldMk cId="654666181" sldId="479"/>
            <ac:spMk id="30" creationId="{BC68C9EA-24FC-4D79-A0C1-213D45B72034}"/>
          </ac:spMkLst>
        </pc:spChg>
        <pc:grpChg chg="mod">
          <ac:chgData name="Manish Sharma" userId="97d895ad-8d7a-4884-8c18-743afd731b6f" providerId="ADAL" clId="{0749CF5A-0753-4CE3-910C-0DBC7B5E6272}" dt="2020-10-02T16:46:31.413" v="34" actId="1076"/>
          <ac:grpSpMkLst>
            <pc:docMk/>
            <pc:sldMk cId="654666181" sldId="479"/>
            <ac:grpSpMk id="14" creationId="{ADA30913-405A-42C6-93ED-0B02E95B6119}"/>
          </ac:grpSpMkLst>
        </pc:grpChg>
        <pc:grpChg chg="mod">
          <ac:chgData name="Manish Sharma" userId="97d895ad-8d7a-4884-8c18-743afd731b6f" providerId="ADAL" clId="{0749CF5A-0753-4CE3-910C-0DBC7B5E6272}" dt="2020-10-02T16:46:58.950" v="42" actId="1076"/>
          <ac:grpSpMkLst>
            <pc:docMk/>
            <pc:sldMk cId="654666181" sldId="479"/>
            <ac:grpSpMk id="17" creationId="{697B894C-C243-4DE6-8B71-AC7BD64D86EE}"/>
          </ac:grpSpMkLst>
        </pc:grpChg>
        <pc:grpChg chg="del">
          <ac:chgData name="Manish Sharma" userId="97d895ad-8d7a-4884-8c18-743afd731b6f" providerId="ADAL" clId="{0749CF5A-0753-4CE3-910C-0DBC7B5E6272}" dt="2020-10-02T16:46:49.803" v="41" actId="478"/>
          <ac:grpSpMkLst>
            <pc:docMk/>
            <pc:sldMk cId="654666181" sldId="479"/>
            <ac:grpSpMk id="33" creationId="{1CD82E41-0C61-4A46-84F3-B56BC0B373B4}"/>
          </ac:grpSpMkLst>
        </pc:grpChg>
        <pc:graphicFrameChg chg="add mod modGraphic">
          <ac:chgData name="Manish Sharma" userId="97d895ad-8d7a-4884-8c18-743afd731b6f" providerId="ADAL" clId="{0749CF5A-0753-4CE3-910C-0DBC7B5E6272}" dt="2020-10-02T16:46:13.708" v="30"/>
          <ac:graphicFrameMkLst>
            <pc:docMk/>
            <pc:sldMk cId="654666181" sldId="479"/>
            <ac:graphicFrameMk id="4" creationId="{536F47E4-FE23-45BA-A691-40737D28648F}"/>
          </ac:graphicFrameMkLst>
        </pc:graphicFrameChg>
        <pc:graphicFrameChg chg="add mod">
          <ac:chgData name="Manish Sharma" userId="97d895ad-8d7a-4884-8c18-743afd731b6f" providerId="ADAL" clId="{0749CF5A-0753-4CE3-910C-0DBC7B5E6272}" dt="2020-10-02T16:55:22.982" v="224" actId="1076"/>
          <ac:graphicFrameMkLst>
            <pc:docMk/>
            <pc:sldMk cId="654666181" sldId="479"/>
            <ac:graphicFrameMk id="5" creationId="{B7803801-8F3E-40C9-9598-E993EF2157D0}"/>
          </ac:graphicFrameMkLst>
        </pc:graphicFrameChg>
        <pc:graphicFrameChg chg="del">
          <ac:chgData name="Manish Sharma" userId="97d895ad-8d7a-4884-8c18-743afd731b6f" providerId="ADAL" clId="{0749CF5A-0753-4CE3-910C-0DBC7B5E6272}" dt="2020-10-02T16:37:18.464" v="0" actId="478"/>
          <ac:graphicFrameMkLst>
            <pc:docMk/>
            <pc:sldMk cId="654666181" sldId="479"/>
            <ac:graphicFrameMk id="9" creationId="{4A41CDA9-07C2-4789-9C4A-6C35436AFA54}"/>
          </ac:graphicFrameMkLst>
        </pc:graphicFrameChg>
        <pc:graphicFrameChg chg="del">
          <ac:chgData name="Manish Sharma" userId="97d895ad-8d7a-4884-8c18-743afd731b6f" providerId="ADAL" clId="{0749CF5A-0753-4CE3-910C-0DBC7B5E6272}" dt="2020-10-02T16:47:07.532" v="45" actId="478"/>
          <ac:graphicFrameMkLst>
            <pc:docMk/>
            <pc:sldMk cId="654666181" sldId="479"/>
            <ac:graphicFrameMk id="10" creationId="{CAF0D890-EE77-4049-BF37-1E372A6907ED}"/>
          </ac:graphicFrameMkLst>
        </pc:graphicFrameChg>
      </pc:sldChg>
    </pc:docChg>
  </pc:docChgLst>
  <pc:docChgLst>
    <pc:chgData name="Matthieu Mabyre" userId="S::m.mabyre@castsoftware.com::52a89cab-5e6b-49ac-8601-6d3bc79d567b" providerId="AD" clId="Web-{8BD77161-7DEA-4C64-82A4-76ABE831EBE8}"/>
    <pc:docChg chg="modSld">
      <pc:chgData name="Matthieu Mabyre" userId="S::m.mabyre@castsoftware.com::52a89cab-5e6b-49ac-8601-6d3bc79d567b" providerId="AD" clId="Web-{8BD77161-7DEA-4C64-82A4-76ABE831EBE8}" dt="2020-11-13T18:47:10.057" v="5" actId="20577"/>
      <pc:docMkLst>
        <pc:docMk/>
      </pc:docMkLst>
      <pc:sldChg chg="modSp">
        <pc:chgData name="Matthieu Mabyre" userId="S::m.mabyre@castsoftware.com::52a89cab-5e6b-49ac-8601-6d3bc79d567b" providerId="AD" clId="Web-{8BD77161-7DEA-4C64-82A4-76ABE831EBE8}" dt="2020-11-13T18:47:10.057" v="5" actId="20577"/>
        <pc:sldMkLst>
          <pc:docMk/>
          <pc:sldMk cId="4175953297" sldId="517"/>
        </pc:sldMkLst>
        <pc:spChg chg="mod">
          <ac:chgData name="Matthieu Mabyre" userId="S::m.mabyre@castsoftware.com::52a89cab-5e6b-49ac-8601-6d3bc79d567b" providerId="AD" clId="Web-{8BD77161-7DEA-4C64-82A4-76ABE831EBE8}" dt="2020-11-13T18:47:10.057" v="5" actId="20577"/>
          <ac:spMkLst>
            <pc:docMk/>
            <pc:sldMk cId="4175953297" sldId="517"/>
            <ac:spMk id="15" creationId="{7F764852-256F-49DF-B500-7AB466E1A418}"/>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581177395274446"/>
          <c:y val="0.14761066792435154"/>
          <c:w val="0.62073855053834182"/>
          <c:h val="0.91066434061011869"/>
        </c:manualLayout>
      </c:layout>
      <c:pieChart>
        <c:varyColors val="1"/>
        <c:ser>
          <c:idx val="0"/>
          <c:order val="0"/>
          <c:tx>
            <c:strRef>
              <c:f>Sheet1!$B$1</c:f>
              <c:strCache>
                <c:ptCount val="1"/>
                <c:pt idx="0">
                  <c:v>Series 1</c:v>
                </c:pt>
              </c:strCache>
            </c:strRef>
          </c:tx>
          <c:dPt>
            <c:idx val="0"/>
            <c:bubble3D val="0"/>
            <c:spPr>
              <a:gradFill rotWithShape="1">
                <a:gsLst>
                  <a:gs pos="0">
                    <a:schemeClr val="accent6">
                      <a:shade val="47000"/>
                      <a:satMod val="103000"/>
                      <a:lumMod val="102000"/>
                      <a:tint val="94000"/>
                    </a:schemeClr>
                  </a:gs>
                  <a:gs pos="50000">
                    <a:schemeClr val="accent6">
                      <a:shade val="47000"/>
                      <a:satMod val="110000"/>
                      <a:lumMod val="100000"/>
                      <a:shade val="100000"/>
                    </a:schemeClr>
                  </a:gs>
                  <a:gs pos="100000">
                    <a:schemeClr val="accent6">
                      <a:shade val="47000"/>
                      <a:lumMod val="99000"/>
                      <a:satMod val="120000"/>
                      <a:shade val="78000"/>
                    </a:schemeClr>
                  </a:gs>
                </a:gsLst>
                <a:lin ang="5400000" scaled="0"/>
              </a:gradFill>
              <a:ln>
                <a:noFill/>
              </a:ln>
              <a:effectLst/>
            </c:spPr>
            <c:extLst>
              <c:ext xmlns:c16="http://schemas.microsoft.com/office/drawing/2014/chart" uri="{C3380CC4-5D6E-409C-BE32-E72D297353CC}">
                <c16:uniqueId val="{00000001-101B-45A7-BE3B-8246F17961DD}"/>
              </c:ext>
            </c:extLst>
          </c:dPt>
          <c:dPt>
            <c:idx val="1"/>
            <c:bubble3D val="0"/>
            <c:spPr>
              <a:gradFill rotWithShape="1">
                <a:gsLst>
                  <a:gs pos="0">
                    <a:schemeClr val="accent6">
                      <a:shade val="65000"/>
                      <a:satMod val="103000"/>
                      <a:lumMod val="102000"/>
                      <a:tint val="94000"/>
                    </a:schemeClr>
                  </a:gs>
                  <a:gs pos="50000">
                    <a:schemeClr val="accent6">
                      <a:shade val="65000"/>
                      <a:satMod val="110000"/>
                      <a:lumMod val="100000"/>
                      <a:shade val="100000"/>
                    </a:schemeClr>
                  </a:gs>
                  <a:gs pos="100000">
                    <a:schemeClr val="accent6">
                      <a:shade val="65000"/>
                      <a:lumMod val="99000"/>
                      <a:satMod val="120000"/>
                      <a:shade val="78000"/>
                    </a:schemeClr>
                  </a:gs>
                </a:gsLst>
                <a:lin ang="5400000" scaled="0"/>
              </a:gradFill>
              <a:ln>
                <a:noFill/>
              </a:ln>
              <a:effectLst/>
            </c:spPr>
            <c:extLst>
              <c:ext xmlns:c16="http://schemas.microsoft.com/office/drawing/2014/chart" uri="{C3380CC4-5D6E-409C-BE32-E72D297353CC}">
                <c16:uniqueId val="{00000003-101B-45A7-BE3B-8246F17961DD}"/>
              </c:ext>
            </c:extLst>
          </c:dPt>
          <c:dPt>
            <c:idx val="2"/>
            <c:bubble3D val="0"/>
            <c:spPr>
              <a:gradFill rotWithShape="1">
                <a:gsLst>
                  <a:gs pos="0">
                    <a:schemeClr val="accent6">
                      <a:shade val="82000"/>
                      <a:satMod val="103000"/>
                      <a:lumMod val="102000"/>
                      <a:tint val="94000"/>
                    </a:schemeClr>
                  </a:gs>
                  <a:gs pos="50000">
                    <a:schemeClr val="accent6">
                      <a:shade val="82000"/>
                      <a:satMod val="110000"/>
                      <a:lumMod val="100000"/>
                      <a:shade val="100000"/>
                    </a:schemeClr>
                  </a:gs>
                  <a:gs pos="100000">
                    <a:schemeClr val="accent6">
                      <a:shade val="82000"/>
                      <a:lumMod val="99000"/>
                      <a:satMod val="120000"/>
                      <a:shade val="78000"/>
                    </a:schemeClr>
                  </a:gs>
                </a:gsLst>
                <a:lin ang="5400000" scaled="0"/>
              </a:gradFill>
              <a:ln>
                <a:noFill/>
              </a:ln>
              <a:effectLst/>
            </c:spPr>
            <c:extLst>
              <c:ext xmlns:c16="http://schemas.microsoft.com/office/drawing/2014/chart" uri="{C3380CC4-5D6E-409C-BE32-E72D297353CC}">
                <c16:uniqueId val="{00000005-101B-45A7-BE3B-8246F17961DD}"/>
              </c:ext>
            </c:extLst>
          </c:dPt>
          <c:dPt>
            <c:idx val="3"/>
            <c:bubble3D val="0"/>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c:spPr>
            <c:extLst>
              <c:ext xmlns:c16="http://schemas.microsoft.com/office/drawing/2014/chart" uri="{C3380CC4-5D6E-409C-BE32-E72D297353CC}">
                <c16:uniqueId val="{00000007-101B-45A7-BE3B-8246F17961DD}"/>
              </c:ext>
            </c:extLst>
          </c:dPt>
          <c:dPt>
            <c:idx val="4"/>
            <c:bubble3D val="0"/>
            <c:spPr>
              <a:gradFill rotWithShape="1">
                <a:gsLst>
                  <a:gs pos="0">
                    <a:schemeClr val="accent6">
                      <a:tint val="83000"/>
                      <a:satMod val="103000"/>
                      <a:lumMod val="102000"/>
                      <a:tint val="94000"/>
                    </a:schemeClr>
                  </a:gs>
                  <a:gs pos="50000">
                    <a:schemeClr val="accent6">
                      <a:tint val="83000"/>
                      <a:satMod val="110000"/>
                      <a:lumMod val="100000"/>
                      <a:shade val="100000"/>
                    </a:schemeClr>
                  </a:gs>
                  <a:gs pos="100000">
                    <a:schemeClr val="accent6">
                      <a:tint val="83000"/>
                      <a:lumMod val="99000"/>
                      <a:satMod val="120000"/>
                      <a:shade val="78000"/>
                    </a:schemeClr>
                  </a:gs>
                </a:gsLst>
                <a:lin ang="5400000" scaled="0"/>
              </a:gradFill>
              <a:ln>
                <a:noFill/>
              </a:ln>
              <a:effectLst/>
            </c:spPr>
            <c:extLst>
              <c:ext xmlns:c16="http://schemas.microsoft.com/office/drawing/2014/chart" uri="{C3380CC4-5D6E-409C-BE32-E72D297353CC}">
                <c16:uniqueId val="{00000009-101B-45A7-BE3B-8246F17961DD}"/>
              </c:ext>
            </c:extLst>
          </c:dPt>
          <c:dPt>
            <c:idx val="5"/>
            <c:bubble3D val="0"/>
            <c:spPr>
              <a:gradFill rotWithShape="1">
                <a:gsLst>
                  <a:gs pos="0">
                    <a:schemeClr val="accent6">
                      <a:tint val="65000"/>
                      <a:satMod val="103000"/>
                      <a:lumMod val="102000"/>
                      <a:tint val="94000"/>
                    </a:schemeClr>
                  </a:gs>
                  <a:gs pos="50000">
                    <a:schemeClr val="accent6">
                      <a:tint val="65000"/>
                      <a:satMod val="110000"/>
                      <a:lumMod val="100000"/>
                      <a:shade val="100000"/>
                    </a:schemeClr>
                  </a:gs>
                  <a:gs pos="100000">
                    <a:schemeClr val="accent6">
                      <a:tint val="65000"/>
                      <a:lumMod val="99000"/>
                      <a:satMod val="120000"/>
                      <a:shade val="78000"/>
                    </a:schemeClr>
                  </a:gs>
                </a:gsLst>
                <a:lin ang="5400000" scaled="0"/>
              </a:gradFill>
              <a:ln>
                <a:noFill/>
              </a:ln>
              <a:effectLst/>
            </c:spPr>
            <c:extLst>
              <c:ext xmlns:c16="http://schemas.microsoft.com/office/drawing/2014/chart" uri="{C3380CC4-5D6E-409C-BE32-E72D297353CC}">
                <c16:uniqueId val="{0000000B-101B-45A7-BE3B-8246F17961DD}"/>
              </c:ext>
            </c:extLst>
          </c:dPt>
          <c:dPt>
            <c:idx val="6"/>
            <c:bubble3D val="0"/>
            <c:spPr>
              <a:gradFill rotWithShape="1">
                <a:gsLst>
                  <a:gs pos="0">
                    <a:schemeClr val="accent6">
                      <a:tint val="48000"/>
                      <a:satMod val="103000"/>
                      <a:lumMod val="102000"/>
                      <a:tint val="94000"/>
                    </a:schemeClr>
                  </a:gs>
                  <a:gs pos="50000">
                    <a:schemeClr val="accent6">
                      <a:tint val="48000"/>
                      <a:satMod val="110000"/>
                      <a:lumMod val="100000"/>
                      <a:shade val="100000"/>
                    </a:schemeClr>
                  </a:gs>
                  <a:gs pos="100000">
                    <a:schemeClr val="accent6">
                      <a:tint val="48000"/>
                      <a:lumMod val="99000"/>
                      <a:satMod val="120000"/>
                      <a:shade val="78000"/>
                    </a:schemeClr>
                  </a:gs>
                </a:gsLst>
                <a:lin ang="5400000" scaled="0"/>
              </a:gradFill>
              <a:ln>
                <a:noFill/>
              </a:ln>
              <a:effectLst/>
            </c:spPr>
            <c:extLst>
              <c:ext xmlns:c16="http://schemas.microsoft.com/office/drawing/2014/chart" uri="{C3380CC4-5D6E-409C-BE32-E72D297353CC}">
                <c16:uniqueId val="{0000000D-101B-45A7-BE3B-8246F17961DD}"/>
              </c:ext>
            </c:extLst>
          </c:dPt>
          <c:dLbls>
            <c:dLbl>
              <c:idx val="0"/>
              <c:layout>
                <c:manualLayout>
                  <c:x val="0.11890999569357386"/>
                  <c:y val="1.1398834228724598E-2"/>
                </c:manualLayout>
              </c:layout>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3077994162400115"/>
                      <c:h val="0.19060801644648992"/>
                    </c:manualLayout>
                  </c15:layout>
                </c:ext>
                <c:ext xmlns:c16="http://schemas.microsoft.com/office/drawing/2014/chart" uri="{C3380CC4-5D6E-409C-BE32-E72D297353CC}">
                  <c16:uniqueId val="{00000001-101B-45A7-BE3B-8246F17961DD}"/>
                </c:ext>
              </c:extLst>
            </c:dLbl>
            <c:dLbl>
              <c:idx val="1"/>
              <c:delete val="1"/>
              <c:extLst>
                <c:ext xmlns:c15="http://schemas.microsoft.com/office/drawing/2012/chart" uri="{CE6537A1-D6FC-4f65-9D91-7224C49458BB}">
                  <c15:layout>
                    <c:manualLayout>
                      <c:w val="0.34982841934803238"/>
                      <c:h val="0.1697984437615411"/>
                    </c:manualLayout>
                  </c15:layout>
                </c:ext>
                <c:ext xmlns:c16="http://schemas.microsoft.com/office/drawing/2014/chart" uri="{C3380CC4-5D6E-409C-BE32-E72D297353CC}">
                  <c16:uniqueId val="{00000003-101B-45A7-BE3B-8246F17961DD}"/>
                </c:ext>
              </c:extLst>
            </c:dLbl>
            <c:dLbl>
              <c:idx val="2"/>
              <c:layout>
                <c:manualLayout>
                  <c:x val="-0.18990143069046367"/>
                  <c:y val="-6.5940982543864782E-2"/>
                </c:manualLayout>
              </c:layout>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33412842719747354"/>
                      <c:h val="0.18106622192566058"/>
                    </c:manualLayout>
                  </c15:layout>
                </c:ext>
                <c:ext xmlns:c16="http://schemas.microsoft.com/office/drawing/2014/chart" uri="{C3380CC4-5D6E-409C-BE32-E72D297353CC}">
                  <c16:uniqueId val="{00000005-101B-45A7-BE3B-8246F17961DD}"/>
                </c:ext>
              </c:extLst>
            </c:dLbl>
            <c:dLbl>
              <c:idx val="3"/>
              <c:layout>
                <c:manualLayout>
                  <c:x val="0.20002970636553585"/>
                  <c:y val="-0.16368940511578975"/>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33937229851508044"/>
                      <c:h val="0.17038087289045384"/>
                    </c:manualLayout>
                  </c15:layout>
                </c:ext>
                <c:ext xmlns:c16="http://schemas.microsoft.com/office/drawing/2014/chart" uri="{C3380CC4-5D6E-409C-BE32-E72D297353CC}">
                  <c16:uniqueId val="{00000007-101B-45A7-BE3B-8246F17961DD}"/>
                </c:ext>
              </c:extLst>
            </c:dLbl>
            <c:dLbl>
              <c:idx val="4"/>
              <c:layout>
                <c:manualLayout>
                  <c:x val="-1.5192114455237099E-2"/>
                  <c:y val="-1.4493773600553289E-2"/>
                </c:manualLayout>
              </c:layout>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19140389492320206"/>
                      <c:h val="0.15697587274969699"/>
                    </c:manualLayout>
                  </c15:layout>
                </c:ext>
                <c:ext xmlns:c16="http://schemas.microsoft.com/office/drawing/2014/chart" uri="{C3380CC4-5D6E-409C-BE32-E72D297353CC}">
                  <c16:uniqueId val="{00000009-101B-45A7-BE3B-8246F17961DD}"/>
                </c:ext>
              </c:extLst>
            </c:dLbl>
            <c:dLbl>
              <c:idx val="5"/>
              <c:layout>
                <c:manualLayout>
                  <c:x val="0.18736941161459078"/>
                  <c:y val="0.11112184752149966"/>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4160526021978723"/>
                      <c:h val="0.20915064257416174"/>
                    </c:manualLayout>
                  </c15:layout>
                </c:ext>
                <c:ext xmlns:c16="http://schemas.microsoft.com/office/drawing/2014/chart" uri="{C3380CC4-5D6E-409C-BE32-E72D297353CC}">
                  <c16:uniqueId val="{0000000B-101B-45A7-BE3B-8246F17961DD}"/>
                </c:ext>
              </c:extLst>
            </c:dLbl>
            <c:dLbl>
              <c:idx val="6"/>
              <c:layout>
                <c:manualLayout>
                  <c:x val="-0.14179306824887952"/>
                  <c:y val="2.4156923374239036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D-101B-45A7-BE3B-8246F17961DD}"/>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dLblPos val="outEnd"/>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8</c:f>
              <c:strCache>
                <c:ptCount val="7"/>
                <c:pt idx="0">
                  <c:v>.NET</c:v>
                </c:pt>
                <c:pt idx="1">
                  <c:v>HTML5</c:v>
                </c:pt>
                <c:pt idx="2">
                  <c:v>JEE</c:v>
                </c:pt>
                <c:pt idx="3">
                  <c:v>Objective-C</c:v>
                </c:pt>
                <c:pt idx="4">
                  <c:v>PHP</c:v>
                </c:pt>
                <c:pt idx="5">
                  <c:v>Python</c:v>
                </c:pt>
                <c:pt idx="6">
                  <c:v>SQL</c:v>
                </c:pt>
              </c:strCache>
            </c:strRef>
          </c:cat>
          <c:val>
            <c:numRef>
              <c:f>Sheet1!$B$2:$B$8</c:f>
              <c:numCache>
                <c:formatCode>General</c:formatCode>
                <c:ptCount val="7"/>
                <c:pt idx="0">
                  <c:v>5162</c:v>
                </c:pt>
                <c:pt idx="1">
                  <c:v>166592</c:v>
                </c:pt>
                <c:pt idx="2">
                  <c:v>29729</c:v>
                </c:pt>
                <c:pt idx="3">
                  <c:v>5822</c:v>
                </c:pt>
                <c:pt idx="4">
                  <c:v>2251</c:v>
                </c:pt>
                <c:pt idx="5">
                  <c:v>3935</c:v>
                </c:pt>
                <c:pt idx="6">
                  <c:v>3121</c:v>
                </c:pt>
              </c:numCache>
            </c:numRef>
          </c:val>
          <c:extLst>
            <c:ext xmlns:c16="http://schemas.microsoft.com/office/drawing/2014/chart" uri="{C3380CC4-5D6E-409C-BE32-E72D297353CC}">
              <c16:uniqueId val="{0000000E-101B-45A7-BE3B-8246F17961DD}"/>
            </c:ext>
          </c:extLst>
        </c:ser>
        <c:dLbls>
          <c:dLblPos val="outEnd"/>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4"/>
            <a:ext cx="4278842" cy="341065"/>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593128" y="4"/>
            <a:ext cx="4278842" cy="341065"/>
          </a:xfrm>
          <a:prstGeom prst="rect">
            <a:avLst/>
          </a:prstGeom>
        </p:spPr>
        <p:txBody>
          <a:bodyPr vert="horz" lIns="92492" tIns="46246" rIns="92492" bIns="46246" rtlCol="0"/>
          <a:lstStyle>
            <a:lvl1pPr algn="r">
              <a:defRPr sz="1200"/>
            </a:lvl1pPr>
          </a:lstStyle>
          <a:p>
            <a:fld id="{57691E93-EF64-46CC-85E2-BBB5BEDB9501}" type="datetimeFigureOut">
              <a:rPr lang="en-US" sz="800"/>
              <a:t>2/3/2021</a:t>
            </a:fld>
            <a:endParaRPr lang="en-US" sz="800"/>
          </a:p>
        </p:txBody>
      </p:sp>
      <p:sp>
        <p:nvSpPr>
          <p:cNvPr id="4" name="Footer Placeholder 3"/>
          <p:cNvSpPr>
            <a:spLocks noGrp="1"/>
          </p:cNvSpPr>
          <p:nvPr>
            <p:ph type="ftr" sz="quarter" idx="2"/>
          </p:nvPr>
        </p:nvSpPr>
        <p:spPr>
          <a:xfrm>
            <a:off x="4" y="6456614"/>
            <a:ext cx="4278842" cy="341064"/>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593128" y="6456614"/>
            <a:ext cx="4278842" cy="341064"/>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88332"/>
            <a:ext cx="9871965" cy="1509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17107" y="4"/>
            <a:ext cx="4161737" cy="341065"/>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593127" y="4"/>
            <a:ext cx="4164018" cy="341065"/>
          </a:xfrm>
          <a:prstGeom prst="rect">
            <a:avLst/>
          </a:prstGeom>
        </p:spPr>
        <p:txBody>
          <a:bodyPr vert="horz" lIns="92492" tIns="46246" rIns="92492" bIns="46246" rtlCol="0"/>
          <a:lstStyle>
            <a:lvl1pPr algn="r">
              <a:defRPr sz="800"/>
            </a:lvl1pPr>
          </a:lstStyle>
          <a:p>
            <a:fld id="{3AD9BDA7-98EF-4344-B91C-30A07E8A84B0}" type="datetimeFigureOut">
              <a:rPr lang="en-US" smtClean="0"/>
              <a:pPr/>
              <a:t>2/3/2021</a:t>
            </a:fld>
            <a:endParaRPr lang="en-US"/>
          </a:p>
        </p:txBody>
      </p:sp>
      <p:sp>
        <p:nvSpPr>
          <p:cNvPr id="4" name="Slide Image Placeholder 3"/>
          <p:cNvSpPr>
            <a:spLocks noGrp="1" noRot="1" noChangeAspect="1"/>
          </p:cNvSpPr>
          <p:nvPr>
            <p:ph type="sldImg" idx="2"/>
          </p:nvPr>
        </p:nvSpPr>
        <p:spPr>
          <a:xfrm>
            <a:off x="528638" y="204788"/>
            <a:ext cx="8816975" cy="4960937"/>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32626" y="5370467"/>
            <a:ext cx="9609002" cy="659636"/>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7107" y="6456614"/>
            <a:ext cx="4161737" cy="341064"/>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593129" y="6456614"/>
            <a:ext cx="4148500" cy="341064"/>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42" userDrawn="1">
          <p15:clr>
            <a:srgbClr val="F26B43"/>
          </p15:clr>
        </p15:guide>
        <p15:guide id="2" pos="311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38463597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r>
              <a:rPr lang="en-US"/>
              <a:t>Notes view: </a:t>
            </a:r>
            <a:fld id="{128CEAFE-FA94-43E5-B0FF-D47E1CCDD1B4}" type="slidenum">
              <a:rPr lang="en-US" smtClean="0"/>
              <a:pPr/>
              <a:t>2</a:t>
            </a:fld>
            <a:endParaRPr lang="en-US"/>
          </a:p>
        </p:txBody>
      </p:sp>
    </p:spTree>
    <p:extLst>
      <p:ext uri="{BB962C8B-B14F-4D97-AF65-F5344CB8AC3E}">
        <p14:creationId xmlns:p14="http://schemas.microsoft.com/office/powerpoint/2010/main" val="583627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32832333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8</a:t>
            </a:fld>
            <a:endParaRPr lang="en-US"/>
          </a:p>
        </p:txBody>
      </p:sp>
    </p:spTree>
    <p:extLst>
      <p:ext uri="{BB962C8B-B14F-4D97-AF65-F5344CB8AC3E}">
        <p14:creationId xmlns:p14="http://schemas.microsoft.com/office/powerpoint/2010/main" val="8793665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1D462FF-020F-4E8D-AA58-02E49292CF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1208" cy="5279182"/>
          </a:xfrm>
          <a:prstGeom prst="rect">
            <a:avLst/>
          </a:prstGeom>
        </p:spPr>
      </p:pic>
      <p:sp>
        <p:nvSpPr>
          <p:cNvPr id="14" name="Rectangle 13"/>
          <p:cNvSpPr/>
          <p:nvPr userDrawn="1"/>
        </p:nvSpPr>
        <p:spPr>
          <a:xfrm>
            <a:off x="171450" y="5279182"/>
            <a:ext cx="1202055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3" name="Picture 2">
            <a:extLst>
              <a:ext uri="{FF2B5EF4-FFF2-40B4-BE49-F238E27FC236}">
                <a16:creationId xmlns:a16="http://schemas.microsoft.com/office/drawing/2014/main" id="{A2CA4951-44FE-4EDB-97BC-82DAA6C3647B}"/>
              </a:ext>
            </a:extLst>
          </p:cNvPr>
          <p:cNvPicPr>
            <a:picLocks noChangeAspect="1"/>
          </p:cNvPicPr>
          <p:nvPr userDrawn="1"/>
        </p:nvPicPr>
        <p:blipFill>
          <a:blip r:embed="rId4"/>
          <a:stretch>
            <a:fillRect/>
          </a:stretch>
        </p:blipFill>
        <p:spPr>
          <a:xfrm>
            <a:off x="957600" y="1074465"/>
            <a:ext cx="3521757" cy="422611"/>
          </a:xfrm>
          <a:prstGeom prst="rect">
            <a:avLst/>
          </a:prstGeom>
        </p:spPr>
      </p:pic>
      <p:pic>
        <p:nvPicPr>
          <p:cNvPr id="2" name="Picture 1" descr="Icon&#10;&#10;Description automatically generated">
            <a:extLst>
              <a:ext uri="{FF2B5EF4-FFF2-40B4-BE49-F238E27FC236}">
                <a16:creationId xmlns:a16="http://schemas.microsoft.com/office/drawing/2014/main" id="{B403272A-DC9C-495D-B55A-DE30E21428EE}"/>
              </a:ext>
            </a:extLst>
          </p:cNvPr>
          <p:cNvPicPr>
            <a:picLocks noChangeAspect="1"/>
          </p:cNvPicPr>
          <p:nvPr userDrawn="1"/>
        </p:nvPicPr>
        <p:blipFill>
          <a:blip r:embed="rId5"/>
          <a:stretch>
            <a:fillRect/>
          </a:stretch>
        </p:blipFill>
        <p:spPr>
          <a:xfrm>
            <a:off x="9538011" y="6234351"/>
            <a:ext cx="1867935" cy="366115"/>
          </a:xfrm>
          <a:prstGeom prst="rect">
            <a:avLst/>
          </a:prstGeom>
        </p:spPr>
      </p:pic>
      <p:sp>
        <p:nvSpPr>
          <p:cNvPr id="4" name="Date Placeholder 3">
            <a:extLst>
              <a:ext uri="{FF2B5EF4-FFF2-40B4-BE49-F238E27FC236}">
                <a16:creationId xmlns:a16="http://schemas.microsoft.com/office/drawing/2014/main" id="{FD39F906-4087-4BF4-83A5-C41528571102}"/>
              </a:ext>
            </a:extLst>
          </p:cNvPr>
          <p:cNvSpPr>
            <a:spLocks noGrp="1"/>
          </p:cNvSpPr>
          <p:nvPr>
            <p:ph type="dt" sz="half" idx="13"/>
          </p:nvPr>
        </p:nvSpPr>
        <p:spPr/>
        <p:txBody>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7" name="Picture 16" descr="Icon&#10;&#10;Description automatically generated">
            <a:extLst>
              <a:ext uri="{FF2B5EF4-FFF2-40B4-BE49-F238E27FC236}">
                <a16:creationId xmlns:a16="http://schemas.microsoft.com/office/drawing/2014/main" id="{1D4BEC37-6901-4C52-B469-5CC85646280C}"/>
              </a:ext>
            </a:extLst>
          </p:cNvPr>
          <p:cNvPicPr>
            <a:picLocks noChangeAspect="1"/>
          </p:cNvPicPr>
          <p:nvPr userDrawn="1"/>
        </p:nvPicPr>
        <p:blipFill>
          <a:blip r:embed="rId4"/>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2" name="Picture 1" descr="Icon&#10;&#10;Description automatically generated">
            <a:extLst>
              <a:ext uri="{FF2B5EF4-FFF2-40B4-BE49-F238E27FC236}">
                <a16:creationId xmlns:a16="http://schemas.microsoft.com/office/drawing/2014/main" id="{59950F43-8995-4F1F-A728-574165FEE09B}"/>
              </a:ext>
            </a:extLst>
          </p:cNvPr>
          <p:cNvPicPr>
            <a:picLocks noChangeAspect="1"/>
          </p:cNvPicPr>
          <p:nvPr userDrawn="1"/>
        </p:nvPicPr>
        <p:blipFill>
          <a:blip r:embed="rId4"/>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8" name="Title 7"/>
          <p:cNvSpPr>
            <a:spLocks noGrp="1"/>
          </p:cNvSpPr>
          <p:nvPr>
            <p:ph type="title" hasCustomPrompt="1"/>
          </p:nvPr>
        </p:nvSpPr>
        <p:spPr>
          <a:xfrm>
            <a:off x="630000" y="622800"/>
            <a:ext cx="10933350" cy="332399"/>
          </a:xfrm>
        </p:spPr>
        <p:txBody>
          <a:bodyPr/>
          <a:lstStyle>
            <a:lvl1pPr>
              <a:defRPr>
                <a:solidFill>
                  <a:srgbClr val="293C47"/>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B8CEFAB7-3051-42AF-9539-E6F9C20495CB}"/>
              </a:ext>
            </a:extLst>
          </p:cNvPr>
          <p:cNvPicPr>
            <a:picLocks noChangeAspect="1"/>
          </p:cNvPicPr>
          <p:nvPr userDrawn="1"/>
        </p:nvPicPr>
        <p:blipFill>
          <a:blip r:embed="rId3"/>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3212912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CAST Software Inc.</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5DCA8B3B-47EF-4A1A-9D87-73447CBBABAC}"/>
              </a:ext>
            </a:extLst>
          </p:cNvPr>
          <p:cNvPicPr>
            <a:picLocks noChangeAspect="1"/>
          </p:cNvPicPr>
          <p:nvPr userDrawn="1"/>
        </p:nvPicPr>
        <p:blipFill>
          <a:blip r:embed="rId3"/>
          <a:stretch>
            <a:fillRect/>
          </a:stretch>
        </p:blipFill>
        <p:spPr>
          <a:xfrm>
            <a:off x="9630541" y="6341317"/>
            <a:ext cx="1664202" cy="326184"/>
          </a:xfrm>
          <a:prstGeom prst="rect">
            <a:avLst/>
          </a:prstGeom>
        </p:spPr>
      </p:pic>
    </p:spTree>
    <p:extLst>
      <p:ext uri="{BB962C8B-B14F-4D97-AF65-F5344CB8AC3E}">
        <p14:creationId xmlns:p14="http://schemas.microsoft.com/office/powerpoint/2010/main" val="597073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49" r:id="rId2"/>
    <p:sldLayoutId id="2147485166" r:id="rId3"/>
    <p:sldLayoutId id="2147485119" r:id="rId4"/>
    <p:sldLayoutId id="2147485182" r:id="rId5"/>
    <p:sldLayoutId id="2147485183"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12.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a:t>DECEMBER </a:t>
            </a:r>
            <a:r>
              <a:rPr lang="en-US">
                <a:latin typeface="+mn-lt"/>
              </a:rPr>
              <a:t>2020</a:t>
            </a:r>
          </a:p>
        </p:txBody>
      </p:sp>
      <p:sp>
        <p:nvSpPr>
          <p:cNvPr id="3" name="Subtitle 2"/>
          <p:cNvSpPr>
            <a:spLocks noGrp="1"/>
          </p:cNvSpPr>
          <p:nvPr>
            <p:ph type="subTitle" idx="1"/>
          </p:nvPr>
        </p:nvSpPr>
        <p:spPr>
          <a:xfrm>
            <a:off x="957600" y="5324675"/>
            <a:ext cx="6868800" cy="701140"/>
          </a:xfrm>
        </p:spPr>
        <p:txBody>
          <a:bodyPr/>
          <a:lstStyle/>
          <a:p>
            <a:pPr>
              <a:spcBef>
                <a:spcPts val="0"/>
              </a:spcBef>
              <a:spcAft>
                <a:spcPts val="0"/>
              </a:spcAft>
            </a:pPr>
            <a:r>
              <a:rPr lang="en-US" sz="1400"/>
              <a:t>Chakra Yarlagadda, SVP, Tech Partnerships, M&amp;A</a:t>
            </a:r>
            <a:br>
              <a:rPr lang="en-US" sz="1400"/>
            </a:br>
            <a:r>
              <a:rPr lang="en-US" sz="1400"/>
              <a:t>Manish Sharma, Senior Delivery Manager, Professional Services</a:t>
            </a:r>
            <a:br>
              <a:rPr lang="en-US" sz="1400"/>
            </a:br>
            <a:r>
              <a:rPr lang="en-US" sz="1400" b="0" i="0">
                <a:solidFill>
                  <a:srgbClr val="FFFFFF"/>
                </a:solidFill>
                <a:effectLst/>
                <a:latin typeface="Trebuchet MS" panose="020B0603020202020204" pitchFamily="34" charset="0"/>
              </a:rPr>
              <a:t>Matthieu Mabyre, Technology SME</a:t>
            </a:r>
            <a:endParaRPr lang="en-US" sz="1400"/>
          </a:p>
        </p:txBody>
      </p:sp>
      <p:sp>
        <p:nvSpPr>
          <p:cNvPr id="2" name="Title 1"/>
          <p:cNvSpPr>
            <a:spLocks noGrp="1"/>
          </p:cNvSpPr>
          <p:nvPr>
            <p:ph type="ctrTitle"/>
          </p:nvPr>
        </p:nvSpPr>
        <p:spPr>
          <a:xfrm>
            <a:off x="957600" y="4128939"/>
            <a:ext cx="6868800" cy="895725"/>
          </a:xfrm>
        </p:spPr>
        <p:txBody>
          <a:bodyPr>
            <a:normAutofit fontScale="90000"/>
          </a:bodyPr>
          <a:lstStyle/>
          <a:p>
            <a:r>
              <a:rPr lang="en-US" sz="4800" dirty="0">
                <a:latin typeface="+mj-lt"/>
              </a:rPr>
              <a:t>accela Tech DD report</a:t>
            </a:r>
            <a:br>
              <a:rPr lang="en-US" dirty="0">
                <a:latin typeface="+mj-lt"/>
              </a:rPr>
            </a:br>
            <a:endParaRPr lang="en-US" sz="1600" dirty="0">
              <a:latin typeface="+mj-lt"/>
            </a:endParaRPr>
          </a:p>
        </p:txBody>
      </p:sp>
      <p:sp>
        <p:nvSpPr>
          <p:cNvPr id="4" name="TextBox 3">
            <a:extLst>
              <a:ext uri="{FF2B5EF4-FFF2-40B4-BE49-F238E27FC236}">
                <a16:creationId xmlns:a16="http://schemas.microsoft.com/office/drawing/2014/main" id="{DC342AD0-6244-4CC5-8419-E0541F66BE9C}"/>
              </a:ext>
            </a:extLst>
          </p:cNvPr>
          <p:cNvSpPr txBox="1"/>
          <p:nvPr/>
        </p:nvSpPr>
        <p:spPr>
          <a:xfrm>
            <a:off x="957600" y="2018847"/>
            <a:ext cx="7537471" cy="15444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u="sng">
                <a:solidFill>
                  <a:schemeClr val="accent3">
                    <a:lumMod val="20000"/>
                    <a:lumOff val="80000"/>
                  </a:schemeClr>
                </a:solidFill>
              </a:rPr>
              <a:t>Disclaimer</a:t>
            </a:r>
            <a:r>
              <a:rPr lang="en-US">
                <a:solidFill>
                  <a:schemeClr val="accent3">
                    <a:lumMod val="20000"/>
                    <a:lumOff val="80000"/>
                  </a:schemeClr>
                </a:solidFill>
              </a:rPr>
              <a:t> - </a:t>
            </a:r>
            <a:r>
              <a:rPr lang="en-US" sz="1800" b="0" i="0">
                <a:effectLst/>
                <a:latin typeface="Segoe UI" panose="020B0502040204020203" pitchFamily="34" charset="0"/>
              </a:rPr>
              <a:t>This is a due diligence report ("CAST Report") on software health and risks based on the information provided to CAST by the Client. The CAST Report is not intended to replace the full due diligence to be performed by Client, its affiliates and any underwriters using the CAST Report. Any party is responsible for its own full due diligence and should not rely solely on the CAST Report for its decisions.</a:t>
            </a:r>
            <a:endParaRPr lang="en-US" b="0" i="0">
              <a:effectLst/>
              <a:latin typeface="Segoe UI" panose="020B0502040204020203" pitchFamily="34" charset="0"/>
            </a:endParaRPr>
          </a:p>
          <a:p>
            <a:pPr algn="ctr"/>
            <a:endParaRPr lang="en-US" b="0" i="0">
              <a:effectLst/>
              <a:latin typeface="Segoe UI" panose="020B0502040204020203" pitchFamily="34" charset="0"/>
            </a:endParaRPr>
          </a:p>
        </p:txBody>
      </p:sp>
    </p:spTree>
    <p:extLst>
      <p:ext uri="{BB962C8B-B14F-4D97-AF65-F5344CB8AC3E}">
        <p14:creationId xmlns:p14="http://schemas.microsoft.com/office/powerpoint/2010/main" val="2693573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E62EC-BCC8-48F9-993D-CB21AB8F082A}"/>
              </a:ext>
            </a:extLst>
          </p:cNvPr>
          <p:cNvSpPr>
            <a:spLocks noGrp="1"/>
          </p:cNvSpPr>
          <p:nvPr>
            <p:ph type="title" idx="4294967295"/>
          </p:nvPr>
        </p:nvSpPr>
        <p:spPr>
          <a:xfrm>
            <a:off x="630000" y="2681103"/>
            <a:ext cx="3127881" cy="1495794"/>
          </a:xfrm>
        </p:spPr>
        <p:txBody>
          <a:bodyPr/>
          <a:lstStyle/>
          <a:p>
            <a:r>
              <a:rPr lang="en-US" dirty="0"/>
              <a:t>Agenda</a:t>
            </a:r>
          </a:p>
        </p:txBody>
      </p:sp>
      <p:grpSp>
        <p:nvGrpSpPr>
          <p:cNvPr id="6" name="Group 5">
            <a:extLst>
              <a:ext uri="{FF2B5EF4-FFF2-40B4-BE49-F238E27FC236}">
                <a16:creationId xmlns:a16="http://schemas.microsoft.com/office/drawing/2014/main" id="{FBDEFC18-D8E2-4DDA-BA1A-4BF1E8757D1C}"/>
              </a:ext>
            </a:extLst>
          </p:cNvPr>
          <p:cNvGrpSpPr/>
          <p:nvPr/>
        </p:nvGrpSpPr>
        <p:grpSpPr>
          <a:xfrm>
            <a:off x="4315870" y="1540781"/>
            <a:ext cx="293147" cy="292608"/>
            <a:chOff x="4724332" y="3638343"/>
            <a:chExt cx="293147" cy="292608"/>
          </a:xfrm>
        </p:grpSpPr>
        <p:sp>
          <p:nvSpPr>
            <p:cNvPr id="7" name="Oval 6">
              <a:extLst>
                <a:ext uri="{FF2B5EF4-FFF2-40B4-BE49-F238E27FC236}">
                  <a16:creationId xmlns:a16="http://schemas.microsoft.com/office/drawing/2014/main" id="{3CB61079-BA4A-4CBC-8781-5ABDB68BBBEE}"/>
                </a:ext>
              </a:extLst>
            </p:cNvPr>
            <p:cNvSpPr/>
            <p:nvPr>
              <p:custDataLst>
                <p:tags r:id="rId1"/>
              </p:custDataLst>
            </p:nvPr>
          </p:nvSpPr>
          <p:spPr>
            <a:xfrm>
              <a:off x="4724332" y="3638343"/>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400">
                <a:solidFill>
                  <a:schemeClr val="tx1">
                    <a:lumMod val="100000"/>
                  </a:schemeClr>
                </a:solidFill>
                <a:latin typeface="Trebuchet MS" panose="020B0603020202020204" pitchFamily="34" charset="0"/>
              </a:endParaRPr>
            </a:p>
          </p:txBody>
        </p:sp>
        <p:pic>
          <p:nvPicPr>
            <p:cNvPr id="8" name="Picture 7">
              <a:extLst>
                <a:ext uri="{FF2B5EF4-FFF2-40B4-BE49-F238E27FC236}">
                  <a16:creationId xmlns:a16="http://schemas.microsoft.com/office/drawing/2014/main" id="{781AEABB-08E0-4A1C-9B0A-DDFBE0A62194}"/>
                </a:ext>
              </a:extLst>
            </p:cNvPr>
            <p:cNvPicPr>
              <a:picLocks/>
            </p:cNvPicPr>
            <p:nvPr>
              <p:custDataLst>
                <p:tags r:id="rId2"/>
              </p:custDataLst>
            </p:nvPr>
          </p:nvPicPr>
          <p:blipFill>
            <a:blip r:embed="rId4">
              <a:extLst>
                <a:ext uri="{28A0092B-C50C-407E-A947-70E740481C1C}">
                  <a14:useLocalDpi xmlns:a14="http://schemas.microsoft.com/office/drawing/2010/main" val="0"/>
                </a:ext>
              </a:extLst>
            </a:blip>
            <a:stretch>
              <a:fillRect/>
            </a:stretch>
          </p:blipFill>
          <p:spPr>
            <a:xfrm>
              <a:off x="4724332" y="3638343"/>
              <a:ext cx="293147" cy="292608"/>
            </a:xfrm>
            <a:prstGeom prst="rect">
              <a:avLst/>
            </a:prstGeom>
          </p:spPr>
        </p:pic>
      </p:grpSp>
      <p:sp>
        <p:nvSpPr>
          <p:cNvPr id="9" name="TextBox 3">
            <a:extLst>
              <a:ext uri="{FF2B5EF4-FFF2-40B4-BE49-F238E27FC236}">
                <a16:creationId xmlns:a16="http://schemas.microsoft.com/office/drawing/2014/main" id="{1F500939-5FB1-4F17-B568-D37D6CFBB3B9}"/>
              </a:ext>
            </a:extLst>
          </p:cNvPr>
          <p:cNvSpPr txBox="1"/>
          <p:nvPr/>
        </p:nvSpPr>
        <p:spPr>
          <a:xfrm>
            <a:off x="4700776" y="1456253"/>
            <a:ext cx="6621115"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2400" dirty="0">
                <a:solidFill>
                  <a:schemeClr val="tx1">
                    <a:lumMod val="60000"/>
                    <a:lumOff val="40000"/>
                  </a:schemeClr>
                </a:solidFill>
                <a:latin typeface="Trebuchet MS" panose="020B0603020202020204" pitchFamily="34" charset="0"/>
              </a:rPr>
              <a:t>Executive Summary </a:t>
            </a:r>
          </a:p>
        </p:txBody>
      </p:sp>
      <p:sp>
        <p:nvSpPr>
          <p:cNvPr id="12" name="TextBox 11">
            <a:extLst>
              <a:ext uri="{FF2B5EF4-FFF2-40B4-BE49-F238E27FC236}">
                <a16:creationId xmlns:a16="http://schemas.microsoft.com/office/drawing/2014/main" id="{97C1AE18-3BF8-4938-BFCD-6EF29BC5BA13}"/>
              </a:ext>
            </a:extLst>
          </p:cNvPr>
          <p:cNvSpPr txBox="1"/>
          <p:nvPr/>
        </p:nvSpPr>
        <p:spPr>
          <a:xfrm>
            <a:off x="4700776" y="3429000"/>
            <a:ext cx="6096000" cy="7232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600"/>
              </a:spcAft>
            </a:pPr>
            <a:r>
              <a:rPr lang="en-US" dirty="0">
                <a:solidFill>
                  <a:srgbClr val="527589"/>
                </a:solidFill>
              </a:rPr>
              <a:t>Next Steps</a:t>
            </a:r>
          </a:p>
          <a:p>
            <a:pPr>
              <a:spcAft>
                <a:spcPts val="600"/>
              </a:spcAft>
            </a:pPr>
            <a:r>
              <a:rPr lang="en-US" dirty="0">
                <a:solidFill>
                  <a:srgbClr val="527589"/>
                </a:solidFill>
              </a:rPr>
              <a:t>Appendix: CAST Overview, Grading mechanism</a:t>
            </a:r>
            <a:endParaRPr lang="en-US" dirty="0"/>
          </a:p>
        </p:txBody>
      </p:sp>
      <p:sp>
        <p:nvSpPr>
          <p:cNvPr id="14" name="TextBox 13">
            <a:extLst>
              <a:ext uri="{FF2B5EF4-FFF2-40B4-BE49-F238E27FC236}">
                <a16:creationId xmlns:a16="http://schemas.microsoft.com/office/drawing/2014/main" id="{47D97CEC-625C-422A-98C8-25952A9FDD1F}"/>
              </a:ext>
            </a:extLst>
          </p:cNvPr>
          <p:cNvSpPr txBox="1"/>
          <p:nvPr/>
        </p:nvSpPr>
        <p:spPr>
          <a:xfrm>
            <a:off x="4700776" y="2066939"/>
            <a:ext cx="6096000" cy="107721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600"/>
              </a:spcAft>
            </a:pPr>
            <a:r>
              <a:rPr lang="en-US" dirty="0">
                <a:solidFill>
                  <a:srgbClr val="527589"/>
                </a:solidFill>
              </a:rPr>
              <a:t>Results for Accela.</a:t>
            </a:r>
          </a:p>
        </p:txBody>
      </p:sp>
    </p:spTree>
    <p:extLst>
      <p:ext uri="{BB962C8B-B14F-4D97-AF65-F5344CB8AC3E}">
        <p14:creationId xmlns:p14="http://schemas.microsoft.com/office/powerpoint/2010/main" val="40650194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630000" y="1438843"/>
            <a:ext cx="757886" cy="1005223"/>
            <a:chOff x="5641181" y="2825115"/>
            <a:chExt cx="909638" cy="1206500"/>
          </a:xfrm>
        </p:grpSpPr>
        <p:sp>
          <p:nvSpPr>
            <p:cNvPr id="8" name="Freeform 7"/>
            <p:cNvSpPr>
              <a:spLocks/>
            </p:cNvSpPr>
            <p:nvPr/>
          </p:nvSpPr>
          <p:spPr bwMode="auto">
            <a:xfrm>
              <a:off x="5782469" y="3064827"/>
              <a:ext cx="627063" cy="727075"/>
            </a:xfrm>
            <a:custGeom>
              <a:avLst/>
              <a:gdLst>
                <a:gd name="connsiteX0" fmla="*/ 15713 w 627063"/>
                <a:gd name="connsiteY0" fmla="*/ 695325 h 727075"/>
                <a:gd name="connsiteX1" fmla="*/ 611351 w 627063"/>
                <a:gd name="connsiteY1" fmla="*/ 695325 h 727075"/>
                <a:gd name="connsiteX2" fmla="*/ 627063 w 627063"/>
                <a:gd name="connsiteY2" fmla="*/ 711200 h 727075"/>
                <a:gd name="connsiteX3" fmla="*/ 611351 w 627063"/>
                <a:gd name="connsiteY3" fmla="*/ 727075 h 727075"/>
                <a:gd name="connsiteX4" fmla="*/ 15713 w 627063"/>
                <a:gd name="connsiteY4" fmla="*/ 727075 h 727075"/>
                <a:gd name="connsiteX5" fmla="*/ 0 w 627063"/>
                <a:gd name="connsiteY5" fmla="*/ 711200 h 727075"/>
                <a:gd name="connsiteX6" fmla="*/ 15713 w 627063"/>
                <a:gd name="connsiteY6" fmla="*/ 695325 h 727075"/>
                <a:gd name="connsiteX7" fmla="*/ 15713 w 627063"/>
                <a:gd name="connsiteY7" fmla="*/ 579438 h 727075"/>
                <a:gd name="connsiteX8" fmla="*/ 611351 w 627063"/>
                <a:gd name="connsiteY8" fmla="*/ 579438 h 727075"/>
                <a:gd name="connsiteX9" fmla="*/ 627063 w 627063"/>
                <a:gd name="connsiteY9" fmla="*/ 595313 h 727075"/>
                <a:gd name="connsiteX10" fmla="*/ 611351 w 627063"/>
                <a:gd name="connsiteY10" fmla="*/ 611188 h 727075"/>
                <a:gd name="connsiteX11" fmla="*/ 15713 w 627063"/>
                <a:gd name="connsiteY11" fmla="*/ 611188 h 727075"/>
                <a:gd name="connsiteX12" fmla="*/ 0 w 627063"/>
                <a:gd name="connsiteY12" fmla="*/ 595313 h 727075"/>
                <a:gd name="connsiteX13" fmla="*/ 15713 w 627063"/>
                <a:gd name="connsiteY13" fmla="*/ 579438 h 727075"/>
                <a:gd name="connsiteX14" fmla="*/ 15713 w 627063"/>
                <a:gd name="connsiteY14" fmla="*/ 463550 h 727075"/>
                <a:gd name="connsiteX15" fmla="*/ 611351 w 627063"/>
                <a:gd name="connsiteY15" fmla="*/ 463550 h 727075"/>
                <a:gd name="connsiteX16" fmla="*/ 627063 w 627063"/>
                <a:gd name="connsiteY16" fmla="*/ 479425 h 727075"/>
                <a:gd name="connsiteX17" fmla="*/ 611351 w 627063"/>
                <a:gd name="connsiteY17" fmla="*/ 495300 h 727075"/>
                <a:gd name="connsiteX18" fmla="*/ 15713 w 627063"/>
                <a:gd name="connsiteY18" fmla="*/ 495300 h 727075"/>
                <a:gd name="connsiteX19" fmla="*/ 0 w 627063"/>
                <a:gd name="connsiteY19" fmla="*/ 479425 h 727075"/>
                <a:gd name="connsiteX20" fmla="*/ 15713 w 627063"/>
                <a:gd name="connsiteY20" fmla="*/ 463550 h 727075"/>
                <a:gd name="connsiteX21" fmla="*/ 15713 w 627063"/>
                <a:gd name="connsiteY21" fmla="*/ 347663 h 727075"/>
                <a:gd name="connsiteX22" fmla="*/ 611351 w 627063"/>
                <a:gd name="connsiteY22" fmla="*/ 347663 h 727075"/>
                <a:gd name="connsiteX23" fmla="*/ 627063 w 627063"/>
                <a:gd name="connsiteY23" fmla="*/ 363538 h 727075"/>
                <a:gd name="connsiteX24" fmla="*/ 611351 w 627063"/>
                <a:gd name="connsiteY24" fmla="*/ 379413 h 727075"/>
                <a:gd name="connsiteX25" fmla="*/ 15713 w 627063"/>
                <a:gd name="connsiteY25" fmla="*/ 379413 h 727075"/>
                <a:gd name="connsiteX26" fmla="*/ 0 w 627063"/>
                <a:gd name="connsiteY26" fmla="*/ 363538 h 727075"/>
                <a:gd name="connsiteX27" fmla="*/ 15713 w 627063"/>
                <a:gd name="connsiteY27" fmla="*/ 347663 h 727075"/>
                <a:gd name="connsiteX28" fmla="*/ 15713 w 627063"/>
                <a:gd name="connsiteY28" fmla="*/ 231775 h 727075"/>
                <a:gd name="connsiteX29" fmla="*/ 611351 w 627063"/>
                <a:gd name="connsiteY29" fmla="*/ 231775 h 727075"/>
                <a:gd name="connsiteX30" fmla="*/ 627063 w 627063"/>
                <a:gd name="connsiteY30" fmla="*/ 247650 h 727075"/>
                <a:gd name="connsiteX31" fmla="*/ 611351 w 627063"/>
                <a:gd name="connsiteY31" fmla="*/ 263525 h 727075"/>
                <a:gd name="connsiteX32" fmla="*/ 15713 w 627063"/>
                <a:gd name="connsiteY32" fmla="*/ 263525 h 727075"/>
                <a:gd name="connsiteX33" fmla="*/ 0 w 627063"/>
                <a:gd name="connsiteY33" fmla="*/ 247650 h 727075"/>
                <a:gd name="connsiteX34" fmla="*/ 15713 w 627063"/>
                <a:gd name="connsiteY34" fmla="*/ 231775 h 727075"/>
                <a:gd name="connsiteX35" fmla="*/ 15713 w 627063"/>
                <a:gd name="connsiteY35" fmla="*/ 115888 h 727075"/>
                <a:gd name="connsiteX36" fmla="*/ 611351 w 627063"/>
                <a:gd name="connsiteY36" fmla="*/ 115888 h 727075"/>
                <a:gd name="connsiteX37" fmla="*/ 627063 w 627063"/>
                <a:gd name="connsiteY37" fmla="*/ 131763 h 727075"/>
                <a:gd name="connsiteX38" fmla="*/ 611351 w 627063"/>
                <a:gd name="connsiteY38" fmla="*/ 147638 h 727075"/>
                <a:gd name="connsiteX39" fmla="*/ 15713 w 627063"/>
                <a:gd name="connsiteY39" fmla="*/ 147638 h 727075"/>
                <a:gd name="connsiteX40" fmla="*/ 0 w 627063"/>
                <a:gd name="connsiteY40" fmla="*/ 131763 h 727075"/>
                <a:gd name="connsiteX41" fmla="*/ 15713 w 627063"/>
                <a:gd name="connsiteY41" fmla="*/ 115888 h 727075"/>
                <a:gd name="connsiteX42" fmla="*/ 15713 w 627063"/>
                <a:gd name="connsiteY42" fmla="*/ 0 h 727075"/>
                <a:gd name="connsiteX43" fmla="*/ 611351 w 627063"/>
                <a:gd name="connsiteY43" fmla="*/ 0 h 727075"/>
                <a:gd name="connsiteX44" fmla="*/ 627063 w 627063"/>
                <a:gd name="connsiteY44" fmla="*/ 15875 h 727075"/>
                <a:gd name="connsiteX45" fmla="*/ 611351 w 627063"/>
                <a:gd name="connsiteY45" fmla="*/ 31750 h 727075"/>
                <a:gd name="connsiteX46" fmla="*/ 15713 w 627063"/>
                <a:gd name="connsiteY46" fmla="*/ 31750 h 727075"/>
                <a:gd name="connsiteX47" fmla="*/ 0 w 627063"/>
                <a:gd name="connsiteY47" fmla="*/ 15875 h 727075"/>
                <a:gd name="connsiteX48" fmla="*/ 15713 w 627063"/>
                <a:gd name="connsiteY48" fmla="*/ 0 h 72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7063" h="727075">
                  <a:moveTo>
                    <a:pt x="15713" y="695325"/>
                  </a:moveTo>
                  <a:cubicBezTo>
                    <a:pt x="611351" y="695325"/>
                    <a:pt x="611351" y="695325"/>
                    <a:pt x="611351" y="695325"/>
                  </a:cubicBezTo>
                  <a:cubicBezTo>
                    <a:pt x="620635" y="695325"/>
                    <a:pt x="627063" y="702541"/>
                    <a:pt x="627063" y="711200"/>
                  </a:cubicBezTo>
                  <a:cubicBezTo>
                    <a:pt x="627063" y="719859"/>
                    <a:pt x="620635" y="727075"/>
                    <a:pt x="611351" y="727075"/>
                  </a:cubicBezTo>
                  <a:cubicBezTo>
                    <a:pt x="15713" y="727075"/>
                    <a:pt x="15713" y="727075"/>
                    <a:pt x="15713" y="727075"/>
                  </a:cubicBezTo>
                  <a:cubicBezTo>
                    <a:pt x="6428" y="727075"/>
                    <a:pt x="0" y="719859"/>
                    <a:pt x="0" y="711200"/>
                  </a:cubicBezTo>
                  <a:cubicBezTo>
                    <a:pt x="0" y="702541"/>
                    <a:pt x="6428" y="695325"/>
                    <a:pt x="15713" y="695325"/>
                  </a:cubicBezTo>
                  <a:close/>
                  <a:moveTo>
                    <a:pt x="15713" y="579438"/>
                  </a:moveTo>
                  <a:cubicBezTo>
                    <a:pt x="611351" y="579438"/>
                    <a:pt x="611351" y="579438"/>
                    <a:pt x="611351" y="579438"/>
                  </a:cubicBezTo>
                  <a:cubicBezTo>
                    <a:pt x="620635" y="579438"/>
                    <a:pt x="627063" y="586654"/>
                    <a:pt x="627063" y="595313"/>
                  </a:cubicBezTo>
                  <a:cubicBezTo>
                    <a:pt x="627063" y="603972"/>
                    <a:pt x="620635" y="611188"/>
                    <a:pt x="611351" y="611188"/>
                  </a:cubicBezTo>
                  <a:cubicBezTo>
                    <a:pt x="15713" y="611188"/>
                    <a:pt x="15713" y="611188"/>
                    <a:pt x="15713" y="611188"/>
                  </a:cubicBezTo>
                  <a:cubicBezTo>
                    <a:pt x="6428" y="611188"/>
                    <a:pt x="0" y="603972"/>
                    <a:pt x="0" y="595313"/>
                  </a:cubicBezTo>
                  <a:cubicBezTo>
                    <a:pt x="0" y="586654"/>
                    <a:pt x="6428" y="579438"/>
                    <a:pt x="15713" y="579438"/>
                  </a:cubicBezTo>
                  <a:close/>
                  <a:moveTo>
                    <a:pt x="15713" y="463550"/>
                  </a:moveTo>
                  <a:cubicBezTo>
                    <a:pt x="611351" y="463550"/>
                    <a:pt x="611351" y="463550"/>
                    <a:pt x="611351" y="463550"/>
                  </a:cubicBezTo>
                  <a:cubicBezTo>
                    <a:pt x="620635" y="463550"/>
                    <a:pt x="627063" y="470766"/>
                    <a:pt x="627063" y="479425"/>
                  </a:cubicBezTo>
                  <a:cubicBezTo>
                    <a:pt x="627063" y="488806"/>
                    <a:pt x="620635" y="495300"/>
                    <a:pt x="611351" y="495300"/>
                  </a:cubicBezTo>
                  <a:cubicBezTo>
                    <a:pt x="15713" y="495300"/>
                    <a:pt x="15713" y="495300"/>
                    <a:pt x="15713" y="495300"/>
                  </a:cubicBezTo>
                  <a:cubicBezTo>
                    <a:pt x="6428" y="495300"/>
                    <a:pt x="0" y="488806"/>
                    <a:pt x="0" y="479425"/>
                  </a:cubicBezTo>
                  <a:cubicBezTo>
                    <a:pt x="0" y="470766"/>
                    <a:pt x="6428" y="463550"/>
                    <a:pt x="15713" y="463550"/>
                  </a:cubicBezTo>
                  <a:close/>
                  <a:moveTo>
                    <a:pt x="15713" y="347663"/>
                  </a:moveTo>
                  <a:cubicBezTo>
                    <a:pt x="611351" y="347663"/>
                    <a:pt x="611351" y="347663"/>
                    <a:pt x="611351" y="347663"/>
                  </a:cubicBezTo>
                  <a:cubicBezTo>
                    <a:pt x="620635" y="347663"/>
                    <a:pt x="627063" y="354879"/>
                    <a:pt x="627063" y="363538"/>
                  </a:cubicBezTo>
                  <a:cubicBezTo>
                    <a:pt x="627063" y="372197"/>
                    <a:pt x="620635" y="379413"/>
                    <a:pt x="611351" y="379413"/>
                  </a:cubicBezTo>
                  <a:cubicBezTo>
                    <a:pt x="15713" y="379413"/>
                    <a:pt x="15713" y="379413"/>
                    <a:pt x="15713" y="379413"/>
                  </a:cubicBezTo>
                  <a:cubicBezTo>
                    <a:pt x="6428" y="379413"/>
                    <a:pt x="0" y="372197"/>
                    <a:pt x="0" y="363538"/>
                  </a:cubicBezTo>
                  <a:cubicBezTo>
                    <a:pt x="0" y="354879"/>
                    <a:pt x="6428" y="347663"/>
                    <a:pt x="15713" y="347663"/>
                  </a:cubicBezTo>
                  <a:close/>
                  <a:moveTo>
                    <a:pt x="15713" y="231775"/>
                  </a:moveTo>
                  <a:cubicBezTo>
                    <a:pt x="611351" y="231775"/>
                    <a:pt x="611351" y="231775"/>
                    <a:pt x="611351" y="231775"/>
                  </a:cubicBezTo>
                  <a:cubicBezTo>
                    <a:pt x="620635" y="231775"/>
                    <a:pt x="627063" y="238991"/>
                    <a:pt x="627063" y="247650"/>
                  </a:cubicBezTo>
                  <a:cubicBezTo>
                    <a:pt x="627063" y="256309"/>
                    <a:pt x="620635" y="263525"/>
                    <a:pt x="611351" y="263525"/>
                  </a:cubicBezTo>
                  <a:cubicBezTo>
                    <a:pt x="15713" y="263525"/>
                    <a:pt x="15713" y="263525"/>
                    <a:pt x="15713" y="263525"/>
                  </a:cubicBezTo>
                  <a:cubicBezTo>
                    <a:pt x="6428" y="263525"/>
                    <a:pt x="0" y="256309"/>
                    <a:pt x="0" y="247650"/>
                  </a:cubicBezTo>
                  <a:cubicBezTo>
                    <a:pt x="0" y="238991"/>
                    <a:pt x="6428" y="231775"/>
                    <a:pt x="15713" y="231775"/>
                  </a:cubicBezTo>
                  <a:close/>
                  <a:moveTo>
                    <a:pt x="15713" y="115888"/>
                  </a:moveTo>
                  <a:cubicBezTo>
                    <a:pt x="611351" y="115888"/>
                    <a:pt x="611351" y="115888"/>
                    <a:pt x="611351" y="115888"/>
                  </a:cubicBezTo>
                  <a:cubicBezTo>
                    <a:pt x="620635" y="115888"/>
                    <a:pt x="627063" y="122382"/>
                    <a:pt x="627063" y="131763"/>
                  </a:cubicBezTo>
                  <a:cubicBezTo>
                    <a:pt x="627063" y="140422"/>
                    <a:pt x="620635" y="147638"/>
                    <a:pt x="611351" y="147638"/>
                  </a:cubicBezTo>
                  <a:cubicBezTo>
                    <a:pt x="15713" y="147638"/>
                    <a:pt x="15713" y="147638"/>
                    <a:pt x="15713" y="147638"/>
                  </a:cubicBezTo>
                  <a:cubicBezTo>
                    <a:pt x="6428" y="147638"/>
                    <a:pt x="0" y="140422"/>
                    <a:pt x="0" y="131763"/>
                  </a:cubicBezTo>
                  <a:cubicBezTo>
                    <a:pt x="0" y="122382"/>
                    <a:pt x="6428" y="115888"/>
                    <a:pt x="15713" y="115888"/>
                  </a:cubicBezTo>
                  <a:close/>
                  <a:moveTo>
                    <a:pt x="15713" y="0"/>
                  </a:moveTo>
                  <a:cubicBezTo>
                    <a:pt x="611351" y="0"/>
                    <a:pt x="611351" y="0"/>
                    <a:pt x="611351" y="0"/>
                  </a:cubicBezTo>
                  <a:cubicBezTo>
                    <a:pt x="620635" y="0"/>
                    <a:pt x="627063" y="7216"/>
                    <a:pt x="627063" y="15875"/>
                  </a:cubicBezTo>
                  <a:cubicBezTo>
                    <a:pt x="627063" y="24534"/>
                    <a:pt x="620635" y="31750"/>
                    <a:pt x="611351" y="31750"/>
                  </a:cubicBezTo>
                  <a:cubicBezTo>
                    <a:pt x="15713" y="31750"/>
                    <a:pt x="15713" y="31750"/>
                    <a:pt x="15713" y="31750"/>
                  </a:cubicBezTo>
                  <a:cubicBezTo>
                    <a:pt x="6428" y="31750"/>
                    <a:pt x="0" y="24534"/>
                    <a:pt x="0" y="15875"/>
                  </a:cubicBezTo>
                  <a:cubicBezTo>
                    <a:pt x="0" y="7216"/>
                    <a:pt x="6428" y="0"/>
                    <a:pt x="1571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 name="Freeform 8"/>
            <p:cNvSpPr>
              <a:spLocks noEditPoints="1"/>
            </p:cNvSpPr>
            <p:nvPr/>
          </p:nvSpPr>
          <p:spPr bwMode="auto">
            <a:xfrm>
              <a:off x="5641181" y="2825115"/>
              <a:ext cx="909638" cy="1206500"/>
            </a:xfrm>
            <a:custGeom>
              <a:avLst/>
              <a:gdLst>
                <a:gd name="T0" fmla="*/ 1252 w 1274"/>
                <a:gd name="T1" fmla="*/ 0 h 1690"/>
                <a:gd name="T2" fmla="*/ 22 w 1274"/>
                <a:gd name="T3" fmla="*/ 0 h 1690"/>
                <a:gd name="T4" fmla="*/ 0 w 1274"/>
                <a:gd name="T5" fmla="*/ 22 h 1690"/>
                <a:gd name="T6" fmla="*/ 0 w 1274"/>
                <a:gd name="T7" fmla="*/ 1668 h 1690"/>
                <a:gd name="T8" fmla="*/ 22 w 1274"/>
                <a:gd name="T9" fmla="*/ 1690 h 1690"/>
                <a:gd name="T10" fmla="*/ 1252 w 1274"/>
                <a:gd name="T11" fmla="*/ 1690 h 1690"/>
                <a:gd name="T12" fmla="*/ 1274 w 1274"/>
                <a:gd name="T13" fmla="*/ 1668 h 1690"/>
                <a:gd name="T14" fmla="*/ 1274 w 1274"/>
                <a:gd name="T15" fmla="*/ 22 h 1690"/>
                <a:gd name="T16" fmla="*/ 1252 w 1274"/>
                <a:gd name="T17" fmla="*/ 0 h 1690"/>
                <a:gd name="T18" fmla="*/ 1230 w 1274"/>
                <a:gd name="T19" fmla="*/ 1646 h 1690"/>
                <a:gd name="T20" fmla="*/ 44 w 1274"/>
                <a:gd name="T21" fmla="*/ 1646 h 1690"/>
                <a:gd name="T22" fmla="*/ 44 w 1274"/>
                <a:gd name="T23" fmla="*/ 44 h 1690"/>
                <a:gd name="T24" fmla="*/ 1230 w 1274"/>
                <a:gd name="T25" fmla="*/ 44 h 1690"/>
                <a:gd name="T26" fmla="*/ 1230 w 1274"/>
                <a:gd name="T27" fmla="*/ 1646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4" h="1690">
                  <a:moveTo>
                    <a:pt x="1252" y="0"/>
                  </a:moveTo>
                  <a:cubicBezTo>
                    <a:pt x="22" y="0"/>
                    <a:pt x="22" y="0"/>
                    <a:pt x="22" y="0"/>
                  </a:cubicBezTo>
                  <a:cubicBezTo>
                    <a:pt x="10" y="0"/>
                    <a:pt x="0" y="10"/>
                    <a:pt x="0" y="22"/>
                  </a:cubicBezTo>
                  <a:cubicBezTo>
                    <a:pt x="0" y="1668"/>
                    <a:pt x="0" y="1668"/>
                    <a:pt x="0" y="1668"/>
                  </a:cubicBezTo>
                  <a:cubicBezTo>
                    <a:pt x="0" y="1680"/>
                    <a:pt x="10" y="1690"/>
                    <a:pt x="22" y="1690"/>
                  </a:cubicBezTo>
                  <a:cubicBezTo>
                    <a:pt x="1252" y="1690"/>
                    <a:pt x="1252" y="1690"/>
                    <a:pt x="1252" y="1690"/>
                  </a:cubicBezTo>
                  <a:cubicBezTo>
                    <a:pt x="1264" y="1690"/>
                    <a:pt x="1274" y="1680"/>
                    <a:pt x="1274" y="1668"/>
                  </a:cubicBezTo>
                  <a:cubicBezTo>
                    <a:pt x="1274" y="22"/>
                    <a:pt x="1274" y="22"/>
                    <a:pt x="1274" y="22"/>
                  </a:cubicBezTo>
                  <a:cubicBezTo>
                    <a:pt x="1274" y="10"/>
                    <a:pt x="1264" y="0"/>
                    <a:pt x="1252" y="0"/>
                  </a:cubicBezTo>
                  <a:close/>
                  <a:moveTo>
                    <a:pt x="1230" y="1646"/>
                  </a:moveTo>
                  <a:cubicBezTo>
                    <a:pt x="44" y="1646"/>
                    <a:pt x="44" y="1646"/>
                    <a:pt x="44" y="1646"/>
                  </a:cubicBezTo>
                  <a:cubicBezTo>
                    <a:pt x="44" y="44"/>
                    <a:pt x="44" y="44"/>
                    <a:pt x="44" y="44"/>
                  </a:cubicBezTo>
                  <a:cubicBezTo>
                    <a:pt x="1230" y="44"/>
                    <a:pt x="1230" y="44"/>
                    <a:pt x="1230" y="44"/>
                  </a:cubicBezTo>
                  <a:lnTo>
                    <a:pt x="1230" y="164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4" name="TextBox 3">
            <a:extLst>
              <a:ext uri="{FF2B5EF4-FFF2-40B4-BE49-F238E27FC236}">
                <a16:creationId xmlns:a16="http://schemas.microsoft.com/office/drawing/2014/main" id="{C1C0AD37-CCF3-468A-98B5-F34CF1C88E45}"/>
              </a:ext>
            </a:extLst>
          </p:cNvPr>
          <p:cNvSpPr txBox="1"/>
          <p:nvPr/>
        </p:nvSpPr>
        <p:spPr>
          <a:xfrm>
            <a:off x="4448605" y="520464"/>
            <a:ext cx="7104298" cy="38472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lang="en-US" sz="1400" dirty="0">
                <a:solidFill>
                  <a:srgbClr val="575757"/>
                </a:solidFill>
              </a:rPr>
              <a:t>accela project has two applications i.e. Accela, which are analyzed for overall health and open-source risks. </a:t>
            </a:r>
          </a:p>
          <a:p>
            <a:pPr>
              <a:spcAft>
                <a:spcPts val="600"/>
              </a:spcAft>
            </a:pPr>
            <a:r>
              <a:rPr lang="en-US" sz="1400" dirty="0">
                <a:solidFill>
                  <a:srgbClr val="575757"/>
                </a:solidFill>
              </a:rPr>
              <a:t>In terms of software health, applications are medium risk with respect to their overall quality, robustness, changeability &amp; transferability, compared to peers of similar size and age.  Immediate action should be taken to address Efficiency and Security, following a reasonable action plan :</a:t>
            </a:r>
          </a:p>
          <a:p>
            <a:pPr marL="285750" indent="-285750">
              <a:spcAft>
                <a:spcPts val="600"/>
              </a:spcAft>
              <a:buFont typeface="Arial" panose="020B0604020202020204" pitchFamily="34" charset="0"/>
              <a:buChar char="•"/>
            </a:pPr>
            <a:r>
              <a:rPr lang="en-US" sz="1400" dirty="0">
                <a:solidFill>
                  <a:srgbClr val="575757"/>
                </a:solidFill>
              </a:rPr>
              <a:t>Accela – has medium risk with health score of 2.50 out of 4. Application is in the xx quartile out of x,xxx (rank xx) when compared to peers. Application has high risk in  Security (grade 1.63) ,  Efficiency (grade 1.86) health factors .  xx components with critical vulnerabilities in open source and xx priority issues from application health should be reviewed immediately, estimated to be ~xx person days. </a:t>
            </a:r>
          </a:p>
        </p:txBody>
      </p:sp>
      <p:sp>
        <p:nvSpPr>
          <p:cNvPr id="18" name="Title 1">
            <a:extLst>
              <a:ext uri="{FF2B5EF4-FFF2-40B4-BE49-F238E27FC236}">
                <a16:creationId xmlns:a16="http://schemas.microsoft.com/office/drawing/2014/main" id="{AEFE1B7A-8C89-49E9-99B9-C28FF04F35A2}"/>
              </a:ext>
            </a:extLst>
          </p:cNvPr>
          <p:cNvSpPr>
            <a:spLocks noGrp="1"/>
          </p:cNvSpPr>
          <p:nvPr>
            <p:ph type="title" idx="4294967295"/>
          </p:nvPr>
        </p:nvSpPr>
        <p:spPr>
          <a:xfrm>
            <a:off x="484221" y="3030281"/>
            <a:ext cx="3287364" cy="2995718"/>
          </a:xfrm>
          <a:noFill/>
        </p:spPr>
        <p:txBody>
          <a:bodyPr anchor="t"/>
          <a:lstStyle/>
          <a:p>
            <a:r>
              <a:rPr lang="en-US" sz="2400" dirty="0">
                <a:latin typeface="Calibri"/>
                <a:cs typeface="Calibri"/>
              </a:rPr>
              <a:t>Target applications are in medium health. There are xx open-source vulnerabilities and xx health issues from application code that need immediate review.</a:t>
            </a:r>
          </a:p>
        </p:txBody>
      </p:sp>
      <p:sp>
        <p:nvSpPr>
          <p:cNvPr id="16" name="TextBox 15">
            <a:extLst>
              <a:ext uri="{FF2B5EF4-FFF2-40B4-BE49-F238E27FC236}">
                <a16:creationId xmlns:a16="http://schemas.microsoft.com/office/drawing/2014/main" id="{6B0F3529-D812-4B77-8109-49759024D19A}"/>
              </a:ext>
            </a:extLst>
          </p:cNvPr>
          <p:cNvSpPr txBox="1"/>
          <p:nvPr/>
        </p:nvSpPr>
        <p:spPr>
          <a:xfrm>
            <a:off x="4448605" y="4867692"/>
            <a:ext cx="6878156" cy="116955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08000" lvl="1" algn="just">
              <a:buClr>
                <a:schemeClr val="tx2">
                  <a:lumMod val="100000"/>
                </a:schemeClr>
              </a:buClr>
              <a:buSzPct val="100000"/>
            </a:pPr>
            <a:r>
              <a:rPr lang="en-US" sz="1400" dirty="0">
                <a:solidFill>
                  <a:schemeClr val="accent3"/>
                </a:solidFill>
              </a:rPr>
              <a:t>Next steps - </a:t>
            </a:r>
            <a:r>
              <a:rPr lang="en-US" sz="1400" dirty="0">
                <a:solidFill>
                  <a:srgbClr val="575757"/>
                </a:solidFill>
              </a:rPr>
              <a:t>recommended to sustain and solidify improvements</a:t>
            </a:r>
          </a:p>
          <a:p>
            <a:pPr marL="324000" lvl="1" indent="-216000" algn="just">
              <a:buClr>
                <a:schemeClr val="tx2">
                  <a:lumMod val="100000"/>
                </a:schemeClr>
              </a:buClr>
              <a:buSzPct val="100000"/>
              <a:buFont typeface="Trebuchet MS" panose="020B0603020202020204" pitchFamily="34" charset="0"/>
              <a:buChar char="•"/>
            </a:pPr>
            <a:r>
              <a:rPr lang="en-US" sz="1400" dirty="0">
                <a:solidFill>
                  <a:srgbClr val="575757"/>
                </a:solidFill>
              </a:rPr>
              <a:t>Assemble a team to implement the recommended action plan for APP1. In 3 months, re-scan to solidify trending of health measures</a:t>
            </a:r>
          </a:p>
          <a:p>
            <a:pPr marL="324000" lvl="1" indent="-216000" algn="just">
              <a:buClr>
                <a:schemeClr val="tx2">
                  <a:lumMod val="100000"/>
                </a:schemeClr>
              </a:buClr>
              <a:buSzPct val="100000"/>
              <a:buFont typeface="Trebuchet MS" panose="020B0603020202020204" pitchFamily="34" charset="0"/>
              <a:buChar char="•"/>
            </a:pPr>
            <a:r>
              <a:rPr lang="en-US" sz="1400" dirty="0">
                <a:solidFill>
                  <a:srgbClr val="575757"/>
                </a:solidFill>
              </a:rPr>
              <a:t>Establish a Continuous Improvement process and a structural quality gate to prevent health degradation. </a:t>
            </a:r>
          </a:p>
        </p:txBody>
      </p:sp>
      <p:sp>
        <p:nvSpPr>
          <p:cNvPr id="17" name="Rectangle: Rounded Corners 16">
            <a:extLst>
              <a:ext uri="{FF2B5EF4-FFF2-40B4-BE49-F238E27FC236}">
                <a16:creationId xmlns:a16="http://schemas.microsoft.com/office/drawing/2014/main" id="{E0885982-6F6C-4336-BF1B-C4CB8B4470C0}"/>
              </a:ext>
            </a:extLst>
          </p:cNvPr>
          <p:cNvSpPr/>
          <p:nvPr/>
        </p:nvSpPr>
        <p:spPr>
          <a:xfrm>
            <a:off x="4425320" y="4815421"/>
            <a:ext cx="7127583" cy="1270787"/>
          </a:xfrm>
          <a:prstGeom prst="roundRect">
            <a:avLst/>
          </a:prstGeom>
          <a:noFill/>
          <a:ln w="9525" cap="rnd" cmpd="sng" algn="ctr">
            <a:solidFill>
              <a:srgbClr val="FFC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10" name="ZoneTexte 11">
            <a:extLst>
              <a:ext uri="{FF2B5EF4-FFF2-40B4-BE49-F238E27FC236}">
                <a16:creationId xmlns:a16="http://schemas.microsoft.com/office/drawing/2014/main" id="{2BF96B0C-AE7C-40D4-9B0F-D00660686B31}"/>
              </a:ext>
            </a:extLst>
          </p:cNvPr>
          <p:cNvSpPr txBox="1"/>
          <p:nvPr/>
        </p:nvSpPr>
        <p:spPr>
          <a:xfrm>
            <a:off x="0" y="-56876"/>
            <a:ext cx="6489290" cy="353465"/>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Template content – replace </a:t>
            </a:r>
            <a:r>
              <a:rPr lang="en-US" sz="1600" dirty="0" err="1">
                <a:solidFill>
                  <a:srgbClr val="575757"/>
                </a:solidFill>
              </a:rPr>
              <a:t>appmarq</a:t>
            </a:r>
            <a:r>
              <a:rPr lang="en-US" sz="1600" dirty="0">
                <a:solidFill>
                  <a:srgbClr val="575757"/>
                </a:solidFill>
              </a:rPr>
              <a:t> and HL with actuals</a:t>
            </a:r>
            <a:endParaRPr lang="fr-FR" sz="1600" dirty="0">
              <a:solidFill>
                <a:srgbClr val="575757"/>
              </a:solidFill>
            </a:endParaRPr>
          </a:p>
        </p:txBody>
      </p:sp>
      <p:sp>
        <p:nvSpPr>
          <p:cNvPr id="2" name="TextBox 1">
            <a:extLst>
              <a:ext uri="{FF2B5EF4-FFF2-40B4-BE49-F238E27FC236}">
                <a16:creationId xmlns:a16="http://schemas.microsoft.com/office/drawing/2014/main" id="{1ABC383A-2903-4B0A-8C7F-6421116E40A9}"/>
              </a:ext>
            </a:extLst>
          </p:cNvPr>
          <p:cNvSpPr txBox="1"/>
          <p:nvPr/>
        </p:nvSpPr>
        <p:spPr>
          <a:xfrm>
            <a:off x="376066" y="2642133"/>
            <a:ext cx="3287364" cy="3648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ct val="0"/>
              </a:spcBef>
            </a:pPr>
            <a:r>
              <a:rPr lang="en-US" sz="2800" dirty="0">
                <a:solidFill>
                  <a:schemeClr val="bg1"/>
                </a:solidFill>
                <a:latin typeface="Calibri"/>
                <a:ea typeface="+mj-ea"/>
                <a:cs typeface="Calibri"/>
                <a:sym typeface="Trebuchet MS" panose="020B0603020202020204" pitchFamily="34" charset="0"/>
              </a:rPr>
              <a:t>Executive summary</a:t>
            </a:r>
          </a:p>
        </p:txBody>
      </p:sp>
    </p:spTree>
    <p:custDataLst>
      <p:tags r:id="rId1"/>
    </p:custDataLst>
    <p:extLst>
      <p:ext uri="{BB962C8B-B14F-4D97-AF65-F5344CB8AC3E}">
        <p14:creationId xmlns:p14="http://schemas.microsoft.com/office/powerpoint/2010/main" val="1691118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330960"/>
            <a:ext cx="4673646" cy="470898"/>
          </a:xfrm>
        </p:spPr>
        <p:txBody>
          <a:bodyPr/>
          <a:lstStyle/>
          <a:p>
            <a:r>
              <a:rPr lang="en-US" sz="2000"/>
              <a:t>Assessment Approach </a:t>
            </a:r>
            <a:r>
              <a:rPr lang="en-US" sz="2000">
                <a:highlight>
                  <a:srgbClr val="00FF00"/>
                </a:highlight>
              </a:rPr>
              <a:t>@ Vista</a:t>
            </a:r>
          </a:p>
        </p:txBody>
      </p:sp>
      <p:sp>
        <p:nvSpPr>
          <p:cNvPr id="4" name="ee4pContent1"/>
          <p:cNvSpPr txBox="1"/>
          <p:nvPr/>
        </p:nvSpPr>
        <p:spPr>
          <a:xfrm>
            <a:off x="200394" y="2959980"/>
            <a:ext cx="5565813" cy="1184940"/>
          </a:xfrm>
          <a:prstGeom prst="rect">
            <a:avLst/>
          </a:prstGeom>
          <a:ln cap="rnd">
            <a:noFill/>
          </a:ln>
        </p:spPr>
        <p:txBody>
          <a:bodyPr vert="horz" wrap="square" lIns="0" tIns="0" rIns="0" bIns="0" rtlCol="0" anchor="t">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spcAft>
                <a:spcPts val="300"/>
              </a:spcAft>
              <a:buNone/>
            </a:pPr>
            <a:r>
              <a:rPr lang="en-US" sz="1400" u="sng" dirty="0">
                <a:solidFill>
                  <a:srgbClr val="FFFFFF"/>
                </a:solidFill>
                <a:latin typeface="+mn-lt"/>
              </a:rPr>
              <a:t>Application Scope</a:t>
            </a:r>
          </a:p>
          <a:p>
            <a:pPr marL="323850" lvl="1" indent="-215900">
              <a:spcAft>
                <a:spcPts val="300"/>
              </a:spcAft>
              <a:buClr>
                <a:srgbClr val="638DA5"/>
              </a:buClr>
              <a:buFont typeface="Trebuchet MS"/>
              <a:buChar char="•"/>
            </a:pPr>
            <a:r>
              <a:rPr lang="en-US" sz="1400" dirty="0">
                <a:solidFill>
                  <a:srgbClr val="FFFFFF"/>
                </a:solidFill>
                <a:latin typeface="+mn-lt"/>
              </a:rPr>
              <a:t>Accela – .NET, C++, HTML5, JEE, Objective-C, PHP, Python and SQL. </a:t>
            </a:r>
          </a:p>
          <a:p>
            <a:pPr marL="107950" lvl="1" indent="0">
              <a:spcAft>
                <a:spcPts val="300"/>
              </a:spcAft>
              <a:buClr>
                <a:srgbClr val="638DA5"/>
              </a:buClr>
              <a:buNone/>
            </a:pPr>
            <a:endParaRPr lang="en-US" sz="1100" dirty="0">
              <a:solidFill>
                <a:srgbClr val="FFFFFF"/>
              </a:solidFill>
              <a:latin typeface="+mn-lt"/>
            </a:endParaRPr>
          </a:p>
        </p:txBody>
      </p:sp>
      <p:sp>
        <p:nvSpPr>
          <p:cNvPr id="5" name="ee4pContent2"/>
          <p:cNvSpPr txBox="1"/>
          <p:nvPr/>
        </p:nvSpPr>
        <p:spPr>
          <a:xfrm>
            <a:off x="6858405" y="2409876"/>
            <a:ext cx="4857879" cy="387798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400">
                <a:latin typeface="+mn-lt"/>
              </a:rPr>
              <a:t>What is the application’s current state of health according to CAST Software Intelligence Products?</a:t>
            </a:r>
          </a:p>
          <a:p>
            <a:endParaRPr lang="en-US" sz="1400">
              <a:latin typeface="+mn-lt"/>
            </a:endParaRPr>
          </a:p>
          <a:p>
            <a:r>
              <a:rPr lang="en-US" sz="1400">
                <a:highlight>
                  <a:srgbClr val="00FF00"/>
                </a:highlight>
                <a:latin typeface="+mn-lt"/>
              </a:rPr>
              <a:t>Are there critical security risks </a:t>
            </a:r>
            <a:r>
              <a:rPr lang="en-US" sz="1400">
                <a:solidFill>
                  <a:schemeClr val="tx1">
                    <a:lumMod val="100000"/>
                  </a:schemeClr>
                </a:solidFill>
                <a:highlight>
                  <a:srgbClr val="00FF00"/>
                </a:highlight>
              </a:rPr>
              <a:t>including OWASP Top 10 and CWE Top 25 in the application? </a:t>
            </a:r>
          </a:p>
          <a:p>
            <a:endParaRPr lang="en-US" sz="1400">
              <a:solidFill>
                <a:schemeClr val="tx1">
                  <a:lumMod val="100000"/>
                </a:schemeClr>
              </a:solidFill>
              <a:latin typeface="+mn-lt"/>
            </a:endParaRPr>
          </a:p>
          <a:p>
            <a:r>
              <a:rPr lang="en-US" sz="1400">
                <a:latin typeface="+mn-lt"/>
              </a:rPr>
              <a:t>Which areas of the application are critical to fix and which ones can be improved quickly? How large is the effort to fix identified issues?</a:t>
            </a:r>
          </a:p>
          <a:p>
            <a:endParaRPr lang="en-US" sz="1400">
              <a:latin typeface="+mn-lt"/>
            </a:endParaRPr>
          </a:p>
          <a:p>
            <a:r>
              <a:rPr lang="en-US" sz="1400">
                <a:latin typeface="+mn-lt"/>
              </a:rPr>
              <a:t>What is the risk associated with the open-source components used in the applications? </a:t>
            </a:r>
          </a:p>
          <a:p>
            <a:endParaRPr lang="en-US" sz="1400">
              <a:latin typeface="+mn-lt"/>
            </a:endParaRPr>
          </a:p>
          <a:p>
            <a:r>
              <a:rPr lang="en-US" sz="1400">
                <a:latin typeface="+mn-lt"/>
              </a:rPr>
              <a:t>What is the overall technical architecture of the application and are there any architectural risks?</a:t>
            </a:r>
          </a:p>
          <a:p>
            <a:endParaRPr lang="en-US" sz="1400">
              <a:latin typeface="+mn-lt"/>
            </a:endParaRPr>
          </a:p>
          <a:p>
            <a:r>
              <a:rPr lang="en-US" sz="1400">
                <a:latin typeface="+mn-lt"/>
              </a:rPr>
              <a:t>How does the application compare to peer applications in the industry?</a:t>
            </a:r>
          </a:p>
        </p:txBody>
      </p:sp>
      <p:sp>
        <p:nvSpPr>
          <p:cNvPr id="6" name="ee4pHeader1"/>
          <p:cNvSpPr txBox="1"/>
          <p:nvPr/>
        </p:nvSpPr>
        <p:spPr>
          <a:xfrm>
            <a:off x="200394" y="1917008"/>
            <a:ext cx="5811299" cy="923024"/>
          </a:xfrm>
          <a:prstGeom prst="rect">
            <a:avLst/>
          </a:prstGeom>
          <a:noFill/>
          <a:ln cap="rnd">
            <a:noFill/>
          </a:ln>
        </p:spPr>
        <p:txBody>
          <a:bodyPr wrap="square" lIns="0" tIns="0" rIns="0" bIns="0" rtlCol="0" anchor="b" anchorCtr="0">
            <a:noAutofit/>
          </a:bodyPr>
          <a:lstStyle/>
          <a:p>
            <a:pPr marL="0" lvl="3"/>
            <a:r>
              <a:rPr lang="en-US" sz="2000" dirty="0">
                <a:solidFill>
                  <a:schemeClr val="accent4"/>
                </a:solidFill>
                <a:latin typeface="+mj-lt"/>
                <a:sym typeface="Trebuchet MS" panose="020B0603020202020204" pitchFamily="34" charset="0"/>
              </a:rPr>
              <a:t>Automated, objective assessment of the structural and architectural quality of applicatio</a:t>
            </a:r>
            <a:r>
              <a:rPr lang="en-US" sz="2000" dirty="0">
                <a:solidFill>
                  <a:schemeClr val="accent4"/>
                </a:solidFill>
                <a:latin typeface="+mj-lt"/>
              </a:rPr>
              <a:t>ns to be acquired.</a:t>
            </a:r>
          </a:p>
        </p:txBody>
      </p:sp>
      <p:sp>
        <p:nvSpPr>
          <p:cNvPr id="7" name="ee4pHeader2"/>
          <p:cNvSpPr txBox="1"/>
          <p:nvPr/>
        </p:nvSpPr>
        <p:spPr>
          <a:xfrm>
            <a:off x="6858405" y="1948363"/>
            <a:ext cx="4692500" cy="306268"/>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mj-lt"/>
              </a:rPr>
              <a:t>Answers for today </a:t>
            </a:r>
          </a:p>
        </p:txBody>
      </p:sp>
      <p:grpSp>
        <p:nvGrpSpPr>
          <p:cNvPr id="23" name="Group 22"/>
          <p:cNvGrpSpPr/>
          <p:nvPr/>
        </p:nvGrpSpPr>
        <p:grpSpPr>
          <a:xfrm>
            <a:off x="417772" y="633330"/>
            <a:ext cx="1211500" cy="1211500"/>
            <a:chOff x="630000" y="1591967"/>
            <a:chExt cx="1211500" cy="1211500"/>
          </a:xfrm>
        </p:grpSpPr>
        <p:sp>
          <p:nvSpPr>
            <p:cNvPr id="8" name="Oval 7"/>
            <p:cNvSpPr/>
            <p:nvPr/>
          </p:nvSpPr>
          <p:spPr>
            <a:xfrm>
              <a:off x="630000" y="1591967"/>
              <a:ext cx="1211500" cy="121150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endParaRPr>
            </a:p>
          </p:txBody>
        </p:sp>
        <p:grpSp>
          <p:nvGrpSpPr>
            <p:cNvPr id="10" name="bcgIcons_DigitalGrowth">
              <a:extLst>
                <a:ext uri="{FF2B5EF4-FFF2-40B4-BE49-F238E27FC236}">
                  <a16:creationId xmlns:a16="http://schemas.microsoft.com/office/drawing/2014/main" id="{CC6AF3DC-4362-463B-8BF3-FA97E6C8BAEC}"/>
                </a:ext>
              </a:extLst>
            </p:cNvPr>
            <p:cNvGrpSpPr>
              <a:grpSpLocks noChangeAspect="1"/>
            </p:cNvGrpSpPr>
            <p:nvPr/>
          </p:nvGrpSpPr>
          <p:grpSpPr bwMode="auto">
            <a:xfrm>
              <a:off x="650662" y="1675109"/>
              <a:ext cx="1127312" cy="1128358"/>
              <a:chOff x="1682" y="0"/>
              <a:chExt cx="4316" cy="4320"/>
            </a:xfrm>
          </p:grpSpPr>
          <p:sp>
            <p:nvSpPr>
              <p:cNvPr id="11" name="AutoShape 19">
                <a:extLst>
                  <a:ext uri="{FF2B5EF4-FFF2-40B4-BE49-F238E27FC236}">
                    <a16:creationId xmlns:a16="http://schemas.microsoft.com/office/drawing/2014/main" id="{841594D9-E815-4368-AC56-677E0B2B65F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1">
                <a:extLst>
                  <a:ext uri="{FF2B5EF4-FFF2-40B4-BE49-F238E27FC236}">
                    <a16:creationId xmlns:a16="http://schemas.microsoft.com/office/drawing/2014/main" id="{EEA49B44-169A-4E61-98CF-BF2B6A1757B5}"/>
                  </a:ext>
                </a:extLst>
              </p:cNvPr>
              <p:cNvSpPr>
                <a:spLocks/>
              </p:cNvSpPr>
              <p:nvPr/>
            </p:nvSpPr>
            <p:spPr bwMode="auto">
              <a:xfrm>
                <a:off x="2326" y="587"/>
                <a:ext cx="3095" cy="3099"/>
              </a:xfrm>
              <a:custGeom>
                <a:avLst/>
                <a:gdLst>
                  <a:gd name="T0" fmla="*/ 1526 w 1652"/>
                  <a:gd name="T1" fmla="*/ 1 h 1653"/>
                  <a:gd name="T2" fmla="*/ 1253 w 1652"/>
                  <a:gd name="T3" fmla="*/ 586 h 1653"/>
                  <a:gd name="T4" fmla="*/ 1343 w 1652"/>
                  <a:gd name="T5" fmla="*/ 307 h 1653"/>
                  <a:gd name="T6" fmla="*/ 1545 w 1652"/>
                  <a:gd name="T7" fmla="*/ 307 h 1653"/>
                  <a:gd name="T8" fmla="*/ 1444 w 1652"/>
                  <a:gd name="T9" fmla="*/ 551 h 1653"/>
                  <a:gd name="T10" fmla="*/ 1271 w 1652"/>
                  <a:gd name="T11" fmla="*/ 630 h 1653"/>
                  <a:gd name="T12" fmla="*/ 544 w 1652"/>
                  <a:gd name="T13" fmla="*/ 983 h 1653"/>
                  <a:gd name="T14" fmla="*/ 429 w 1652"/>
                  <a:gd name="T15" fmla="*/ 1210 h 1653"/>
                  <a:gd name="T16" fmla="*/ 286 w 1652"/>
                  <a:gd name="T17" fmla="*/ 1067 h 1653"/>
                  <a:gd name="T18" fmla="*/ 429 w 1652"/>
                  <a:gd name="T19" fmla="*/ 924 h 1653"/>
                  <a:gd name="T20" fmla="*/ 1463 w 1652"/>
                  <a:gd name="T21" fmla="*/ 1 h 1653"/>
                  <a:gd name="T22" fmla="*/ 869 w 1652"/>
                  <a:gd name="T23" fmla="*/ 41 h 1653"/>
                  <a:gd name="T24" fmla="*/ 764 w 1652"/>
                  <a:gd name="T25" fmla="*/ 275 h 1653"/>
                  <a:gd name="T26" fmla="*/ 0 w 1652"/>
                  <a:gd name="T27" fmla="*/ 962 h 1653"/>
                  <a:gd name="T28" fmla="*/ 139 w 1652"/>
                  <a:gd name="T29" fmla="*/ 1157 h 1653"/>
                  <a:gd name="T30" fmla="*/ 495 w 1652"/>
                  <a:gd name="T31" fmla="*/ 579 h 1653"/>
                  <a:gd name="T32" fmla="*/ 510 w 1652"/>
                  <a:gd name="T33" fmla="*/ 394 h 1653"/>
                  <a:gd name="T34" fmla="*/ 712 w 1652"/>
                  <a:gd name="T35" fmla="*/ 596 h 1653"/>
                  <a:gd name="T36" fmla="*/ 527 w 1652"/>
                  <a:gd name="T37" fmla="*/ 610 h 1653"/>
                  <a:gd name="T38" fmla="*/ 186 w 1652"/>
                  <a:gd name="T39" fmla="*/ 1172 h 1653"/>
                  <a:gd name="T40" fmla="*/ 691 w 1652"/>
                  <a:gd name="T41" fmla="*/ 1653 h 1653"/>
                  <a:gd name="T42" fmla="*/ 955 w 1652"/>
                  <a:gd name="T43" fmla="*/ 1412 h 1653"/>
                  <a:gd name="T44" fmla="*/ 769 w 1652"/>
                  <a:gd name="T45" fmla="*/ 1338 h 1653"/>
                  <a:gd name="T46" fmla="*/ 627 w 1652"/>
                  <a:gd name="T47" fmla="*/ 1195 h 1653"/>
                  <a:gd name="T48" fmla="*/ 870 w 1652"/>
                  <a:gd name="T49" fmla="*/ 1094 h 1653"/>
                  <a:gd name="T50" fmla="*/ 973 w 1652"/>
                  <a:gd name="T51" fmla="*/ 1367 h 1653"/>
                  <a:gd name="T52" fmla="*/ 1346 w 1652"/>
                  <a:gd name="T53" fmla="*/ 1183 h 1653"/>
                  <a:gd name="T54" fmla="*/ 1072 w 1652"/>
                  <a:gd name="T55" fmla="*/ 1091 h 1653"/>
                  <a:gd name="T56" fmla="*/ 887 w 1652"/>
                  <a:gd name="T57" fmla="*/ 1077 h 1653"/>
                  <a:gd name="T58" fmla="*/ 1089 w 1652"/>
                  <a:gd name="T59" fmla="*/ 875 h 1653"/>
                  <a:gd name="T60" fmla="*/ 1192 w 1652"/>
                  <a:gd name="T61" fmla="*/ 1148 h 1653"/>
                  <a:gd name="T62" fmla="*/ 1382 w 1652"/>
                  <a:gd name="T63" fmla="*/ 962 h 1653"/>
                  <a:gd name="T64" fmla="*/ 1546 w 1652"/>
                  <a:gd name="T65" fmla="*/ 718 h 1653"/>
                  <a:gd name="T66" fmla="*/ 1649 w 1652"/>
                  <a:gd name="T67" fmla="*/ 768 h 1653"/>
                  <a:gd name="T68" fmla="*/ 1629 w 1652"/>
                  <a:gd name="T69" fmla="*/ 0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52" h="1653">
                    <a:moveTo>
                      <a:pt x="1629" y="0"/>
                    </a:moveTo>
                    <a:cubicBezTo>
                      <a:pt x="1526" y="1"/>
                      <a:pt x="1526" y="1"/>
                      <a:pt x="1526" y="1"/>
                    </a:cubicBezTo>
                    <a:cubicBezTo>
                      <a:pt x="941" y="586"/>
                      <a:pt x="941" y="586"/>
                      <a:pt x="941" y="586"/>
                    </a:cubicBezTo>
                    <a:cubicBezTo>
                      <a:pt x="1253" y="586"/>
                      <a:pt x="1253" y="586"/>
                      <a:pt x="1253" y="586"/>
                    </a:cubicBezTo>
                    <a:cubicBezTo>
                      <a:pt x="1337" y="502"/>
                      <a:pt x="1337" y="502"/>
                      <a:pt x="1337" y="502"/>
                    </a:cubicBezTo>
                    <a:cubicBezTo>
                      <a:pt x="1287" y="446"/>
                      <a:pt x="1290" y="361"/>
                      <a:pt x="1343" y="307"/>
                    </a:cubicBezTo>
                    <a:cubicBezTo>
                      <a:pt x="1343" y="307"/>
                      <a:pt x="1343" y="307"/>
                      <a:pt x="1343" y="307"/>
                    </a:cubicBezTo>
                    <a:cubicBezTo>
                      <a:pt x="1399" y="252"/>
                      <a:pt x="1489" y="252"/>
                      <a:pt x="1545" y="307"/>
                    </a:cubicBezTo>
                    <a:cubicBezTo>
                      <a:pt x="1600" y="363"/>
                      <a:pt x="1600" y="454"/>
                      <a:pt x="1545" y="509"/>
                    </a:cubicBezTo>
                    <a:cubicBezTo>
                      <a:pt x="1517" y="537"/>
                      <a:pt x="1480" y="551"/>
                      <a:pt x="1444" y="551"/>
                    </a:cubicBezTo>
                    <a:cubicBezTo>
                      <a:pt x="1418" y="551"/>
                      <a:pt x="1393" y="544"/>
                      <a:pt x="1370" y="531"/>
                    </a:cubicBezTo>
                    <a:cubicBezTo>
                      <a:pt x="1271" y="630"/>
                      <a:pt x="1271" y="630"/>
                      <a:pt x="1271" y="630"/>
                    </a:cubicBezTo>
                    <a:cubicBezTo>
                      <a:pt x="897" y="630"/>
                      <a:pt x="897" y="630"/>
                      <a:pt x="897" y="630"/>
                    </a:cubicBezTo>
                    <a:cubicBezTo>
                      <a:pt x="544" y="983"/>
                      <a:pt x="544" y="983"/>
                      <a:pt x="544" y="983"/>
                    </a:cubicBezTo>
                    <a:cubicBezTo>
                      <a:pt x="585" y="1039"/>
                      <a:pt x="580" y="1117"/>
                      <a:pt x="530" y="1168"/>
                    </a:cubicBezTo>
                    <a:cubicBezTo>
                      <a:pt x="503" y="1195"/>
                      <a:pt x="467" y="1210"/>
                      <a:pt x="429" y="1210"/>
                    </a:cubicBezTo>
                    <a:cubicBezTo>
                      <a:pt x="391" y="1210"/>
                      <a:pt x="355" y="1195"/>
                      <a:pt x="328" y="1168"/>
                    </a:cubicBezTo>
                    <a:cubicBezTo>
                      <a:pt x="301" y="1141"/>
                      <a:pt x="286" y="1105"/>
                      <a:pt x="286" y="1067"/>
                    </a:cubicBezTo>
                    <a:cubicBezTo>
                      <a:pt x="286" y="1029"/>
                      <a:pt x="301" y="993"/>
                      <a:pt x="328" y="966"/>
                    </a:cubicBezTo>
                    <a:cubicBezTo>
                      <a:pt x="355" y="939"/>
                      <a:pt x="391" y="924"/>
                      <a:pt x="429" y="924"/>
                    </a:cubicBezTo>
                    <a:cubicBezTo>
                      <a:pt x="459" y="924"/>
                      <a:pt x="489" y="934"/>
                      <a:pt x="513" y="952"/>
                    </a:cubicBezTo>
                    <a:cubicBezTo>
                      <a:pt x="1463" y="1"/>
                      <a:pt x="1463" y="1"/>
                      <a:pt x="1463" y="1"/>
                    </a:cubicBezTo>
                    <a:cubicBezTo>
                      <a:pt x="884" y="3"/>
                      <a:pt x="884" y="3"/>
                      <a:pt x="884" y="3"/>
                    </a:cubicBezTo>
                    <a:cubicBezTo>
                      <a:pt x="865" y="3"/>
                      <a:pt x="855" y="27"/>
                      <a:pt x="869" y="41"/>
                    </a:cubicBezTo>
                    <a:cubicBezTo>
                      <a:pt x="933" y="106"/>
                      <a:pt x="933" y="106"/>
                      <a:pt x="933" y="106"/>
                    </a:cubicBezTo>
                    <a:cubicBezTo>
                      <a:pt x="764" y="275"/>
                      <a:pt x="764" y="275"/>
                      <a:pt x="764" y="275"/>
                    </a:cubicBezTo>
                    <a:cubicBezTo>
                      <a:pt x="740" y="273"/>
                      <a:pt x="716" y="272"/>
                      <a:pt x="691" y="272"/>
                    </a:cubicBezTo>
                    <a:cubicBezTo>
                      <a:pt x="310" y="272"/>
                      <a:pt x="0" y="581"/>
                      <a:pt x="0" y="962"/>
                    </a:cubicBezTo>
                    <a:cubicBezTo>
                      <a:pt x="0" y="1060"/>
                      <a:pt x="21" y="1153"/>
                      <a:pt x="58" y="1238"/>
                    </a:cubicBezTo>
                    <a:cubicBezTo>
                      <a:pt x="139" y="1157"/>
                      <a:pt x="139" y="1157"/>
                      <a:pt x="139" y="1157"/>
                    </a:cubicBezTo>
                    <a:cubicBezTo>
                      <a:pt x="111" y="964"/>
                      <a:pt x="111" y="964"/>
                      <a:pt x="111" y="964"/>
                    </a:cubicBezTo>
                    <a:cubicBezTo>
                      <a:pt x="495" y="579"/>
                      <a:pt x="495" y="579"/>
                      <a:pt x="495" y="579"/>
                    </a:cubicBezTo>
                    <a:cubicBezTo>
                      <a:pt x="478" y="555"/>
                      <a:pt x="468" y="526"/>
                      <a:pt x="468" y="495"/>
                    </a:cubicBezTo>
                    <a:cubicBezTo>
                      <a:pt x="468" y="457"/>
                      <a:pt x="483" y="421"/>
                      <a:pt x="510" y="394"/>
                    </a:cubicBezTo>
                    <a:cubicBezTo>
                      <a:pt x="565" y="339"/>
                      <a:pt x="656" y="339"/>
                      <a:pt x="712" y="394"/>
                    </a:cubicBezTo>
                    <a:cubicBezTo>
                      <a:pt x="767" y="450"/>
                      <a:pt x="767" y="540"/>
                      <a:pt x="712" y="596"/>
                    </a:cubicBezTo>
                    <a:cubicBezTo>
                      <a:pt x="684" y="624"/>
                      <a:pt x="647" y="638"/>
                      <a:pt x="611" y="638"/>
                    </a:cubicBezTo>
                    <a:cubicBezTo>
                      <a:pt x="581" y="638"/>
                      <a:pt x="552" y="629"/>
                      <a:pt x="527" y="610"/>
                    </a:cubicBezTo>
                    <a:cubicBezTo>
                      <a:pt x="157" y="980"/>
                      <a:pt x="157" y="980"/>
                      <a:pt x="157" y="980"/>
                    </a:cubicBezTo>
                    <a:cubicBezTo>
                      <a:pt x="186" y="1172"/>
                      <a:pt x="186" y="1172"/>
                      <a:pt x="186" y="1172"/>
                    </a:cubicBezTo>
                    <a:cubicBezTo>
                      <a:pt x="78" y="1280"/>
                      <a:pt x="78" y="1280"/>
                      <a:pt x="78" y="1280"/>
                    </a:cubicBezTo>
                    <a:cubicBezTo>
                      <a:pt x="193" y="1501"/>
                      <a:pt x="425" y="1653"/>
                      <a:pt x="691" y="1653"/>
                    </a:cubicBezTo>
                    <a:cubicBezTo>
                      <a:pt x="905" y="1653"/>
                      <a:pt x="1097" y="1555"/>
                      <a:pt x="1223" y="1402"/>
                    </a:cubicBezTo>
                    <a:cubicBezTo>
                      <a:pt x="955" y="1412"/>
                      <a:pt x="955" y="1412"/>
                      <a:pt x="955" y="1412"/>
                    </a:cubicBezTo>
                    <a:cubicBezTo>
                      <a:pt x="853" y="1310"/>
                      <a:pt x="853" y="1310"/>
                      <a:pt x="853" y="1310"/>
                    </a:cubicBezTo>
                    <a:cubicBezTo>
                      <a:pt x="828" y="1328"/>
                      <a:pt x="799" y="1338"/>
                      <a:pt x="769" y="1338"/>
                    </a:cubicBezTo>
                    <a:cubicBezTo>
                      <a:pt x="733" y="1338"/>
                      <a:pt x="696" y="1324"/>
                      <a:pt x="668" y="1296"/>
                    </a:cubicBezTo>
                    <a:cubicBezTo>
                      <a:pt x="641" y="1269"/>
                      <a:pt x="627" y="1233"/>
                      <a:pt x="627" y="1195"/>
                    </a:cubicBezTo>
                    <a:cubicBezTo>
                      <a:pt x="627" y="1157"/>
                      <a:pt x="641" y="1121"/>
                      <a:pt x="668" y="1094"/>
                    </a:cubicBezTo>
                    <a:cubicBezTo>
                      <a:pt x="724" y="1038"/>
                      <a:pt x="815" y="1038"/>
                      <a:pt x="870" y="1094"/>
                    </a:cubicBezTo>
                    <a:cubicBezTo>
                      <a:pt x="920" y="1144"/>
                      <a:pt x="925" y="1223"/>
                      <a:pt x="884" y="1279"/>
                    </a:cubicBezTo>
                    <a:cubicBezTo>
                      <a:pt x="973" y="1367"/>
                      <a:pt x="973" y="1367"/>
                      <a:pt x="973" y="1367"/>
                    </a:cubicBezTo>
                    <a:cubicBezTo>
                      <a:pt x="1258" y="1357"/>
                      <a:pt x="1258" y="1357"/>
                      <a:pt x="1258" y="1357"/>
                    </a:cubicBezTo>
                    <a:cubicBezTo>
                      <a:pt x="1295" y="1304"/>
                      <a:pt x="1324" y="1246"/>
                      <a:pt x="1346" y="1183"/>
                    </a:cubicBezTo>
                    <a:cubicBezTo>
                      <a:pt x="1175" y="1193"/>
                      <a:pt x="1175" y="1193"/>
                      <a:pt x="1175" y="1193"/>
                    </a:cubicBezTo>
                    <a:cubicBezTo>
                      <a:pt x="1072" y="1091"/>
                      <a:pt x="1072" y="1091"/>
                      <a:pt x="1072" y="1091"/>
                    </a:cubicBezTo>
                    <a:cubicBezTo>
                      <a:pt x="1048" y="1109"/>
                      <a:pt x="1019" y="1119"/>
                      <a:pt x="988" y="1119"/>
                    </a:cubicBezTo>
                    <a:cubicBezTo>
                      <a:pt x="950" y="1119"/>
                      <a:pt x="914" y="1104"/>
                      <a:pt x="887" y="1077"/>
                    </a:cubicBezTo>
                    <a:cubicBezTo>
                      <a:pt x="832" y="1021"/>
                      <a:pt x="832" y="931"/>
                      <a:pt x="887" y="875"/>
                    </a:cubicBezTo>
                    <a:cubicBezTo>
                      <a:pt x="943" y="819"/>
                      <a:pt x="1034" y="819"/>
                      <a:pt x="1089" y="875"/>
                    </a:cubicBezTo>
                    <a:cubicBezTo>
                      <a:pt x="1139" y="925"/>
                      <a:pt x="1144" y="1004"/>
                      <a:pt x="1104" y="1060"/>
                    </a:cubicBezTo>
                    <a:cubicBezTo>
                      <a:pt x="1192" y="1148"/>
                      <a:pt x="1192" y="1148"/>
                      <a:pt x="1192" y="1148"/>
                    </a:cubicBezTo>
                    <a:cubicBezTo>
                      <a:pt x="1359" y="1139"/>
                      <a:pt x="1359" y="1139"/>
                      <a:pt x="1359" y="1139"/>
                    </a:cubicBezTo>
                    <a:cubicBezTo>
                      <a:pt x="1374" y="1082"/>
                      <a:pt x="1382" y="1023"/>
                      <a:pt x="1382" y="962"/>
                    </a:cubicBezTo>
                    <a:cubicBezTo>
                      <a:pt x="1382" y="937"/>
                      <a:pt x="1380" y="912"/>
                      <a:pt x="1378" y="887"/>
                    </a:cubicBezTo>
                    <a:cubicBezTo>
                      <a:pt x="1546" y="718"/>
                      <a:pt x="1546" y="718"/>
                      <a:pt x="1546" y="718"/>
                    </a:cubicBezTo>
                    <a:cubicBezTo>
                      <a:pt x="1611" y="783"/>
                      <a:pt x="1611" y="783"/>
                      <a:pt x="1611" y="783"/>
                    </a:cubicBezTo>
                    <a:cubicBezTo>
                      <a:pt x="1625" y="797"/>
                      <a:pt x="1648" y="787"/>
                      <a:pt x="1649" y="768"/>
                    </a:cubicBezTo>
                    <a:cubicBezTo>
                      <a:pt x="1651" y="23"/>
                      <a:pt x="1651" y="23"/>
                      <a:pt x="1651" y="23"/>
                    </a:cubicBezTo>
                    <a:cubicBezTo>
                      <a:pt x="1652" y="10"/>
                      <a:pt x="1642" y="0"/>
                      <a:pt x="1629"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22">
                <a:extLst>
                  <a:ext uri="{FF2B5EF4-FFF2-40B4-BE49-F238E27FC236}">
                    <a16:creationId xmlns:a16="http://schemas.microsoft.com/office/drawing/2014/main" id="{31A2DC10-BEF7-44EC-B0FC-1DB94D57B7E8}"/>
                  </a:ext>
                </a:extLst>
              </p:cNvPr>
              <p:cNvSpPr>
                <a:spLocks noEditPoints="1"/>
              </p:cNvSpPr>
              <p:nvPr/>
            </p:nvSpPr>
            <p:spPr bwMode="auto">
              <a:xfrm>
                <a:off x="2162" y="932"/>
                <a:ext cx="3072" cy="2919"/>
              </a:xfrm>
              <a:custGeom>
                <a:avLst/>
                <a:gdLst>
                  <a:gd name="T0" fmla="*/ 1553 w 1640"/>
                  <a:gd name="T1" fmla="*/ 688 h 1557"/>
                  <a:gd name="T2" fmla="*/ 1558 w 1640"/>
                  <a:gd name="T3" fmla="*/ 778 h 1557"/>
                  <a:gd name="T4" fmla="*/ 779 w 1640"/>
                  <a:gd name="T5" fmla="*/ 1557 h 1557"/>
                  <a:gd name="T6" fmla="*/ 0 w 1640"/>
                  <a:gd name="T7" fmla="*/ 778 h 1557"/>
                  <a:gd name="T8" fmla="*/ 779 w 1640"/>
                  <a:gd name="T9" fmla="*/ 0 h 1557"/>
                  <a:gd name="T10" fmla="*/ 867 w 1640"/>
                  <a:gd name="T11" fmla="*/ 5 h 1557"/>
                  <a:gd name="T12" fmla="*/ 826 w 1640"/>
                  <a:gd name="T13" fmla="*/ 45 h 1557"/>
                  <a:gd name="T14" fmla="*/ 779 w 1640"/>
                  <a:gd name="T15" fmla="*/ 44 h 1557"/>
                  <a:gd name="T16" fmla="*/ 44 w 1640"/>
                  <a:gd name="T17" fmla="*/ 778 h 1557"/>
                  <a:gd name="T18" fmla="*/ 779 w 1640"/>
                  <a:gd name="T19" fmla="*/ 1513 h 1557"/>
                  <a:gd name="T20" fmla="*/ 1514 w 1640"/>
                  <a:gd name="T21" fmla="*/ 778 h 1557"/>
                  <a:gd name="T22" fmla="*/ 1512 w 1640"/>
                  <a:gd name="T23" fmla="*/ 728 h 1557"/>
                  <a:gd name="T24" fmla="*/ 1553 w 1640"/>
                  <a:gd name="T25" fmla="*/ 688 h 1557"/>
                  <a:gd name="T26" fmla="*/ 517 w 1640"/>
                  <a:gd name="T27" fmla="*/ 784 h 1557"/>
                  <a:gd name="T28" fmla="*/ 447 w 1640"/>
                  <a:gd name="T29" fmla="*/ 813 h 1557"/>
                  <a:gd name="T30" fmla="*/ 447 w 1640"/>
                  <a:gd name="T31" fmla="*/ 813 h 1557"/>
                  <a:gd name="T32" fmla="*/ 418 w 1640"/>
                  <a:gd name="T33" fmla="*/ 883 h 1557"/>
                  <a:gd name="T34" fmla="*/ 447 w 1640"/>
                  <a:gd name="T35" fmla="*/ 953 h 1557"/>
                  <a:gd name="T36" fmla="*/ 517 w 1640"/>
                  <a:gd name="T37" fmla="*/ 982 h 1557"/>
                  <a:gd name="T38" fmla="*/ 586 w 1640"/>
                  <a:gd name="T39" fmla="*/ 953 h 1557"/>
                  <a:gd name="T40" fmla="*/ 586 w 1640"/>
                  <a:gd name="T41" fmla="*/ 813 h 1557"/>
                  <a:gd name="T42" fmla="*/ 517 w 1640"/>
                  <a:gd name="T43" fmla="*/ 784 h 1557"/>
                  <a:gd name="T44" fmla="*/ 699 w 1640"/>
                  <a:gd name="T45" fmla="*/ 213 h 1557"/>
                  <a:gd name="T46" fmla="*/ 629 w 1640"/>
                  <a:gd name="T47" fmla="*/ 241 h 1557"/>
                  <a:gd name="T48" fmla="*/ 600 w 1640"/>
                  <a:gd name="T49" fmla="*/ 311 h 1557"/>
                  <a:gd name="T50" fmla="*/ 629 w 1640"/>
                  <a:gd name="T51" fmla="*/ 381 h 1557"/>
                  <a:gd name="T52" fmla="*/ 768 w 1640"/>
                  <a:gd name="T53" fmla="*/ 381 h 1557"/>
                  <a:gd name="T54" fmla="*/ 768 w 1640"/>
                  <a:gd name="T55" fmla="*/ 241 h 1557"/>
                  <a:gd name="T56" fmla="*/ 699 w 1640"/>
                  <a:gd name="T57" fmla="*/ 213 h 1557"/>
                  <a:gd name="T58" fmla="*/ 857 w 1640"/>
                  <a:gd name="T59" fmla="*/ 912 h 1557"/>
                  <a:gd name="T60" fmla="*/ 787 w 1640"/>
                  <a:gd name="T61" fmla="*/ 941 h 1557"/>
                  <a:gd name="T62" fmla="*/ 759 w 1640"/>
                  <a:gd name="T63" fmla="*/ 1011 h 1557"/>
                  <a:gd name="T64" fmla="*/ 787 w 1640"/>
                  <a:gd name="T65" fmla="*/ 1081 h 1557"/>
                  <a:gd name="T66" fmla="*/ 927 w 1640"/>
                  <a:gd name="T67" fmla="*/ 1081 h 1557"/>
                  <a:gd name="T68" fmla="*/ 927 w 1640"/>
                  <a:gd name="T69" fmla="*/ 941 h 1557"/>
                  <a:gd name="T70" fmla="*/ 857 w 1640"/>
                  <a:gd name="T71" fmla="*/ 912 h 1557"/>
                  <a:gd name="T72" fmla="*/ 1076 w 1640"/>
                  <a:gd name="T73" fmla="*/ 693 h 1557"/>
                  <a:gd name="T74" fmla="*/ 1007 w 1640"/>
                  <a:gd name="T75" fmla="*/ 722 h 1557"/>
                  <a:gd name="T76" fmla="*/ 1007 w 1640"/>
                  <a:gd name="T77" fmla="*/ 862 h 1557"/>
                  <a:gd name="T78" fmla="*/ 1146 w 1640"/>
                  <a:gd name="T79" fmla="*/ 862 h 1557"/>
                  <a:gd name="T80" fmla="*/ 1146 w 1640"/>
                  <a:gd name="T81" fmla="*/ 722 h 1557"/>
                  <a:gd name="T82" fmla="*/ 1076 w 1640"/>
                  <a:gd name="T83" fmla="*/ 693 h 1557"/>
                  <a:gd name="T84" fmla="*/ 1462 w 1640"/>
                  <a:gd name="T85" fmla="*/ 155 h 1557"/>
                  <a:gd name="T86" fmla="*/ 1462 w 1640"/>
                  <a:gd name="T87" fmla="*/ 294 h 1557"/>
                  <a:gd name="T88" fmla="*/ 1602 w 1640"/>
                  <a:gd name="T89" fmla="*/ 294 h 1557"/>
                  <a:gd name="T90" fmla="*/ 1602 w 1640"/>
                  <a:gd name="T91" fmla="*/ 155 h 1557"/>
                  <a:gd name="T92" fmla="*/ 1462 w 1640"/>
                  <a:gd name="T93" fmla="*/ 155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0" h="1557">
                    <a:moveTo>
                      <a:pt x="1553" y="688"/>
                    </a:moveTo>
                    <a:cubicBezTo>
                      <a:pt x="1556" y="718"/>
                      <a:pt x="1558" y="748"/>
                      <a:pt x="1558" y="778"/>
                    </a:cubicBezTo>
                    <a:cubicBezTo>
                      <a:pt x="1558" y="1208"/>
                      <a:pt x="1208" y="1557"/>
                      <a:pt x="779" y="1557"/>
                    </a:cubicBezTo>
                    <a:cubicBezTo>
                      <a:pt x="350" y="1557"/>
                      <a:pt x="0" y="1208"/>
                      <a:pt x="0" y="778"/>
                    </a:cubicBezTo>
                    <a:cubicBezTo>
                      <a:pt x="0" y="349"/>
                      <a:pt x="350" y="0"/>
                      <a:pt x="779" y="0"/>
                    </a:cubicBezTo>
                    <a:cubicBezTo>
                      <a:pt x="809" y="0"/>
                      <a:pt x="838" y="1"/>
                      <a:pt x="867" y="5"/>
                    </a:cubicBezTo>
                    <a:cubicBezTo>
                      <a:pt x="826" y="45"/>
                      <a:pt x="826" y="45"/>
                      <a:pt x="826" y="45"/>
                    </a:cubicBezTo>
                    <a:cubicBezTo>
                      <a:pt x="811" y="44"/>
                      <a:pt x="795" y="44"/>
                      <a:pt x="779" y="44"/>
                    </a:cubicBezTo>
                    <a:cubicBezTo>
                      <a:pt x="374" y="44"/>
                      <a:pt x="44" y="373"/>
                      <a:pt x="44" y="778"/>
                    </a:cubicBezTo>
                    <a:cubicBezTo>
                      <a:pt x="44" y="1183"/>
                      <a:pt x="374" y="1513"/>
                      <a:pt x="779" y="1513"/>
                    </a:cubicBezTo>
                    <a:cubicBezTo>
                      <a:pt x="1184" y="1513"/>
                      <a:pt x="1514" y="1183"/>
                      <a:pt x="1514" y="778"/>
                    </a:cubicBezTo>
                    <a:cubicBezTo>
                      <a:pt x="1514" y="762"/>
                      <a:pt x="1513" y="745"/>
                      <a:pt x="1512" y="728"/>
                    </a:cubicBezTo>
                    <a:lnTo>
                      <a:pt x="1553" y="688"/>
                    </a:lnTo>
                    <a:close/>
                    <a:moveTo>
                      <a:pt x="517" y="784"/>
                    </a:moveTo>
                    <a:cubicBezTo>
                      <a:pt x="490" y="784"/>
                      <a:pt x="466" y="794"/>
                      <a:pt x="447" y="813"/>
                    </a:cubicBezTo>
                    <a:cubicBezTo>
                      <a:pt x="447" y="813"/>
                      <a:pt x="447" y="813"/>
                      <a:pt x="447" y="813"/>
                    </a:cubicBezTo>
                    <a:cubicBezTo>
                      <a:pt x="428" y="832"/>
                      <a:pt x="418" y="857"/>
                      <a:pt x="418" y="883"/>
                    </a:cubicBezTo>
                    <a:cubicBezTo>
                      <a:pt x="418" y="909"/>
                      <a:pt x="428" y="934"/>
                      <a:pt x="447" y="953"/>
                    </a:cubicBezTo>
                    <a:cubicBezTo>
                      <a:pt x="466" y="971"/>
                      <a:pt x="490" y="982"/>
                      <a:pt x="517" y="982"/>
                    </a:cubicBezTo>
                    <a:cubicBezTo>
                      <a:pt x="543" y="982"/>
                      <a:pt x="568" y="971"/>
                      <a:pt x="586" y="953"/>
                    </a:cubicBezTo>
                    <a:cubicBezTo>
                      <a:pt x="625" y="914"/>
                      <a:pt x="625" y="852"/>
                      <a:pt x="586" y="813"/>
                    </a:cubicBezTo>
                    <a:cubicBezTo>
                      <a:pt x="568" y="794"/>
                      <a:pt x="543" y="784"/>
                      <a:pt x="517" y="784"/>
                    </a:cubicBezTo>
                    <a:close/>
                    <a:moveTo>
                      <a:pt x="699" y="213"/>
                    </a:moveTo>
                    <a:cubicBezTo>
                      <a:pt x="673" y="213"/>
                      <a:pt x="648" y="222"/>
                      <a:pt x="629" y="241"/>
                    </a:cubicBezTo>
                    <a:cubicBezTo>
                      <a:pt x="610" y="260"/>
                      <a:pt x="600" y="285"/>
                      <a:pt x="600" y="311"/>
                    </a:cubicBezTo>
                    <a:cubicBezTo>
                      <a:pt x="600" y="338"/>
                      <a:pt x="610" y="362"/>
                      <a:pt x="629" y="381"/>
                    </a:cubicBezTo>
                    <a:cubicBezTo>
                      <a:pt x="667" y="419"/>
                      <a:pt x="730" y="419"/>
                      <a:pt x="768" y="381"/>
                    </a:cubicBezTo>
                    <a:cubicBezTo>
                      <a:pt x="807" y="342"/>
                      <a:pt x="807" y="280"/>
                      <a:pt x="768" y="241"/>
                    </a:cubicBezTo>
                    <a:cubicBezTo>
                      <a:pt x="749" y="222"/>
                      <a:pt x="724" y="213"/>
                      <a:pt x="699" y="213"/>
                    </a:cubicBezTo>
                    <a:close/>
                    <a:moveTo>
                      <a:pt x="857" y="912"/>
                    </a:moveTo>
                    <a:cubicBezTo>
                      <a:pt x="832" y="912"/>
                      <a:pt x="807" y="922"/>
                      <a:pt x="787" y="941"/>
                    </a:cubicBezTo>
                    <a:cubicBezTo>
                      <a:pt x="769" y="960"/>
                      <a:pt x="759" y="985"/>
                      <a:pt x="759" y="1011"/>
                    </a:cubicBezTo>
                    <a:cubicBezTo>
                      <a:pt x="759" y="1037"/>
                      <a:pt x="769" y="1062"/>
                      <a:pt x="787" y="1081"/>
                    </a:cubicBezTo>
                    <a:cubicBezTo>
                      <a:pt x="826" y="1119"/>
                      <a:pt x="889" y="1119"/>
                      <a:pt x="927" y="1081"/>
                    </a:cubicBezTo>
                    <a:cubicBezTo>
                      <a:pt x="965" y="1042"/>
                      <a:pt x="965" y="980"/>
                      <a:pt x="927" y="941"/>
                    </a:cubicBezTo>
                    <a:cubicBezTo>
                      <a:pt x="908" y="922"/>
                      <a:pt x="883" y="912"/>
                      <a:pt x="857" y="912"/>
                    </a:cubicBezTo>
                    <a:close/>
                    <a:moveTo>
                      <a:pt x="1076" y="693"/>
                    </a:moveTo>
                    <a:cubicBezTo>
                      <a:pt x="1051" y="693"/>
                      <a:pt x="1026" y="703"/>
                      <a:pt x="1007" y="722"/>
                    </a:cubicBezTo>
                    <a:cubicBezTo>
                      <a:pt x="968" y="761"/>
                      <a:pt x="968" y="823"/>
                      <a:pt x="1007" y="862"/>
                    </a:cubicBezTo>
                    <a:cubicBezTo>
                      <a:pt x="1045" y="900"/>
                      <a:pt x="1108" y="900"/>
                      <a:pt x="1146" y="862"/>
                    </a:cubicBezTo>
                    <a:cubicBezTo>
                      <a:pt x="1185" y="823"/>
                      <a:pt x="1185" y="761"/>
                      <a:pt x="1146" y="722"/>
                    </a:cubicBezTo>
                    <a:cubicBezTo>
                      <a:pt x="1127" y="703"/>
                      <a:pt x="1102" y="693"/>
                      <a:pt x="1076" y="693"/>
                    </a:cubicBezTo>
                    <a:close/>
                    <a:moveTo>
                      <a:pt x="1462" y="155"/>
                    </a:moveTo>
                    <a:cubicBezTo>
                      <a:pt x="1424" y="193"/>
                      <a:pt x="1424" y="256"/>
                      <a:pt x="1462" y="294"/>
                    </a:cubicBezTo>
                    <a:cubicBezTo>
                      <a:pt x="1500" y="333"/>
                      <a:pt x="1563" y="333"/>
                      <a:pt x="1602" y="294"/>
                    </a:cubicBezTo>
                    <a:cubicBezTo>
                      <a:pt x="1640" y="256"/>
                      <a:pt x="1640" y="193"/>
                      <a:pt x="1602" y="155"/>
                    </a:cubicBezTo>
                    <a:cubicBezTo>
                      <a:pt x="1563" y="116"/>
                      <a:pt x="1500" y="116"/>
                      <a:pt x="1462" y="15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2" name="Group 21"/>
          <p:cNvGrpSpPr/>
          <p:nvPr/>
        </p:nvGrpSpPr>
        <p:grpSpPr>
          <a:xfrm>
            <a:off x="6858405" y="646751"/>
            <a:ext cx="1211500" cy="1211500"/>
            <a:chOff x="6870700" y="1561048"/>
            <a:chExt cx="1211500" cy="1211500"/>
          </a:xfrm>
        </p:grpSpPr>
        <p:sp>
          <p:nvSpPr>
            <p:cNvPr id="9" name="Oval 8"/>
            <p:cNvSpPr/>
            <p:nvPr/>
          </p:nvSpPr>
          <p:spPr>
            <a:xfrm>
              <a:off x="6870700" y="1561048"/>
              <a:ext cx="1211500" cy="1211500"/>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endParaRPr>
            </a:p>
          </p:txBody>
        </p:sp>
        <p:grpSp>
          <p:nvGrpSpPr>
            <p:cNvPr id="18" name="bcgIcons_DigitalImperative">
              <a:extLst>
                <a:ext uri="{FF2B5EF4-FFF2-40B4-BE49-F238E27FC236}">
                  <a16:creationId xmlns:a16="http://schemas.microsoft.com/office/drawing/2014/main" id="{38FCB088-1D96-4455-A463-B6D0CB5B7386}"/>
                </a:ext>
              </a:extLst>
            </p:cNvPr>
            <p:cNvGrpSpPr>
              <a:grpSpLocks noChangeAspect="1"/>
            </p:cNvGrpSpPr>
            <p:nvPr/>
          </p:nvGrpSpPr>
          <p:grpSpPr bwMode="auto">
            <a:xfrm>
              <a:off x="6987619" y="1677514"/>
              <a:ext cx="977662" cy="978568"/>
              <a:chOff x="1682" y="0"/>
              <a:chExt cx="4316" cy="4320"/>
            </a:xfrm>
          </p:grpSpPr>
          <p:sp>
            <p:nvSpPr>
              <p:cNvPr id="19" name="AutoShape 29">
                <a:extLst>
                  <a:ext uri="{FF2B5EF4-FFF2-40B4-BE49-F238E27FC236}">
                    <a16:creationId xmlns:a16="http://schemas.microsoft.com/office/drawing/2014/main" id="{0A20574C-861B-41A6-B088-1F60E1E0822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1">
                <a:extLst>
                  <a:ext uri="{FF2B5EF4-FFF2-40B4-BE49-F238E27FC236}">
                    <a16:creationId xmlns:a16="http://schemas.microsoft.com/office/drawing/2014/main" id="{B27ACF0B-87D8-43EB-9E05-3B16812D926B}"/>
                  </a:ext>
                </a:extLst>
              </p:cNvPr>
              <p:cNvSpPr>
                <a:spLocks noEditPoints="1"/>
              </p:cNvSpPr>
              <p:nvPr/>
            </p:nvSpPr>
            <p:spPr bwMode="auto">
              <a:xfrm>
                <a:off x="1903" y="881"/>
                <a:ext cx="3921" cy="3060"/>
              </a:xfrm>
              <a:custGeom>
                <a:avLst/>
                <a:gdLst>
                  <a:gd name="T0" fmla="*/ 244 w 2093"/>
                  <a:gd name="T1" fmla="*/ 1602 h 1632"/>
                  <a:gd name="T2" fmla="*/ 421 w 2093"/>
                  <a:gd name="T3" fmla="*/ 1276 h 1632"/>
                  <a:gd name="T4" fmla="*/ 649 w 2093"/>
                  <a:gd name="T5" fmla="*/ 706 h 1632"/>
                  <a:gd name="T6" fmla="*/ 880 w 2093"/>
                  <a:gd name="T7" fmla="*/ 450 h 1632"/>
                  <a:gd name="T8" fmla="*/ 1027 w 2093"/>
                  <a:gd name="T9" fmla="*/ 62 h 1632"/>
                  <a:gd name="T10" fmla="*/ 1379 w 2093"/>
                  <a:gd name="T11" fmla="*/ 761 h 1632"/>
                  <a:gd name="T12" fmla="*/ 1748 w 2093"/>
                  <a:gd name="T13" fmla="*/ 1212 h 1632"/>
                  <a:gd name="T14" fmla="*/ 1807 w 2093"/>
                  <a:gd name="T15" fmla="*/ 1630 h 1632"/>
                  <a:gd name="T16" fmla="*/ 1564 w 2093"/>
                  <a:gd name="T17" fmla="*/ 1165 h 1632"/>
                  <a:gd name="T18" fmla="*/ 1261 w 2093"/>
                  <a:gd name="T19" fmla="*/ 781 h 1632"/>
                  <a:gd name="T20" fmla="*/ 915 w 2093"/>
                  <a:gd name="T21" fmla="*/ 485 h 1632"/>
                  <a:gd name="T22" fmla="*/ 688 w 2093"/>
                  <a:gd name="T23" fmla="*/ 726 h 1632"/>
                  <a:gd name="T24" fmla="*/ 459 w 2093"/>
                  <a:gd name="T25" fmla="*/ 1303 h 1632"/>
                  <a:gd name="T26" fmla="*/ 286 w 2093"/>
                  <a:gd name="T27" fmla="*/ 1614 h 1632"/>
                  <a:gd name="T28" fmla="*/ 523 w 2093"/>
                  <a:gd name="T29" fmla="*/ 0 h 1632"/>
                  <a:gd name="T30" fmla="*/ 545 w 2093"/>
                  <a:gd name="T31" fmla="*/ 276 h 1632"/>
                  <a:gd name="T32" fmla="*/ 508 w 2093"/>
                  <a:gd name="T33" fmla="*/ 301 h 1632"/>
                  <a:gd name="T34" fmla="*/ 427 w 2093"/>
                  <a:gd name="T35" fmla="*/ 96 h 1632"/>
                  <a:gd name="T36" fmla="*/ 576 w 2093"/>
                  <a:gd name="T37" fmla="*/ 96 h 1632"/>
                  <a:gd name="T38" fmla="*/ 178 w 2093"/>
                  <a:gd name="T39" fmla="*/ 899 h 1632"/>
                  <a:gd name="T40" fmla="*/ 0 w 2093"/>
                  <a:gd name="T41" fmla="*/ 951 h 1632"/>
                  <a:gd name="T42" fmla="*/ 236 w 2093"/>
                  <a:gd name="T43" fmla="*/ 778 h 1632"/>
                  <a:gd name="T44" fmla="*/ 107 w 2093"/>
                  <a:gd name="T45" fmla="*/ 349 h 1632"/>
                  <a:gd name="T46" fmla="*/ 225 w 2093"/>
                  <a:gd name="T47" fmla="*/ 255 h 1632"/>
                  <a:gd name="T48" fmla="*/ 358 w 2093"/>
                  <a:gd name="T49" fmla="*/ 838 h 1632"/>
                  <a:gd name="T50" fmla="*/ 380 w 2093"/>
                  <a:gd name="T51" fmla="*/ 494 h 1632"/>
                  <a:gd name="T52" fmla="*/ 402 w 2093"/>
                  <a:gd name="T53" fmla="*/ 1022 h 1632"/>
                  <a:gd name="T54" fmla="*/ 365 w 2093"/>
                  <a:gd name="T55" fmla="*/ 1047 h 1632"/>
                  <a:gd name="T56" fmla="*/ 267 w 2093"/>
                  <a:gd name="T57" fmla="*/ 809 h 1632"/>
                  <a:gd name="T58" fmla="*/ 433 w 2093"/>
                  <a:gd name="T59" fmla="*/ 590 h 1632"/>
                  <a:gd name="T60" fmla="*/ 380 w 2093"/>
                  <a:gd name="T61" fmla="*/ 643 h 1632"/>
                  <a:gd name="T62" fmla="*/ 129 w 2093"/>
                  <a:gd name="T63" fmla="*/ 202 h 1632"/>
                  <a:gd name="T64" fmla="*/ 149 w 2093"/>
                  <a:gd name="T65" fmla="*/ 951 h 1632"/>
                  <a:gd name="T66" fmla="*/ 97 w 2093"/>
                  <a:gd name="T67" fmla="*/ 1004 h 1632"/>
                  <a:gd name="T68" fmla="*/ 1997 w 2093"/>
                  <a:gd name="T69" fmla="*/ 666 h 1632"/>
                  <a:gd name="T70" fmla="*/ 1700 w 2093"/>
                  <a:gd name="T71" fmla="*/ 701 h 1632"/>
                  <a:gd name="T72" fmla="*/ 1656 w 2093"/>
                  <a:gd name="T73" fmla="*/ 847 h 1632"/>
                  <a:gd name="T74" fmla="*/ 1500 w 2093"/>
                  <a:gd name="T75" fmla="*/ 462 h 1632"/>
                  <a:gd name="T76" fmla="*/ 1255 w 2093"/>
                  <a:gd name="T77" fmla="*/ 440 h 1632"/>
                  <a:gd name="T78" fmla="*/ 1500 w 2093"/>
                  <a:gd name="T79" fmla="*/ 418 h 1632"/>
                  <a:gd name="T80" fmla="*/ 1522 w 2093"/>
                  <a:gd name="T81" fmla="*/ 102 h 1632"/>
                  <a:gd name="T82" fmla="*/ 1544 w 2093"/>
                  <a:gd name="T83" fmla="*/ 673 h 1632"/>
                  <a:gd name="T84" fmla="*/ 1662 w 2093"/>
                  <a:gd name="T85" fmla="*/ 676 h 1632"/>
                  <a:gd name="T86" fmla="*/ 1903 w 2093"/>
                  <a:gd name="T87" fmla="*/ 548 h 1632"/>
                  <a:gd name="T88" fmla="*/ 1404 w 2093"/>
                  <a:gd name="T89" fmla="*/ 440 h 1632"/>
                  <a:gd name="T90" fmla="*/ 1352 w 2093"/>
                  <a:gd name="T91" fmla="*/ 492 h 1632"/>
                  <a:gd name="T92" fmla="*/ 1575 w 2093"/>
                  <a:gd name="T93" fmla="*/ 198 h 1632"/>
                  <a:gd name="T94" fmla="*/ 1522 w 2093"/>
                  <a:gd name="T95" fmla="*/ 251 h 1632"/>
                  <a:gd name="T96" fmla="*/ 1945 w 2093"/>
                  <a:gd name="T97" fmla="*/ 570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93" h="1632">
                    <a:moveTo>
                      <a:pt x="265" y="1630"/>
                    </a:moveTo>
                    <a:cubicBezTo>
                      <a:pt x="263" y="1630"/>
                      <a:pt x="260" y="1630"/>
                      <a:pt x="258" y="1629"/>
                    </a:cubicBezTo>
                    <a:cubicBezTo>
                      <a:pt x="247" y="1626"/>
                      <a:pt x="240" y="1613"/>
                      <a:pt x="244" y="1602"/>
                    </a:cubicBezTo>
                    <a:cubicBezTo>
                      <a:pt x="337" y="1291"/>
                      <a:pt x="337" y="1291"/>
                      <a:pt x="337" y="1291"/>
                    </a:cubicBezTo>
                    <a:cubicBezTo>
                      <a:pt x="340" y="1282"/>
                      <a:pt x="348" y="1276"/>
                      <a:pt x="358" y="1276"/>
                    </a:cubicBezTo>
                    <a:cubicBezTo>
                      <a:pt x="421" y="1276"/>
                      <a:pt x="421" y="1276"/>
                      <a:pt x="421" y="1276"/>
                    </a:cubicBezTo>
                    <a:cubicBezTo>
                      <a:pt x="509" y="941"/>
                      <a:pt x="509" y="941"/>
                      <a:pt x="509" y="941"/>
                    </a:cubicBezTo>
                    <a:cubicBezTo>
                      <a:pt x="509" y="939"/>
                      <a:pt x="510" y="937"/>
                      <a:pt x="511" y="935"/>
                    </a:cubicBezTo>
                    <a:cubicBezTo>
                      <a:pt x="649" y="706"/>
                      <a:pt x="649" y="706"/>
                      <a:pt x="649" y="706"/>
                    </a:cubicBezTo>
                    <a:cubicBezTo>
                      <a:pt x="778" y="437"/>
                      <a:pt x="778" y="437"/>
                      <a:pt x="778" y="437"/>
                    </a:cubicBezTo>
                    <a:cubicBezTo>
                      <a:pt x="783" y="427"/>
                      <a:pt x="794" y="423"/>
                      <a:pt x="805" y="426"/>
                    </a:cubicBezTo>
                    <a:cubicBezTo>
                      <a:pt x="880" y="450"/>
                      <a:pt x="880" y="450"/>
                      <a:pt x="880" y="450"/>
                    </a:cubicBezTo>
                    <a:cubicBezTo>
                      <a:pt x="1006" y="77"/>
                      <a:pt x="1006" y="77"/>
                      <a:pt x="1006" y="77"/>
                    </a:cubicBezTo>
                    <a:cubicBezTo>
                      <a:pt x="1009" y="68"/>
                      <a:pt x="1017" y="62"/>
                      <a:pt x="1026" y="62"/>
                    </a:cubicBezTo>
                    <a:cubicBezTo>
                      <a:pt x="1027" y="62"/>
                      <a:pt x="1027" y="62"/>
                      <a:pt x="1027" y="62"/>
                    </a:cubicBezTo>
                    <a:cubicBezTo>
                      <a:pt x="1036" y="62"/>
                      <a:pt x="1044" y="68"/>
                      <a:pt x="1047" y="76"/>
                    </a:cubicBezTo>
                    <a:cubicBezTo>
                      <a:pt x="1283" y="740"/>
                      <a:pt x="1283" y="740"/>
                      <a:pt x="1283" y="740"/>
                    </a:cubicBezTo>
                    <a:cubicBezTo>
                      <a:pt x="1379" y="761"/>
                      <a:pt x="1379" y="761"/>
                      <a:pt x="1379" y="761"/>
                    </a:cubicBezTo>
                    <a:cubicBezTo>
                      <a:pt x="1385" y="762"/>
                      <a:pt x="1391" y="766"/>
                      <a:pt x="1394" y="772"/>
                    </a:cubicBezTo>
                    <a:cubicBezTo>
                      <a:pt x="1590" y="1129"/>
                      <a:pt x="1590" y="1129"/>
                      <a:pt x="1590" y="1129"/>
                    </a:cubicBezTo>
                    <a:cubicBezTo>
                      <a:pt x="1748" y="1212"/>
                      <a:pt x="1748" y="1212"/>
                      <a:pt x="1748" y="1212"/>
                    </a:cubicBezTo>
                    <a:cubicBezTo>
                      <a:pt x="1754" y="1215"/>
                      <a:pt x="1759" y="1221"/>
                      <a:pt x="1760" y="1228"/>
                    </a:cubicBezTo>
                    <a:cubicBezTo>
                      <a:pt x="1825" y="1604"/>
                      <a:pt x="1825" y="1604"/>
                      <a:pt x="1825" y="1604"/>
                    </a:cubicBezTo>
                    <a:cubicBezTo>
                      <a:pt x="1827" y="1616"/>
                      <a:pt x="1819" y="1628"/>
                      <a:pt x="1807" y="1630"/>
                    </a:cubicBezTo>
                    <a:cubicBezTo>
                      <a:pt x="1795" y="1632"/>
                      <a:pt x="1784" y="1624"/>
                      <a:pt x="1782" y="1612"/>
                    </a:cubicBezTo>
                    <a:cubicBezTo>
                      <a:pt x="1718" y="1246"/>
                      <a:pt x="1718" y="1246"/>
                      <a:pt x="1718" y="1246"/>
                    </a:cubicBezTo>
                    <a:cubicBezTo>
                      <a:pt x="1564" y="1165"/>
                      <a:pt x="1564" y="1165"/>
                      <a:pt x="1564" y="1165"/>
                    </a:cubicBezTo>
                    <a:cubicBezTo>
                      <a:pt x="1560" y="1163"/>
                      <a:pt x="1557" y="1160"/>
                      <a:pt x="1555" y="1156"/>
                    </a:cubicBezTo>
                    <a:cubicBezTo>
                      <a:pt x="1360" y="802"/>
                      <a:pt x="1360" y="802"/>
                      <a:pt x="1360" y="802"/>
                    </a:cubicBezTo>
                    <a:cubicBezTo>
                      <a:pt x="1261" y="781"/>
                      <a:pt x="1261" y="781"/>
                      <a:pt x="1261" y="781"/>
                    </a:cubicBezTo>
                    <a:cubicBezTo>
                      <a:pt x="1254" y="779"/>
                      <a:pt x="1248" y="774"/>
                      <a:pt x="1245" y="766"/>
                    </a:cubicBezTo>
                    <a:cubicBezTo>
                      <a:pt x="1027" y="151"/>
                      <a:pt x="1027" y="151"/>
                      <a:pt x="1027" y="151"/>
                    </a:cubicBezTo>
                    <a:cubicBezTo>
                      <a:pt x="915" y="485"/>
                      <a:pt x="915" y="485"/>
                      <a:pt x="915" y="485"/>
                    </a:cubicBezTo>
                    <a:cubicBezTo>
                      <a:pt x="911" y="496"/>
                      <a:pt x="899" y="502"/>
                      <a:pt x="887" y="498"/>
                    </a:cubicBezTo>
                    <a:cubicBezTo>
                      <a:pt x="810" y="474"/>
                      <a:pt x="810" y="474"/>
                      <a:pt x="810" y="474"/>
                    </a:cubicBezTo>
                    <a:cubicBezTo>
                      <a:pt x="688" y="726"/>
                      <a:pt x="688" y="726"/>
                      <a:pt x="688" y="726"/>
                    </a:cubicBezTo>
                    <a:cubicBezTo>
                      <a:pt x="688" y="726"/>
                      <a:pt x="687" y="727"/>
                      <a:pt x="687" y="727"/>
                    </a:cubicBezTo>
                    <a:cubicBezTo>
                      <a:pt x="550" y="955"/>
                      <a:pt x="550" y="955"/>
                      <a:pt x="550" y="955"/>
                    </a:cubicBezTo>
                    <a:cubicBezTo>
                      <a:pt x="459" y="1303"/>
                      <a:pt x="459" y="1303"/>
                      <a:pt x="459" y="1303"/>
                    </a:cubicBezTo>
                    <a:cubicBezTo>
                      <a:pt x="457" y="1313"/>
                      <a:pt x="448" y="1320"/>
                      <a:pt x="438" y="1320"/>
                    </a:cubicBezTo>
                    <a:cubicBezTo>
                      <a:pt x="374" y="1320"/>
                      <a:pt x="374" y="1320"/>
                      <a:pt x="374" y="1320"/>
                    </a:cubicBezTo>
                    <a:cubicBezTo>
                      <a:pt x="286" y="1614"/>
                      <a:pt x="286" y="1614"/>
                      <a:pt x="286" y="1614"/>
                    </a:cubicBezTo>
                    <a:cubicBezTo>
                      <a:pt x="283" y="1624"/>
                      <a:pt x="274" y="1630"/>
                      <a:pt x="265" y="1630"/>
                    </a:cubicBezTo>
                    <a:close/>
                    <a:moveTo>
                      <a:pt x="427" y="96"/>
                    </a:moveTo>
                    <a:cubicBezTo>
                      <a:pt x="427" y="43"/>
                      <a:pt x="470" y="0"/>
                      <a:pt x="523" y="0"/>
                    </a:cubicBezTo>
                    <a:cubicBezTo>
                      <a:pt x="577" y="0"/>
                      <a:pt x="620" y="43"/>
                      <a:pt x="620" y="96"/>
                    </a:cubicBezTo>
                    <a:cubicBezTo>
                      <a:pt x="620" y="142"/>
                      <a:pt x="588" y="180"/>
                      <a:pt x="545" y="190"/>
                    </a:cubicBezTo>
                    <a:cubicBezTo>
                      <a:pt x="545" y="276"/>
                      <a:pt x="545" y="276"/>
                      <a:pt x="545" y="276"/>
                    </a:cubicBezTo>
                    <a:cubicBezTo>
                      <a:pt x="722" y="452"/>
                      <a:pt x="722" y="452"/>
                      <a:pt x="722" y="452"/>
                    </a:cubicBezTo>
                    <a:cubicBezTo>
                      <a:pt x="702" y="494"/>
                      <a:pt x="702" y="494"/>
                      <a:pt x="702" y="494"/>
                    </a:cubicBezTo>
                    <a:cubicBezTo>
                      <a:pt x="508" y="301"/>
                      <a:pt x="508" y="301"/>
                      <a:pt x="508" y="301"/>
                    </a:cubicBezTo>
                    <a:cubicBezTo>
                      <a:pt x="504" y="296"/>
                      <a:pt x="501" y="291"/>
                      <a:pt x="501" y="285"/>
                    </a:cubicBezTo>
                    <a:cubicBezTo>
                      <a:pt x="501" y="190"/>
                      <a:pt x="501" y="190"/>
                      <a:pt x="501" y="190"/>
                    </a:cubicBezTo>
                    <a:cubicBezTo>
                      <a:pt x="459" y="180"/>
                      <a:pt x="427" y="142"/>
                      <a:pt x="427" y="96"/>
                    </a:cubicBezTo>
                    <a:close/>
                    <a:moveTo>
                      <a:pt x="471" y="96"/>
                    </a:moveTo>
                    <a:cubicBezTo>
                      <a:pt x="471" y="125"/>
                      <a:pt x="495" y="149"/>
                      <a:pt x="523" y="149"/>
                    </a:cubicBezTo>
                    <a:cubicBezTo>
                      <a:pt x="552" y="149"/>
                      <a:pt x="576" y="125"/>
                      <a:pt x="576" y="96"/>
                    </a:cubicBezTo>
                    <a:cubicBezTo>
                      <a:pt x="576" y="67"/>
                      <a:pt x="552" y="44"/>
                      <a:pt x="523" y="44"/>
                    </a:cubicBezTo>
                    <a:cubicBezTo>
                      <a:pt x="495" y="44"/>
                      <a:pt x="471" y="67"/>
                      <a:pt x="471" y="96"/>
                    </a:cubicBezTo>
                    <a:close/>
                    <a:moveTo>
                      <a:pt x="178" y="899"/>
                    </a:moveTo>
                    <a:cubicBezTo>
                      <a:pt x="188" y="914"/>
                      <a:pt x="193" y="932"/>
                      <a:pt x="193" y="951"/>
                    </a:cubicBezTo>
                    <a:cubicBezTo>
                      <a:pt x="193" y="1004"/>
                      <a:pt x="150" y="1048"/>
                      <a:pt x="97" y="1048"/>
                    </a:cubicBezTo>
                    <a:cubicBezTo>
                      <a:pt x="44" y="1048"/>
                      <a:pt x="0" y="1004"/>
                      <a:pt x="0" y="951"/>
                    </a:cubicBezTo>
                    <a:cubicBezTo>
                      <a:pt x="0" y="898"/>
                      <a:pt x="44" y="855"/>
                      <a:pt x="97" y="855"/>
                    </a:cubicBezTo>
                    <a:cubicBezTo>
                      <a:pt x="115" y="855"/>
                      <a:pt x="132" y="860"/>
                      <a:pt x="146" y="868"/>
                    </a:cubicBezTo>
                    <a:cubicBezTo>
                      <a:pt x="236" y="778"/>
                      <a:pt x="236" y="778"/>
                      <a:pt x="236" y="778"/>
                    </a:cubicBezTo>
                    <a:cubicBezTo>
                      <a:pt x="113" y="655"/>
                      <a:pt x="113" y="655"/>
                      <a:pt x="113" y="655"/>
                    </a:cubicBezTo>
                    <a:cubicBezTo>
                      <a:pt x="109" y="651"/>
                      <a:pt x="107" y="645"/>
                      <a:pt x="107" y="640"/>
                    </a:cubicBezTo>
                    <a:cubicBezTo>
                      <a:pt x="107" y="349"/>
                      <a:pt x="107" y="349"/>
                      <a:pt x="107" y="349"/>
                    </a:cubicBezTo>
                    <a:cubicBezTo>
                      <a:pt x="64" y="339"/>
                      <a:pt x="32" y="301"/>
                      <a:pt x="32" y="255"/>
                    </a:cubicBezTo>
                    <a:cubicBezTo>
                      <a:pt x="32" y="202"/>
                      <a:pt x="76" y="158"/>
                      <a:pt x="129" y="158"/>
                    </a:cubicBezTo>
                    <a:cubicBezTo>
                      <a:pt x="182" y="158"/>
                      <a:pt x="225" y="202"/>
                      <a:pt x="225" y="255"/>
                    </a:cubicBezTo>
                    <a:cubicBezTo>
                      <a:pt x="225" y="301"/>
                      <a:pt x="194" y="339"/>
                      <a:pt x="151" y="349"/>
                    </a:cubicBezTo>
                    <a:cubicBezTo>
                      <a:pt x="151" y="630"/>
                      <a:pt x="151" y="630"/>
                      <a:pt x="151" y="630"/>
                    </a:cubicBezTo>
                    <a:cubicBezTo>
                      <a:pt x="358" y="838"/>
                      <a:pt x="358" y="838"/>
                      <a:pt x="358" y="838"/>
                    </a:cubicBezTo>
                    <a:cubicBezTo>
                      <a:pt x="358" y="684"/>
                      <a:pt x="358" y="684"/>
                      <a:pt x="358" y="684"/>
                    </a:cubicBezTo>
                    <a:cubicBezTo>
                      <a:pt x="315" y="674"/>
                      <a:pt x="284" y="636"/>
                      <a:pt x="284" y="590"/>
                    </a:cubicBezTo>
                    <a:cubicBezTo>
                      <a:pt x="284" y="537"/>
                      <a:pt x="327" y="494"/>
                      <a:pt x="380" y="494"/>
                    </a:cubicBezTo>
                    <a:cubicBezTo>
                      <a:pt x="433" y="494"/>
                      <a:pt x="477" y="537"/>
                      <a:pt x="477" y="590"/>
                    </a:cubicBezTo>
                    <a:cubicBezTo>
                      <a:pt x="477" y="636"/>
                      <a:pt x="445" y="674"/>
                      <a:pt x="402" y="684"/>
                    </a:cubicBezTo>
                    <a:cubicBezTo>
                      <a:pt x="402" y="1022"/>
                      <a:pt x="402" y="1022"/>
                      <a:pt x="402" y="1022"/>
                    </a:cubicBezTo>
                    <a:cubicBezTo>
                      <a:pt x="434" y="1054"/>
                      <a:pt x="434" y="1054"/>
                      <a:pt x="434" y="1054"/>
                    </a:cubicBezTo>
                    <a:cubicBezTo>
                      <a:pt x="421" y="1103"/>
                      <a:pt x="421" y="1103"/>
                      <a:pt x="421" y="1103"/>
                    </a:cubicBezTo>
                    <a:cubicBezTo>
                      <a:pt x="365" y="1047"/>
                      <a:pt x="365" y="1047"/>
                      <a:pt x="365" y="1047"/>
                    </a:cubicBezTo>
                    <a:cubicBezTo>
                      <a:pt x="360" y="1043"/>
                      <a:pt x="358" y="1037"/>
                      <a:pt x="358" y="1031"/>
                    </a:cubicBezTo>
                    <a:cubicBezTo>
                      <a:pt x="358" y="900"/>
                      <a:pt x="358" y="900"/>
                      <a:pt x="358" y="900"/>
                    </a:cubicBezTo>
                    <a:cubicBezTo>
                      <a:pt x="267" y="809"/>
                      <a:pt x="267" y="809"/>
                      <a:pt x="267" y="809"/>
                    </a:cubicBezTo>
                    <a:lnTo>
                      <a:pt x="178" y="899"/>
                    </a:lnTo>
                    <a:close/>
                    <a:moveTo>
                      <a:pt x="380" y="643"/>
                    </a:moveTo>
                    <a:cubicBezTo>
                      <a:pt x="409" y="643"/>
                      <a:pt x="433" y="619"/>
                      <a:pt x="433" y="590"/>
                    </a:cubicBezTo>
                    <a:cubicBezTo>
                      <a:pt x="433" y="561"/>
                      <a:pt x="409" y="538"/>
                      <a:pt x="380" y="538"/>
                    </a:cubicBezTo>
                    <a:cubicBezTo>
                      <a:pt x="351" y="538"/>
                      <a:pt x="328" y="561"/>
                      <a:pt x="328" y="590"/>
                    </a:cubicBezTo>
                    <a:cubicBezTo>
                      <a:pt x="328" y="619"/>
                      <a:pt x="351" y="643"/>
                      <a:pt x="380" y="643"/>
                    </a:cubicBezTo>
                    <a:close/>
                    <a:moveTo>
                      <a:pt x="129" y="307"/>
                    </a:moveTo>
                    <a:cubicBezTo>
                      <a:pt x="158" y="307"/>
                      <a:pt x="181" y="284"/>
                      <a:pt x="181" y="255"/>
                    </a:cubicBezTo>
                    <a:cubicBezTo>
                      <a:pt x="181" y="226"/>
                      <a:pt x="158" y="202"/>
                      <a:pt x="129" y="202"/>
                    </a:cubicBezTo>
                    <a:cubicBezTo>
                      <a:pt x="100" y="202"/>
                      <a:pt x="76" y="226"/>
                      <a:pt x="76" y="255"/>
                    </a:cubicBezTo>
                    <a:cubicBezTo>
                      <a:pt x="76" y="284"/>
                      <a:pt x="100" y="307"/>
                      <a:pt x="129" y="307"/>
                    </a:cubicBezTo>
                    <a:close/>
                    <a:moveTo>
                      <a:pt x="149" y="951"/>
                    </a:moveTo>
                    <a:cubicBezTo>
                      <a:pt x="149" y="922"/>
                      <a:pt x="126" y="899"/>
                      <a:pt x="97" y="899"/>
                    </a:cubicBezTo>
                    <a:cubicBezTo>
                      <a:pt x="68" y="899"/>
                      <a:pt x="44" y="922"/>
                      <a:pt x="44" y="951"/>
                    </a:cubicBezTo>
                    <a:cubicBezTo>
                      <a:pt x="44" y="980"/>
                      <a:pt x="68" y="1004"/>
                      <a:pt x="97" y="1004"/>
                    </a:cubicBezTo>
                    <a:cubicBezTo>
                      <a:pt x="126" y="1004"/>
                      <a:pt x="149" y="980"/>
                      <a:pt x="149" y="951"/>
                    </a:cubicBezTo>
                    <a:close/>
                    <a:moveTo>
                      <a:pt x="2093" y="570"/>
                    </a:moveTo>
                    <a:cubicBezTo>
                      <a:pt x="2093" y="623"/>
                      <a:pt x="2050" y="666"/>
                      <a:pt x="1997" y="666"/>
                    </a:cubicBezTo>
                    <a:cubicBezTo>
                      <a:pt x="1951" y="666"/>
                      <a:pt x="1913" y="635"/>
                      <a:pt x="1903" y="592"/>
                    </a:cubicBezTo>
                    <a:cubicBezTo>
                      <a:pt x="1809" y="592"/>
                      <a:pt x="1809" y="592"/>
                      <a:pt x="1809" y="592"/>
                    </a:cubicBezTo>
                    <a:cubicBezTo>
                      <a:pt x="1700" y="701"/>
                      <a:pt x="1700" y="701"/>
                      <a:pt x="1700" y="701"/>
                    </a:cubicBezTo>
                    <a:cubicBezTo>
                      <a:pt x="1700" y="1137"/>
                      <a:pt x="1700" y="1137"/>
                      <a:pt x="1700" y="1137"/>
                    </a:cubicBezTo>
                    <a:cubicBezTo>
                      <a:pt x="1656" y="1114"/>
                      <a:pt x="1656" y="1114"/>
                      <a:pt x="1656" y="1114"/>
                    </a:cubicBezTo>
                    <a:cubicBezTo>
                      <a:pt x="1656" y="847"/>
                      <a:pt x="1656" y="847"/>
                      <a:pt x="1656" y="847"/>
                    </a:cubicBezTo>
                    <a:cubicBezTo>
                      <a:pt x="1507" y="698"/>
                      <a:pt x="1507" y="698"/>
                      <a:pt x="1507" y="698"/>
                    </a:cubicBezTo>
                    <a:cubicBezTo>
                      <a:pt x="1502" y="693"/>
                      <a:pt x="1500" y="688"/>
                      <a:pt x="1500" y="682"/>
                    </a:cubicBezTo>
                    <a:cubicBezTo>
                      <a:pt x="1500" y="462"/>
                      <a:pt x="1500" y="462"/>
                      <a:pt x="1500" y="462"/>
                    </a:cubicBezTo>
                    <a:cubicBezTo>
                      <a:pt x="1445" y="462"/>
                      <a:pt x="1445" y="462"/>
                      <a:pt x="1445" y="462"/>
                    </a:cubicBezTo>
                    <a:cubicBezTo>
                      <a:pt x="1435" y="505"/>
                      <a:pt x="1397" y="536"/>
                      <a:pt x="1352" y="536"/>
                    </a:cubicBezTo>
                    <a:cubicBezTo>
                      <a:pt x="1298" y="536"/>
                      <a:pt x="1255" y="493"/>
                      <a:pt x="1255" y="440"/>
                    </a:cubicBezTo>
                    <a:cubicBezTo>
                      <a:pt x="1255" y="387"/>
                      <a:pt x="1298" y="344"/>
                      <a:pt x="1352" y="344"/>
                    </a:cubicBezTo>
                    <a:cubicBezTo>
                      <a:pt x="1397" y="344"/>
                      <a:pt x="1435" y="375"/>
                      <a:pt x="1445" y="418"/>
                    </a:cubicBezTo>
                    <a:cubicBezTo>
                      <a:pt x="1500" y="418"/>
                      <a:pt x="1500" y="418"/>
                      <a:pt x="1500" y="418"/>
                    </a:cubicBezTo>
                    <a:cubicBezTo>
                      <a:pt x="1500" y="292"/>
                      <a:pt x="1500" y="292"/>
                      <a:pt x="1500" y="292"/>
                    </a:cubicBezTo>
                    <a:cubicBezTo>
                      <a:pt x="1457" y="282"/>
                      <a:pt x="1426" y="244"/>
                      <a:pt x="1426" y="198"/>
                    </a:cubicBezTo>
                    <a:cubicBezTo>
                      <a:pt x="1426" y="145"/>
                      <a:pt x="1469" y="102"/>
                      <a:pt x="1522" y="102"/>
                    </a:cubicBezTo>
                    <a:cubicBezTo>
                      <a:pt x="1575" y="102"/>
                      <a:pt x="1619" y="145"/>
                      <a:pt x="1619" y="198"/>
                    </a:cubicBezTo>
                    <a:cubicBezTo>
                      <a:pt x="1619" y="244"/>
                      <a:pt x="1587" y="282"/>
                      <a:pt x="1544" y="292"/>
                    </a:cubicBezTo>
                    <a:cubicBezTo>
                      <a:pt x="1544" y="673"/>
                      <a:pt x="1544" y="673"/>
                      <a:pt x="1544" y="673"/>
                    </a:cubicBezTo>
                    <a:cubicBezTo>
                      <a:pt x="1656" y="785"/>
                      <a:pt x="1656" y="785"/>
                      <a:pt x="1656" y="785"/>
                    </a:cubicBezTo>
                    <a:cubicBezTo>
                      <a:pt x="1656" y="692"/>
                      <a:pt x="1656" y="692"/>
                      <a:pt x="1656" y="692"/>
                    </a:cubicBezTo>
                    <a:cubicBezTo>
                      <a:pt x="1656" y="686"/>
                      <a:pt x="1658" y="680"/>
                      <a:pt x="1662" y="676"/>
                    </a:cubicBezTo>
                    <a:cubicBezTo>
                      <a:pt x="1784" y="554"/>
                      <a:pt x="1784" y="554"/>
                      <a:pt x="1784" y="554"/>
                    </a:cubicBezTo>
                    <a:cubicBezTo>
                      <a:pt x="1788" y="550"/>
                      <a:pt x="1794" y="548"/>
                      <a:pt x="1800" y="548"/>
                    </a:cubicBezTo>
                    <a:cubicBezTo>
                      <a:pt x="1903" y="548"/>
                      <a:pt x="1903" y="548"/>
                      <a:pt x="1903" y="548"/>
                    </a:cubicBezTo>
                    <a:cubicBezTo>
                      <a:pt x="1913" y="505"/>
                      <a:pt x="1951" y="474"/>
                      <a:pt x="1997" y="474"/>
                    </a:cubicBezTo>
                    <a:cubicBezTo>
                      <a:pt x="2050" y="474"/>
                      <a:pt x="2093" y="517"/>
                      <a:pt x="2093" y="570"/>
                    </a:cubicBezTo>
                    <a:close/>
                    <a:moveTo>
                      <a:pt x="1404" y="440"/>
                    </a:moveTo>
                    <a:cubicBezTo>
                      <a:pt x="1404" y="411"/>
                      <a:pt x="1380" y="388"/>
                      <a:pt x="1352" y="388"/>
                    </a:cubicBezTo>
                    <a:cubicBezTo>
                      <a:pt x="1323" y="388"/>
                      <a:pt x="1299" y="411"/>
                      <a:pt x="1299" y="440"/>
                    </a:cubicBezTo>
                    <a:cubicBezTo>
                      <a:pt x="1299" y="469"/>
                      <a:pt x="1323" y="492"/>
                      <a:pt x="1352" y="492"/>
                    </a:cubicBezTo>
                    <a:cubicBezTo>
                      <a:pt x="1380" y="492"/>
                      <a:pt x="1404" y="469"/>
                      <a:pt x="1404" y="440"/>
                    </a:cubicBezTo>
                    <a:close/>
                    <a:moveTo>
                      <a:pt x="1522" y="251"/>
                    </a:moveTo>
                    <a:cubicBezTo>
                      <a:pt x="1551" y="251"/>
                      <a:pt x="1575" y="227"/>
                      <a:pt x="1575" y="198"/>
                    </a:cubicBezTo>
                    <a:cubicBezTo>
                      <a:pt x="1575" y="169"/>
                      <a:pt x="1551" y="146"/>
                      <a:pt x="1522" y="146"/>
                    </a:cubicBezTo>
                    <a:cubicBezTo>
                      <a:pt x="1493" y="146"/>
                      <a:pt x="1470" y="169"/>
                      <a:pt x="1470" y="198"/>
                    </a:cubicBezTo>
                    <a:cubicBezTo>
                      <a:pt x="1470" y="227"/>
                      <a:pt x="1493" y="251"/>
                      <a:pt x="1522" y="251"/>
                    </a:cubicBezTo>
                    <a:close/>
                    <a:moveTo>
                      <a:pt x="2049" y="570"/>
                    </a:moveTo>
                    <a:cubicBezTo>
                      <a:pt x="2049" y="541"/>
                      <a:pt x="2026" y="518"/>
                      <a:pt x="1997" y="518"/>
                    </a:cubicBezTo>
                    <a:cubicBezTo>
                      <a:pt x="1968" y="518"/>
                      <a:pt x="1945" y="541"/>
                      <a:pt x="1945" y="570"/>
                    </a:cubicBezTo>
                    <a:cubicBezTo>
                      <a:pt x="1945" y="599"/>
                      <a:pt x="1968" y="622"/>
                      <a:pt x="1997" y="622"/>
                    </a:cubicBezTo>
                    <a:cubicBezTo>
                      <a:pt x="2026" y="622"/>
                      <a:pt x="2049" y="599"/>
                      <a:pt x="2049" y="5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2">
                <a:extLst>
                  <a:ext uri="{FF2B5EF4-FFF2-40B4-BE49-F238E27FC236}">
                    <a16:creationId xmlns:a16="http://schemas.microsoft.com/office/drawing/2014/main" id="{E28F1E45-EC36-4841-AE6B-A842DE4BEBD3}"/>
                  </a:ext>
                </a:extLst>
              </p:cNvPr>
              <p:cNvSpPr>
                <a:spLocks noEditPoints="1"/>
              </p:cNvSpPr>
              <p:nvPr/>
            </p:nvSpPr>
            <p:spPr bwMode="auto">
              <a:xfrm>
                <a:off x="2574" y="300"/>
                <a:ext cx="2120" cy="3609"/>
              </a:xfrm>
              <a:custGeom>
                <a:avLst/>
                <a:gdLst>
                  <a:gd name="T0" fmla="*/ 204 w 1132"/>
                  <a:gd name="T1" fmla="*/ 1471 h 1925"/>
                  <a:gd name="T2" fmla="*/ 252 w 1132"/>
                  <a:gd name="T3" fmla="*/ 1283 h 1925"/>
                  <a:gd name="T4" fmla="*/ 412 w 1132"/>
                  <a:gd name="T5" fmla="*/ 1048 h 1925"/>
                  <a:gd name="T6" fmla="*/ 476 w 1132"/>
                  <a:gd name="T7" fmla="*/ 879 h 1925"/>
                  <a:gd name="T8" fmla="*/ 476 w 1132"/>
                  <a:gd name="T9" fmla="*/ 1129 h 1925"/>
                  <a:gd name="T10" fmla="*/ 310 w 1132"/>
                  <a:gd name="T11" fmla="*/ 1304 h 1925"/>
                  <a:gd name="T12" fmla="*/ 204 w 1132"/>
                  <a:gd name="T13" fmla="*/ 1471 h 1925"/>
                  <a:gd name="T14" fmla="*/ 670 w 1132"/>
                  <a:gd name="T15" fmla="*/ 596 h 1925"/>
                  <a:gd name="T16" fmla="*/ 573 w 1132"/>
                  <a:gd name="T17" fmla="*/ 964 h 1925"/>
                  <a:gd name="T18" fmla="*/ 622 w 1132"/>
                  <a:gd name="T19" fmla="*/ 1100 h 1925"/>
                  <a:gd name="T20" fmla="*/ 411 w 1132"/>
                  <a:gd name="T21" fmla="*/ 1620 h 1925"/>
                  <a:gd name="T22" fmla="*/ 707 w 1132"/>
                  <a:gd name="T23" fmla="*/ 1175 h 1925"/>
                  <a:gd name="T24" fmla="*/ 677 w 1132"/>
                  <a:gd name="T25" fmla="*/ 961 h 1925"/>
                  <a:gd name="T26" fmla="*/ 649 w 1132"/>
                  <a:gd name="T27" fmla="*/ 847 h 1925"/>
                  <a:gd name="T28" fmla="*/ 691 w 1132"/>
                  <a:gd name="T29" fmla="*/ 756 h 1925"/>
                  <a:gd name="T30" fmla="*/ 670 w 1132"/>
                  <a:gd name="T31" fmla="*/ 596 h 1925"/>
                  <a:gd name="T32" fmla="*/ 787 w 1132"/>
                  <a:gd name="T33" fmla="*/ 924 h 1925"/>
                  <a:gd name="T34" fmla="*/ 833 w 1132"/>
                  <a:gd name="T35" fmla="*/ 1220 h 1925"/>
                  <a:gd name="T36" fmla="*/ 924 w 1132"/>
                  <a:gd name="T37" fmla="*/ 1271 h 1925"/>
                  <a:gd name="T38" fmla="*/ 1132 w 1132"/>
                  <a:gd name="T39" fmla="*/ 1496 h 1925"/>
                  <a:gd name="T40" fmla="*/ 960 w 1132"/>
                  <a:gd name="T41" fmla="*/ 1175 h 1925"/>
                  <a:gd name="T42" fmla="*/ 876 w 1132"/>
                  <a:gd name="T43" fmla="*/ 1156 h 1925"/>
                  <a:gd name="T44" fmla="*/ 787 w 1132"/>
                  <a:gd name="T45" fmla="*/ 924 h 1925"/>
                  <a:gd name="T46" fmla="*/ 190 w 1132"/>
                  <a:gd name="T47" fmla="*/ 1778 h 1925"/>
                  <a:gd name="T48" fmla="*/ 214 w 1132"/>
                  <a:gd name="T49" fmla="*/ 1613 h 1925"/>
                  <a:gd name="T50" fmla="*/ 292 w 1132"/>
                  <a:gd name="T51" fmla="*/ 1471 h 1925"/>
                  <a:gd name="T52" fmla="*/ 178 w 1132"/>
                  <a:gd name="T53" fmla="*/ 1571 h 1925"/>
                  <a:gd name="T54" fmla="*/ 132 w 1132"/>
                  <a:gd name="T55" fmla="*/ 1705 h 1925"/>
                  <a:gd name="T56" fmla="*/ 60 w 1132"/>
                  <a:gd name="T57" fmla="*/ 1705 h 1925"/>
                  <a:gd name="T58" fmla="*/ 0 w 1132"/>
                  <a:gd name="T59" fmla="*/ 1925 h 1925"/>
                  <a:gd name="T60" fmla="*/ 190 w 1132"/>
                  <a:gd name="T61" fmla="*/ 1778 h 1925"/>
                  <a:gd name="T62" fmla="*/ 649 w 1132"/>
                  <a:gd name="T63" fmla="*/ 331 h 1925"/>
                  <a:gd name="T64" fmla="*/ 668 w 1132"/>
                  <a:gd name="T65" fmla="*/ 328 h 1925"/>
                  <a:gd name="T66" fmla="*/ 669 w 1132"/>
                  <a:gd name="T67" fmla="*/ 328 h 1925"/>
                  <a:gd name="T68" fmla="*/ 701 w 1132"/>
                  <a:gd name="T69" fmla="*/ 336 h 1925"/>
                  <a:gd name="T70" fmla="*/ 701 w 1132"/>
                  <a:gd name="T71" fmla="*/ 200 h 1925"/>
                  <a:gd name="T72" fmla="*/ 707 w 1132"/>
                  <a:gd name="T73" fmla="*/ 193 h 1925"/>
                  <a:gd name="T74" fmla="*/ 1010 w 1132"/>
                  <a:gd name="T75" fmla="*/ 193 h 1925"/>
                  <a:gd name="T76" fmla="*/ 1014 w 1132"/>
                  <a:gd name="T77" fmla="*/ 182 h 1925"/>
                  <a:gd name="T78" fmla="*/ 933 w 1132"/>
                  <a:gd name="T79" fmla="*/ 101 h 1925"/>
                  <a:gd name="T80" fmla="*/ 933 w 1132"/>
                  <a:gd name="T81" fmla="*/ 92 h 1925"/>
                  <a:gd name="T82" fmla="*/ 1014 w 1132"/>
                  <a:gd name="T83" fmla="*/ 11 h 1925"/>
                  <a:gd name="T84" fmla="*/ 1010 w 1132"/>
                  <a:gd name="T85" fmla="*/ 0 h 1925"/>
                  <a:gd name="T86" fmla="*/ 694 w 1132"/>
                  <a:gd name="T87" fmla="*/ 0 h 1925"/>
                  <a:gd name="T88" fmla="*/ 655 w 1132"/>
                  <a:gd name="T89" fmla="*/ 0 h 1925"/>
                  <a:gd name="T90" fmla="*/ 655 w 1132"/>
                  <a:gd name="T91" fmla="*/ 0 h 1925"/>
                  <a:gd name="T92" fmla="*/ 649 w 1132"/>
                  <a:gd name="T93" fmla="*/ 7 h 1925"/>
                  <a:gd name="T94" fmla="*/ 649 w 1132"/>
                  <a:gd name="T95" fmla="*/ 193 h 1925"/>
                  <a:gd name="T96" fmla="*/ 649 w 1132"/>
                  <a:gd name="T97" fmla="*/ 193 h 1925"/>
                  <a:gd name="T98" fmla="*/ 649 w 1132"/>
                  <a:gd name="T99" fmla="*/ 331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2" h="1925">
                    <a:moveTo>
                      <a:pt x="204" y="1471"/>
                    </a:moveTo>
                    <a:cubicBezTo>
                      <a:pt x="252" y="1283"/>
                      <a:pt x="252" y="1283"/>
                      <a:pt x="252" y="1283"/>
                    </a:cubicBezTo>
                    <a:cubicBezTo>
                      <a:pt x="412" y="1048"/>
                      <a:pt x="412" y="1048"/>
                      <a:pt x="412" y="1048"/>
                    </a:cubicBezTo>
                    <a:cubicBezTo>
                      <a:pt x="476" y="879"/>
                      <a:pt x="476" y="879"/>
                      <a:pt x="476" y="879"/>
                    </a:cubicBezTo>
                    <a:cubicBezTo>
                      <a:pt x="476" y="1129"/>
                      <a:pt x="476" y="1129"/>
                      <a:pt x="476" y="1129"/>
                    </a:cubicBezTo>
                    <a:cubicBezTo>
                      <a:pt x="310" y="1304"/>
                      <a:pt x="310" y="1304"/>
                      <a:pt x="310" y="1304"/>
                    </a:cubicBezTo>
                    <a:lnTo>
                      <a:pt x="204" y="1471"/>
                    </a:lnTo>
                    <a:close/>
                    <a:moveTo>
                      <a:pt x="670" y="596"/>
                    </a:moveTo>
                    <a:cubicBezTo>
                      <a:pt x="573" y="964"/>
                      <a:pt x="573" y="964"/>
                      <a:pt x="573" y="964"/>
                    </a:cubicBezTo>
                    <a:cubicBezTo>
                      <a:pt x="622" y="1100"/>
                      <a:pt x="622" y="1100"/>
                      <a:pt x="622" y="1100"/>
                    </a:cubicBezTo>
                    <a:cubicBezTo>
                      <a:pt x="411" y="1620"/>
                      <a:pt x="411" y="1620"/>
                      <a:pt x="411" y="1620"/>
                    </a:cubicBezTo>
                    <a:cubicBezTo>
                      <a:pt x="707" y="1175"/>
                      <a:pt x="707" y="1175"/>
                      <a:pt x="707" y="1175"/>
                    </a:cubicBezTo>
                    <a:cubicBezTo>
                      <a:pt x="677" y="961"/>
                      <a:pt x="677" y="961"/>
                      <a:pt x="677" y="961"/>
                    </a:cubicBezTo>
                    <a:cubicBezTo>
                      <a:pt x="649" y="847"/>
                      <a:pt x="649" y="847"/>
                      <a:pt x="649" y="847"/>
                    </a:cubicBezTo>
                    <a:cubicBezTo>
                      <a:pt x="691" y="756"/>
                      <a:pt x="691" y="756"/>
                      <a:pt x="691" y="756"/>
                    </a:cubicBezTo>
                    <a:lnTo>
                      <a:pt x="670" y="596"/>
                    </a:lnTo>
                    <a:close/>
                    <a:moveTo>
                      <a:pt x="787" y="924"/>
                    </a:moveTo>
                    <a:cubicBezTo>
                      <a:pt x="833" y="1220"/>
                      <a:pt x="833" y="1220"/>
                      <a:pt x="833" y="1220"/>
                    </a:cubicBezTo>
                    <a:cubicBezTo>
                      <a:pt x="924" y="1271"/>
                      <a:pt x="924" y="1271"/>
                      <a:pt x="924" y="1271"/>
                    </a:cubicBezTo>
                    <a:cubicBezTo>
                      <a:pt x="1132" y="1496"/>
                      <a:pt x="1132" y="1496"/>
                      <a:pt x="1132" y="1496"/>
                    </a:cubicBezTo>
                    <a:cubicBezTo>
                      <a:pt x="960" y="1175"/>
                      <a:pt x="960" y="1175"/>
                      <a:pt x="960" y="1175"/>
                    </a:cubicBezTo>
                    <a:cubicBezTo>
                      <a:pt x="876" y="1156"/>
                      <a:pt x="876" y="1156"/>
                      <a:pt x="876" y="1156"/>
                    </a:cubicBezTo>
                    <a:lnTo>
                      <a:pt x="787" y="924"/>
                    </a:lnTo>
                    <a:close/>
                    <a:moveTo>
                      <a:pt x="190" y="1778"/>
                    </a:moveTo>
                    <a:cubicBezTo>
                      <a:pt x="214" y="1613"/>
                      <a:pt x="214" y="1613"/>
                      <a:pt x="214" y="1613"/>
                    </a:cubicBezTo>
                    <a:cubicBezTo>
                      <a:pt x="292" y="1471"/>
                      <a:pt x="292" y="1471"/>
                      <a:pt x="292" y="1471"/>
                    </a:cubicBezTo>
                    <a:cubicBezTo>
                      <a:pt x="178" y="1571"/>
                      <a:pt x="178" y="1571"/>
                      <a:pt x="178" y="1571"/>
                    </a:cubicBezTo>
                    <a:cubicBezTo>
                      <a:pt x="132" y="1705"/>
                      <a:pt x="132" y="1705"/>
                      <a:pt x="132" y="1705"/>
                    </a:cubicBezTo>
                    <a:cubicBezTo>
                      <a:pt x="60" y="1705"/>
                      <a:pt x="60" y="1705"/>
                      <a:pt x="60" y="1705"/>
                    </a:cubicBezTo>
                    <a:cubicBezTo>
                      <a:pt x="0" y="1925"/>
                      <a:pt x="0" y="1925"/>
                      <a:pt x="0" y="1925"/>
                    </a:cubicBezTo>
                    <a:lnTo>
                      <a:pt x="190" y="1778"/>
                    </a:lnTo>
                    <a:close/>
                    <a:moveTo>
                      <a:pt x="649" y="331"/>
                    </a:moveTo>
                    <a:cubicBezTo>
                      <a:pt x="655" y="329"/>
                      <a:pt x="662" y="328"/>
                      <a:pt x="668" y="328"/>
                    </a:cubicBezTo>
                    <a:cubicBezTo>
                      <a:pt x="669" y="328"/>
                      <a:pt x="669" y="328"/>
                      <a:pt x="669" y="328"/>
                    </a:cubicBezTo>
                    <a:cubicBezTo>
                      <a:pt x="680" y="328"/>
                      <a:pt x="691" y="331"/>
                      <a:pt x="701" y="336"/>
                    </a:cubicBezTo>
                    <a:cubicBezTo>
                      <a:pt x="701" y="200"/>
                      <a:pt x="701" y="200"/>
                      <a:pt x="701" y="200"/>
                    </a:cubicBezTo>
                    <a:cubicBezTo>
                      <a:pt x="701" y="196"/>
                      <a:pt x="704" y="193"/>
                      <a:pt x="707" y="193"/>
                    </a:cubicBezTo>
                    <a:cubicBezTo>
                      <a:pt x="1010" y="193"/>
                      <a:pt x="1010" y="193"/>
                      <a:pt x="1010" y="193"/>
                    </a:cubicBezTo>
                    <a:cubicBezTo>
                      <a:pt x="1016" y="193"/>
                      <a:pt x="1018" y="186"/>
                      <a:pt x="1014" y="182"/>
                    </a:cubicBezTo>
                    <a:cubicBezTo>
                      <a:pt x="933" y="101"/>
                      <a:pt x="933" y="101"/>
                      <a:pt x="933" y="101"/>
                    </a:cubicBezTo>
                    <a:cubicBezTo>
                      <a:pt x="931" y="99"/>
                      <a:pt x="931" y="95"/>
                      <a:pt x="933" y="92"/>
                    </a:cubicBezTo>
                    <a:cubicBezTo>
                      <a:pt x="1014" y="11"/>
                      <a:pt x="1014" y="11"/>
                      <a:pt x="1014" y="11"/>
                    </a:cubicBezTo>
                    <a:cubicBezTo>
                      <a:pt x="1018" y="7"/>
                      <a:pt x="1016" y="0"/>
                      <a:pt x="1010" y="0"/>
                    </a:cubicBezTo>
                    <a:cubicBezTo>
                      <a:pt x="694" y="0"/>
                      <a:pt x="694" y="0"/>
                      <a:pt x="694" y="0"/>
                    </a:cubicBezTo>
                    <a:cubicBezTo>
                      <a:pt x="655" y="0"/>
                      <a:pt x="655" y="0"/>
                      <a:pt x="655" y="0"/>
                    </a:cubicBezTo>
                    <a:cubicBezTo>
                      <a:pt x="655" y="0"/>
                      <a:pt x="655" y="0"/>
                      <a:pt x="655" y="0"/>
                    </a:cubicBezTo>
                    <a:cubicBezTo>
                      <a:pt x="652" y="0"/>
                      <a:pt x="649" y="3"/>
                      <a:pt x="649" y="7"/>
                    </a:cubicBezTo>
                    <a:cubicBezTo>
                      <a:pt x="649" y="193"/>
                      <a:pt x="649" y="193"/>
                      <a:pt x="649" y="193"/>
                    </a:cubicBezTo>
                    <a:cubicBezTo>
                      <a:pt x="649" y="193"/>
                      <a:pt x="649" y="193"/>
                      <a:pt x="649" y="193"/>
                    </a:cubicBezTo>
                    <a:lnTo>
                      <a:pt x="649" y="3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8" name="TextBox 27">
            <a:extLst>
              <a:ext uri="{FF2B5EF4-FFF2-40B4-BE49-F238E27FC236}">
                <a16:creationId xmlns:a16="http://schemas.microsoft.com/office/drawing/2014/main" id="{FA566E4C-2418-4517-8285-68E874AC7C0B}"/>
              </a:ext>
            </a:extLst>
          </p:cNvPr>
          <p:cNvSpPr txBox="1"/>
          <p:nvPr/>
        </p:nvSpPr>
        <p:spPr>
          <a:xfrm>
            <a:off x="88037" y="4472777"/>
            <a:ext cx="5456730" cy="16696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sng" strike="noStrike" kern="1200" cap="none" spc="0" normalizeH="0" baseline="0" noProof="0" dirty="0">
                <a:ln>
                  <a:noFill/>
                </a:ln>
                <a:solidFill>
                  <a:srgbClr val="FFFFFF"/>
                </a:solidFill>
                <a:effectLst/>
                <a:uLnTx/>
                <a:uFillTx/>
                <a:latin typeface="Trebuchet MS"/>
                <a:ea typeface="+mn-ea"/>
                <a:cs typeface="+mn-cs"/>
              </a:rPr>
              <a:t>Assessment Scope</a:t>
            </a:r>
            <a:endParaRPr kumimoji="0" lang="en-US" sz="1400" b="0" i="0" u="sng" strike="noStrike" kern="1200" cap="none" spc="0" normalizeH="0" baseline="0" noProof="0" dirty="0">
              <a:ln>
                <a:noFill/>
              </a:ln>
              <a:solidFill>
                <a:srgbClr val="293C47"/>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Trebuchet MS"/>
                <a:ea typeface="+mn-ea"/>
                <a:cs typeface="+mn-cs"/>
              </a:rPr>
              <a:t>Database structure, all libraries &amp; components, 3</a:t>
            </a:r>
            <a:r>
              <a:rPr kumimoji="0" lang="en-US" sz="1400" b="0" i="0" u="none" strike="noStrike" kern="1200" cap="none" spc="0" normalizeH="0" baseline="30000" noProof="0" dirty="0">
                <a:ln>
                  <a:noFill/>
                </a:ln>
                <a:solidFill>
                  <a:srgbClr val="FFFFFF"/>
                </a:solidFill>
                <a:effectLst/>
                <a:uLnTx/>
                <a:uFillTx/>
                <a:latin typeface="Trebuchet MS"/>
                <a:ea typeface="+mn-ea"/>
                <a:cs typeface="+mn-cs"/>
              </a:rPr>
              <a:t>rd</a:t>
            </a:r>
            <a:r>
              <a:rPr kumimoji="0" lang="en-US" sz="1400" b="0" i="0" u="none" strike="noStrike" kern="1200" cap="none" spc="0" normalizeH="0" baseline="0" noProof="0" dirty="0">
                <a:ln>
                  <a:noFill/>
                </a:ln>
                <a:solidFill>
                  <a:srgbClr val="FFFFFF"/>
                </a:solidFill>
                <a:effectLst/>
                <a:uLnTx/>
                <a:uFillTx/>
                <a:latin typeface="Trebuchet MS"/>
                <a:ea typeface="+mn-ea"/>
                <a:cs typeface="+mn-cs"/>
              </a:rPr>
              <a:t> party artifacts including open-source components, and custom source code.</a:t>
            </a:r>
          </a:p>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Trebuchet MS"/>
                <a:ea typeface="+mn-ea"/>
                <a:cs typeface="+mn-cs"/>
              </a:rPr>
              <a:t>Products used are CAST Imaging for architecture blueprinting; CAST </a:t>
            </a:r>
            <a:r>
              <a:rPr kumimoji="0" lang="en-US" sz="1400" b="0" i="0" u="none" strike="noStrike" kern="1200" cap="none" spc="0" normalizeH="0" baseline="0" noProof="0" dirty="0" err="1">
                <a:ln>
                  <a:noFill/>
                </a:ln>
                <a:solidFill>
                  <a:srgbClr val="FFFFFF"/>
                </a:solidFill>
                <a:effectLst/>
                <a:uLnTx/>
                <a:uFillTx/>
                <a:latin typeface="Trebuchet MS"/>
                <a:ea typeface="+mn-ea"/>
                <a:cs typeface="+mn-cs"/>
              </a:rPr>
              <a:t>AppMarq</a:t>
            </a:r>
            <a:r>
              <a:rPr kumimoji="0" lang="en-US" sz="1400" b="0" i="0" u="none" strike="noStrike" kern="1200" cap="none" spc="0" normalizeH="0" baseline="0" noProof="0" dirty="0">
                <a:ln>
                  <a:noFill/>
                </a:ln>
                <a:solidFill>
                  <a:srgbClr val="FFFFFF"/>
                </a:solidFill>
                <a:effectLst/>
                <a:uLnTx/>
                <a:uFillTx/>
                <a:latin typeface="Trebuchet MS"/>
                <a:ea typeface="+mn-ea"/>
                <a:cs typeface="+mn-cs"/>
              </a:rPr>
              <a:t> for peer benchmarking; CAST AIP for deep system analysis; CAST Highlight for open-source risk analysis.</a:t>
            </a:r>
            <a:endParaRPr kumimoji="0" lang="en-US" sz="1400" b="0" i="0" u="none" strike="noStrike" kern="1200" cap="none" spc="0" normalizeH="0" baseline="0" noProof="0" dirty="0">
              <a:ln>
                <a:noFill/>
              </a:ln>
              <a:solidFill>
                <a:srgbClr val="FFFFFF"/>
              </a:solidFill>
              <a:effectLst/>
              <a:highlight>
                <a:srgbClr val="00FF00"/>
              </a:highlight>
              <a:uLnTx/>
              <a:uFillTx/>
              <a:latin typeface="Trebuchet MS"/>
              <a:ea typeface="+mn-ea"/>
              <a:cs typeface="+mn-cs"/>
            </a:endParaRPr>
          </a:p>
        </p:txBody>
      </p:sp>
    </p:spTree>
    <p:extLst>
      <p:ext uri="{BB962C8B-B14F-4D97-AF65-F5344CB8AC3E}">
        <p14:creationId xmlns:p14="http://schemas.microsoft.com/office/powerpoint/2010/main" val="2478486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E62EC-BCC8-48F9-993D-CB21AB8F082A}"/>
              </a:ext>
            </a:extLst>
          </p:cNvPr>
          <p:cNvSpPr>
            <a:spLocks noGrp="1"/>
          </p:cNvSpPr>
          <p:nvPr>
            <p:ph type="title" idx="4294967295"/>
          </p:nvPr>
        </p:nvSpPr>
        <p:spPr>
          <a:xfrm>
            <a:off x="630000" y="2681103"/>
            <a:ext cx="3127881" cy="1495794"/>
          </a:xfrm>
        </p:spPr>
        <p:txBody>
          <a:bodyPr/>
          <a:lstStyle/>
          <a:p>
            <a:r>
              <a:rPr lang="en-US" dirty="0"/>
              <a:t>Agenda</a:t>
            </a:r>
          </a:p>
        </p:txBody>
      </p:sp>
      <p:sp>
        <p:nvSpPr>
          <p:cNvPr id="9" name="TextBox 3">
            <a:extLst>
              <a:ext uri="{FF2B5EF4-FFF2-40B4-BE49-F238E27FC236}">
                <a16:creationId xmlns:a16="http://schemas.microsoft.com/office/drawing/2014/main" id="{1F500939-5FB1-4F17-B568-D37D6CFBB3B9}"/>
              </a:ext>
            </a:extLst>
          </p:cNvPr>
          <p:cNvSpPr txBox="1"/>
          <p:nvPr/>
        </p:nvSpPr>
        <p:spPr>
          <a:xfrm>
            <a:off x="4700776" y="1456253"/>
            <a:ext cx="6621115"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2400" dirty="0">
                <a:solidFill>
                  <a:schemeClr val="tx1">
                    <a:lumMod val="60000"/>
                    <a:lumOff val="40000"/>
                  </a:schemeClr>
                </a:solidFill>
                <a:latin typeface="Trebuchet MS" panose="020B0603020202020204" pitchFamily="34" charset="0"/>
              </a:rPr>
              <a:t>Executive Summary </a:t>
            </a:r>
          </a:p>
        </p:txBody>
      </p:sp>
      <p:sp>
        <p:nvSpPr>
          <p:cNvPr id="12" name="TextBox 11">
            <a:extLst>
              <a:ext uri="{FF2B5EF4-FFF2-40B4-BE49-F238E27FC236}">
                <a16:creationId xmlns:a16="http://schemas.microsoft.com/office/drawing/2014/main" id="{97C1AE18-3BF8-4938-BFCD-6EF29BC5BA13}"/>
              </a:ext>
            </a:extLst>
          </p:cNvPr>
          <p:cNvSpPr txBox="1"/>
          <p:nvPr/>
        </p:nvSpPr>
        <p:spPr>
          <a:xfrm>
            <a:off x="4700776" y="3429000"/>
            <a:ext cx="6096000" cy="7232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600"/>
              </a:spcAft>
            </a:pPr>
            <a:r>
              <a:rPr lang="en-US" dirty="0">
                <a:solidFill>
                  <a:srgbClr val="527589"/>
                </a:solidFill>
              </a:rPr>
              <a:t>Next Steps</a:t>
            </a:r>
          </a:p>
          <a:p>
            <a:pPr>
              <a:spcAft>
                <a:spcPts val="600"/>
              </a:spcAft>
            </a:pPr>
            <a:r>
              <a:rPr lang="en-US" dirty="0">
                <a:solidFill>
                  <a:srgbClr val="527589"/>
                </a:solidFill>
              </a:rPr>
              <a:t>Appendix: CAST Overview, Grading mechanism</a:t>
            </a:r>
            <a:endParaRPr lang="en-US" dirty="0"/>
          </a:p>
        </p:txBody>
      </p:sp>
      <p:sp>
        <p:nvSpPr>
          <p:cNvPr id="14" name="TextBox 13">
            <a:extLst>
              <a:ext uri="{FF2B5EF4-FFF2-40B4-BE49-F238E27FC236}">
                <a16:creationId xmlns:a16="http://schemas.microsoft.com/office/drawing/2014/main" id="{47D97CEC-625C-422A-98C8-25952A9FDD1F}"/>
              </a:ext>
            </a:extLst>
          </p:cNvPr>
          <p:cNvSpPr txBox="1"/>
          <p:nvPr/>
        </p:nvSpPr>
        <p:spPr>
          <a:xfrm>
            <a:off x="4700776" y="2066939"/>
            <a:ext cx="6096000" cy="107721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600"/>
              </a:spcAft>
            </a:pPr>
            <a:r>
              <a:rPr lang="en-US" dirty="0">
                <a:solidFill>
                  <a:srgbClr val="527589"/>
                </a:solidFill>
              </a:rPr>
              <a:t>Results for Accela.</a:t>
            </a:r>
          </a:p>
        </p:txBody>
      </p:sp>
      <p:sp>
        <p:nvSpPr>
          <p:cNvPr id="10" name="TextBox 9">
            <a:extLst>
              <a:ext uri="{FF2B5EF4-FFF2-40B4-BE49-F238E27FC236}">
                <a16:creationId xmlns:a16="http://schemas.microsoft.com/office/drawing/2014/main" id="{8C7EFE1B-3876-415C-9364-4AD599C03146}"/>
              </a:ext>
            </a:extLst>
          </p:cNvPr>
          <p:cNvSpPr txBox="1"/>
          <p:nvPr/>
        </p:nvSpPr>
        <p:spPr>
          <a:xfrm>
            <a:off x="245806" y="34627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endParaRPr lang="en-US" b="0" dirty="0">
              <a:solidFill>
                <a:srgbClr val="D4D4D4"/>
              </a:solidFill>
              <a:effectLst/>
              <a:latin typeface="Consolas" panose="020B0609020204030204" pitchFamily="49" charset="0"/>
            </a:endParaRPr>
          </a:p>
        </p:txBody>
      </p:sp>
    </p:spTree>
    <p:extLst>
      <p:ext uri="{BB962C8B-B14F-4D97-AF65-F5344CB8AC3E}">
        <p14:creationId xmlns:p14="http://schemas.microsoft.com/office/powerpoint/2010/main" val="3204960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27">
            <a:extLst>
              <a:ext uri="{FF2B5EF4-FFF2-40B4-BE49-F238E27FC236}">
                <a16:creationId xmlns:a16="http://schemas.microsoft.com/office/drawing/2014/main" id="{994870E9-25EF-4A43-B1A1-38CC6A36FD4D}"/>
              </a:ext>
            </a:extLst>
          </p:cNvPr>
          <p:cNvGraphicFramePr>
            <a:graphicFrameLocks noGrp="1"/>
          </p:cNvGraphicFramePr>
          <p:nvPr>
            <p:extLst>
              <p:ext uri="{D42A27DB-BD31-4B8C-83A1-F6EECF244321}">
                <p14:modId xmlns:p14="http://schemas.microsoft.com/office/powerpoint/2010/main" val="3289790105"/>
              </p:ext>
            </p:extLst>
          </p:nvPr>
        </p:nvGraphicFramePr>
        <p:xfrm>
          <a:off x="1889787" y="857776"/>
          <a:ext cx="9340183" cy="5370075"/>
        </p:xfrm>
        <a:graphic>
          <a:graphicData uri="http://schemas.openxmlformats.org/drawingml/2006/table">
            <a:tbl>
              <a:tblPr>
                <a:tableStyleId>{2D5ABB26-0587-4C30-8999-92F81FD0307C}</a:tableStyleId>
              </a:tblPr>
              <a:tblGrid>
                <a:gridCol w="7423303">
                  <a:extLst>
                    <a:ext uri="{9D8B030D-6E8A-4147-A177-3AD203B41FA5}">
                      <a16:colId xmlns:a16="http://schemas.microsoft.com/office/drawing/2014/main" val="3856771025"/>
                    </a:ext>
                  </a:extLst>
                </a:gridCol>
                <a:gridCol w="388828">
                  <a:extLst>
                    <a:ext uri="{9D8B030D-6E8A-4147-A177-3AD203B41FA5}">
                      <a16:colId xmlns:a16="http://schemas.microsoft.com/office/drawing/2014/main" val="1584044472"/>
                    </a:ext>
                  </a:extLst>
                </a:gridCol>
                <a:gridCol w="1528052">
                  <a:extLst>
                    <a:ext uri="{9D8B030D-6E8A-4147-A177-3AD203B41FA5}">
                      <a16:colId xmlns:a16="http://schemas.microsoft.com/office/drawing/2014/main" val="1863634424"/>
                    </a:ext>
                  </a:extLst>
                </a:gridCol>
              </a:tblGrid>
              <a:tr h="388872">
                <a:tc>
                  <a:txBody>
                    <a:bodyPr/>
                    <a:lstStyle/>
                    <a:p>
                      <a:pPr marL="0" lvl="3" indent="0" algn="l" defTabSz="914400" rtl="0" eaLnBrk="1" fontAlgn="base" latinLnBrk="0" hangingPunct="1">
                        <a:lnSpc>
                          <a:spcPct val="100000"/>
                        </a:lnSpc>
                        <a:spcBef>
                          <a:spcPct val="0"/>
                        </a:spcBef>
                        <a:spcAft>
                          <a:spcPct val="0"/>
                        </a:spcAft>
                      </a:pPr>
                      <a:r>
                        <a:rPr lang="en-US" sz="1400" kern="1200">
                          <a:solidFill>
                            <a:schemeClr val="tx2"/>
                          </a:solidFill>
                          <a:latin typeface="+mn-lt"/>
                          <a:ea typeface="+mn-ea"/>
                          <a:cs typeface="+mn-cs"/>
                        </a:rPr>
                        <a:t>Findings </a:t>
                      </a:r>
                    </a:p>
                  </a:txBody>
                  <a:tcPr marL="0" marR="72000" marT="73152" marB="73152" anchor="ctr">
                    <a:lnR>
                      <a:noFill/>
                    </a:lnR>
                    <a:lnT>
                      <a:noFill/>
                    </a:lnT>
                    <a:lnB w="9525" cap="flat" cmpd="sng" algn="ctr">
                      <a:solidFill>
                        <a:srgbClr val="9A9A9A">
                          <a:lumMod val="100000"/>
                        </a:srgbClr>
                      </a:solidFill>
                      <a:prstDash val="solid"/>
                      <a:round/>
                      <a:headEnd type="none" w="med" len="med"/>
                      <a:tailEnd type="none" w="med" len="med"/>
                    </a:lnB>
                    <a:noFill/>
                  </a:tcPr>
                </a:tc>
                <a:tc>
                  <a:txBody>
                    <a:bodyPr/>
                    <a:lstStyle/>
                    <a:p>
                      <a:pPr marL="0" lvl="3" indent="0" algn="l" defTabSz="914400" rtl="0" eaLnBrk="1" fontAlgn="base" latinLnBrk="0" hangingPunct="1">
                        <a:lnSpc>
                          <a:spcPct val="100000"/>
                        </a:lnSpc>
                        <a:spcBef>
                          <a:spcPct val="0"/>
                        </a:spcBef>
                        <a:spcAft>
                          <a:spcPct val="0"/>
                        </a:spcAft>
                      </a:pPr>
                      <a:endParaRPr lang="en-US" sz="1400" kern="1200">
                        <a:solidFill>
                          <a:schemeClr val="tx2"/>
                        </a:solidFill>
                        <a:latin typeface="+mn-lt"/>
                        <a:ea typeface="+mn-ea"/>
                        <a:cs typeface="+mn-cs"/>
                      </a:endParaRPr>
                    </a:p>
                  </a:txBody>
                  <a:tcPr marL="0" marR="72000" marT="73152" marB="73152"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3" indent="0" algn="l" defTabSz="914400" rtl="0" eaLnBrk="1" fontAlgn="base" latinLnBrk="0" hangingPunct="1">
                        <a:lnSpc>
                          <a:spcPct val="100000"/>
                        </a:lnSpc>
                        <a:spcBef>
                          <a:spcPct val="0"/>
                        </a:spcBef>
                        <a:spcAft>
                          <a:spcPct val="0"/>
                        </a:spcAft>
                        <a:buClrTx/>
                        <a:buSzTx/>
                        <a:buFontTx/>
                        <a:buNone/>
                        <a:tabLst/>
                        <a:defRPr/>
                      </a:pPr>
                      <a:r>
                        <a:rPr lang="en-US" sz="1400" kern="1200">
                          <a:solidFill>
                            <a:schemeClr val="tx2"/>
                          </a:solidFill>
                          <a:latin typeface="+mn-lt"/>
                          <a:ea typeface="+mn-ea"/>
                          <a:cs typeface="+mn-cs"/>
                        </a:rPr>
                        <a:t>Estimated Effort</a:t>
                      </a:r>
                    </a:p>
                  </a:txBody>
                  <a:tcPr marL="0" marR="72000" marT="73152" marB="73152" anchor="ctr">
                    <a:lnL>
                      <a:noFill/>
                    </a:lnL>
                    <a:lnT>
                      <a:noFill/>
                    </a:lnT>
                    <a:lnB w="9525" cap="flat" cmpd="sng" algn="ctr">
                      <a:solidFill>
                        <a:srgbClr val="9A9A9A">
                          <a:lumMod val="100000"/>
                        </a:srgbClr>
                      </a:solidFill>
                      <a:prstDash val="solid"/>
                      <a:round/>
                      <a:headEnd type="none" w="med" len="med"/>
                      <a:tailEnd type="none" w="med" len="med"/>
                    </a:lnB>
                    <a:noFill/>
                  </a:tcPr>
                </a:tc>
                <a:extLst>
                  <a:ext uri="{0D108BD9-81ED-4DB2-BD59-A6C34878D82A}">
                    <a16:rowId xmlns:a16="http://schemas.microsoft.com/office/drawing/2014/main" val="4005829620"/>
                  </a:ext>
                </a:extLst>
              </a:tr>
              <a:tr h="1379535">
                <a:tc>
                  <a:txBody>
                    <a:bodyPr/>
                    <a:lstStyle/>
                    <a:p>
                      <a:pPr marL="171450" indent="-171450">
                        <a:spcAft>
                          <a:spcPts val="400"/>
                        </a:spcAft>
                        <a:buFont typeface="Arial" panose="020B0604020202020204" pitchFamily="34" charset="0"/>
                        <a:buChar char="•"/>
                      </a:pPr>
                      <a:r>
                        <a:rPr lang="en-US" sz="1200">
                          <a:solidFill>
                            <a:schemeClr val="tx1">
                              <a:lumMod val="100000"/>
                            </a:schemeClr>
                          </a:solidFill>
                        </a:rPr>
                        <a:t>Review and address critical security</a:t>
                      </a:r>
                      <a:r>
                        <a:rPr lang="en-US" sz="1200">
                          <a:solidFill>
                            <a:schemeClr val="tx1">
                              <a:lumMod val="100000"/>
                            </a:schemeClr>
                          </a:solidFill>
                          <a:highlight>
                            <a:srgbClr val="FFFF00"/>
                          </a:highlight>
                        </a:rPr>
                        <a:t> </a:t>
                      </a:r>
                      <a:r>
                        <a:rPr lang="en-US" sz="1200">
                          <a:solidFill>
                            <a:schemeClr val="tx1">
                              <a:lumMod val="100000"/>
                            </a:schemeClr>
                          </a:solidFill>
                          <a:highlight>
                            <a:srgbClr val="00FF00"/>
                          </a:highlight>
                        </a:rPr>
                        <a:t>(and/or efficiency) </a:t>
                      </a:r>
                      <a:r>
                        <a:rPr lang="en-US" sz="1200">
                          <a:solidFill>
                            <a:schemeClr val="tx1">
                              <a:lumMod val="100000"/>
                            </a:schemeClr>
                          </a:solidFill>
                        </a:rPr>
                        <a:t>vulnerabilities</a:t>
                      </a:r>
                    </a:p>
                    <a:p>
                      <a:pPr marL="628650" marR="0" lvl="1"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kern="1200">
                          <a:solidFill>
                            <a:schemeClr val="tx1">
                              <a:lumMod val="100000"/>
                            </a:schemeClr>
                          </a:solidFill>
                          <a:highlight>
                            <a:srgbClr val="00FF00"/>
                          </a:highlight>
                          <a:latin typeface="+mn-lt"/>
                          <a:ea typeface="+mn-ea"/>
                          <a:cs typeface="+mn-cs"/>
                        </a:rPr>
                        <a:t>xxx </a:t>
                      </a:r>
                      <a:r>
                        <a:rPr lang="en-US" sz="1200" kern="1200">
                          <a:solidFill>
                            <a:schemeClr val="tx1">
                              <a:lumMod val="100000"/>
                            </a:schemeClr>
                          </a:solidFill>
                          <a:latin typeface="+mn-lt"/>
                          <a:ea typeface="+mn-ea"/>
                          <a:cs typeface="+mn-cs"/>
                        </a:rPr>
                        <a:t>immediate priority violations found in custom application components should be reviewed asap. See Panel </a:t>
                      </a:r>
                      <a:r>
                        <a:rPr lang="en-US" sz="1200" kern="1200">
                          <a:solidFill>
                            <a:schemeClr val="tx1">
                              <a:lumMod val="100000"/>
                            </a:schemeClr>
                          </a:solidFill>
                          <a:highlight>
                            <a:srgbClr val="00FF00"/>
                          </a:highlight>
                          <a:latin typeface="+mn-lt"/>
                          <a:ea typeface="+mn-ea"/>
                          <a:cs typeface="+mn-cs"/>
                        </a:rPr>
                        <a:t>XX.</a:t>
                      </a:r>
                    </a:p>
                    <a:p>
                      <a:pPr marL="628650" marR="0" lvl="1"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kern="1200">
                          <a:solidFill>
                            <a:schemeClr val="tx1">
                              <a:lumMod val="100000"/>
                            </a:schemeClr>
                          </a:solidFill>
                          <a:highlight>
                            <a:srgbClr val="00FF00"/>
                          </a:highlight>
                          <a:latin typeface="+mn-lt"/>
                          <a:ea typeface="+mn-ea"/>
                          <a:cs typeface="+mn-cs"/>
                        </a:rPr>
                        <a:t>xxx </a:t>
                      </a:r>
                      <a:r>
                        <a:rPr lang="en-US" sz="1200" kern="1200">
                          <a:solidFill>
                            <a:schemeClr val="tx1">
                              <a:lumMod val="100000"/>
                            </a:schemeClr>
                          </a:solidFill>
                          <a:latin typeface="+mn-lt"/>
                          <a:ea typeface="+mn-ea"/>
                          <a:cs typeface="+mn-cs"/>
                        </a:rPr>
                        <a:t>open-source components (e.g. </a:t>
                      </a:r>
                      <a:r>
                        <a:rPr lang="en-US" sz="1200" kern="1200" err="1">
                          <a:solidFill>
                            <a:schemeClr val="tx1">
                              <a:lumMod val="100000"/>
                            </a:schemeClr>
                          </a:solidFill>
                          <a:highlight>
                            <a:srgbClr val="00FF00"/>
                          </a:highlight>
                          <a:latin typeface="+mn-lt"/>
                          <a:ea typeface="+mn-ea"/>
                          <a:cs typeface="+mn-cs"/>
                        </a:rPr>
                        <a:t>xxxx</a:t>
                      </a:r>
                      <a:r>
                        <a:rPr lang="en-US" sz="1200" kern="1200">
                          <a:solidFill>
                            <a:schemeClr val="tx1">
                              <a:lumMod val="100000"/>
                            </a:schemeClr>
                          </a:solidFill>
                          <a:latin typeface="+mn-lt"/>
                          <a:ea typeface="+mn-ea"/>
                          <a:cs typeface="+mn-cs"/>
                        </a:rPr>
                        <a:t> family components, </a:t>
                      </a:r>
                      <a:r>
                        <a:rPr lang="en-US" sz="1200" kern="1200" err="1">
                          <a:solidFill>
                            <a:schemeClr val="tx1">
                              <a:lumMod val="100000"/>
                            </a:schemeClr>
                          </a:solidFill>
                          <a:highlight>
                            <a:srgbClr val="00FF00"/>
                          </a:highlight>
                          <a:latin typeface="+mn-lt"/>
                          <a:ea typeface="+mn-ea"/>
                          <a:cs typeface="+mn-cs"/>
                        </a:rPr>
                        <a:t>xxxx</a:t>
                      </a:r>
                      <a:r>
                        <a:rPr lang="en-US" sz="1200" kern="1200">
                          <a:solidFill>
                            <a:schemeClr val="tx1">
                              <a:lumMod val="100000"/>
                            </a:schemeClr>
                          </a:solidFill>
                          <a:highlight>
                            <a:srgbClr val="00FF00"/>
                          </a:highlight>
                          <a:latin typeface="+mn-lt"/>
                          <a:ea typeface="+mn-ea"/>
                          <a:cs typeface="+mn-cs"/>
                        </a:rPr>
                        <a:t>, xxx, …) </a:t>
                      </a:r>
                      <a:r>
                        <a:rPr lang="en-US" sz="1200" kern="1200">
                          <a:solidFill>
                            <a:schemeClr val="tx1">
                              <a:lumMod val="100000"/>
                            </a:schemeClr>
                          </a:solidFill>
                          <a:latin typeface="+mn-lt"/>
                          <a:ea typeface="+mn-ea"/>
                          <a:cs typeface="+mn-cs"/>
                        </a:rPr>
                        <a:t>with critical vulnerabilities need review asap. See </a:t>
                      </a:r>
                      <a:r>
                        <a:rPr lang="en-US" sz="1200" kern="1200">
                          <a:solidFill>
                            <a:schemeClr val="tx1">
                              <a:lumMod val="100000"/>
                            </a:schemeClr>
                          </a:solidFill>
                          <a:highlight>
                            <a:srgbClr val="00FF00"/>
                          </a:highlight>
                          <a:latin typeface="+mn-lt"/>
                          <a:ea typeface="+mn-ea"/>
                          <a:cs typeface="+mn-cs"/>
                        </a:rPr>
                        <a:t>Panel XX.</a:t>
                      </a:r>
                    </a:p>
                  </a:txBody>
                  <a:tcPr marT="7620" marB="0" anchor="ctr">
                    <a:lnR>
                      <a:noFill/>
                    </a:lnR>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tc>
                  <a:txBody>
                    <a:bodyPr/>
                    <a:lstStyle/>
                    <a:p>
                      <a:pPr marL="628650" lvl="1" indent="-171450" algn="l" defTabSz="914400" rtl="0" eaLnBrk="1" latinLnBrk="0" hangingPunct="1">
                        <a:spcAft>
                          <a:spcPts val="400"/>
                        </a:spcAft>
                        <a:buFont typeface="Wingdings" panose="05000000000000000000" pitchFamily="2" charset="2"/>
                        <a:buChar char="Ø"/>
                      </a:pPr>
                      <a:endParaRPr lang="en-US" sz="1200" kern="1200">
                        <a:solidFill>
                          <a:schemeClr val="tx1">
                            <a:lumMod val="100000"/>
                          </a:schemeClr>
                        </a:solidFill>
                        <a:latin typeface="+mn-lt"/>
                        <a:ea typeface="+mn-ea"/>
                        <a:cs typeface="+mn-cs"/>
                      </a:endParaRPr>
                    </a:p>
                  </a:txBody>
                  <a:tcPr marT="7620" marB="0" anchor="ctr">
                    <a:lnL>
                      <a:noFill/>
                    </a:lnL>
                    <a:lnR>
                      <a:noFill/>
                    </a:lnR>
                    <a:lnT w="9525" cap="flat" cmpd="sng" algn="ctr">
                      <a:noFill/>
                      <a:prstDash val="solid"/>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349200" algn="ctr" fontAlgn="base">
                        <a:buClr>
                          <a:schemeClr val="tx2">
                            <a:lumMod val="100000"/>
                          </a:schemeClr>
                        </a:buClr>
                        <a:buSzPct val="100000"/>
                        <a:buFont typeface="Trebuchet MS" panose="020B0603020202020204" pitchFamily="34" charset="0"/>
                        <a:buNone/>
                      </a:pPr>
                      <a:r>
                        <a:rPr lang="en-US" sz="1000" b="1" kern="1200">
                          <a:solidFill>
                            <a:schemeClr val="tx1">
                              <a:lumMod val="100000"/>
                            </a:schemeClr>
                          </a:solidFill>
                          <a:highlight>
                            <a:srgbClr val="00FF00"/>
                          </a:highlight>
                          <a:latin typeface="+mn-lt"/>
                          <a:ea typeface="+mn-ea"/>
                          <a:cs typeface="Arial" pitchFamily="34" charset="0"/>
                        </a:rPr>
                        <a:t>~$</a:t>
                      </a:r>
                      <a:r>
                        <a:rPr lang="en-US" sz="1000" b="1" kern="1200" err="1">
                          <a:solidFill>
                            <a:schemeClr val="tx1">
                              <a:lumMod val="100000"/>
                            </a:schemeClr>
                          </a:solidFill>
                          <a:highlight>
                            <a:srgbClr val="00FF00"/>
                          </a:highlight>
                          <a:latin typeface="+mn-lt"/>
                          <a:ea typeface="+mn-ea"/>
                          <a:cs typeface="Arial" pitchFamily="34" charset="0"/>
                        </a:rPr>
                        <a:t>xxK</a:t>
                      </a:r>
                      <a:r>
                        <a:rPr lang="en-US" sz="1000" b="1" kern="1200">
                          <a:solidFill>
                            <a:schemeClr val="tx1">
                              <a:lumMod val="100000"/>
                            </a:schemeClr>
                          </a:solidFill>
                          <a:highlight>
                            <a:srgbClr val="00FF00"/>
                          </a:highlight>
                          <a:latin typeface="+mn-lt"/>
                          <a:ea typeface="+mn-ea"/>
                          <a:cs typeface="Arial" pitchFamily="34" charset="0"/>
                        </a:rPr>
                        <a:t>-$</a:t>
                      </a:r>
                      <a:r>
                        <a:rPr lang="en-US" sz="1000" b="1" kern="1200" err="1">
                          <a:solidFill>
                            <a:schemeClr val="tx1">
                              <a:lumMod val="100000"/>
                            </a:schemeClr>
                          </a:solidFill>
                          <a:highlight>
                            <a:srgbClr val="00FF00"/>
                          </a:highlight>
                          <a:latin typeface="+mn-lt"/>
                          <a:ea typeface="+mn-ea"/>
                          <a:cs typeface="Arial" pitchFamily="34" charset="0"/>
                        </a:rPr>
                        <a:t>xxK</a:t>
                      </a:r>
                      <a:endParaRPr lang="en-US" sz="1000" b="1" kern="1200">
                        <a:solidFill>
                          <a:schemeClr val="tx1">
                            <a:lumMod val="100000"/>
                          </a:schemeClr>
                        </a:solidFill>
                        <a:highlight>
                          <a:srgbClr val="00FF00"/>
                        </a:highlight>
                        <a:latin typeface="+mn-lt"/>
                        <a:ea typeface="+mn-ea"/>
                        <a:cs typeface="Arial" pitchFamily="34" charset="0"/>
                      </a:endParaRPr>
                    </a:p>
                    <a:p>
                      <a:pPr marL="0" lvl="0" indent="-349200" algn="ctr" fontAlgn="base">
                        <a:buClr>
                          <a:schemeClr val="tx2">
                            <a:lumMod val="100000"/>
                          </a:schemeClr>
                        </a:buClr>
                        <a:buSzPct val="100000"/>
                        <a:buFont typeface="Trebuchet MS" panose="020B0603020202020204" pitchFamily="34" charset="0"/>
                        <a:buNone/>
                      </a:pPr>
                      <a:r>
                        <a:rPr lang="en-US" sz="1000" kern="1200">
                          <a:solidFill>
                            <a:schemeClr val="tx1">
                              <a:lumMod val="100000"/>
                            </a:schemeClr>
                          </a:solidFill>
                          <a:latin typeface="+mn-lt"/>
                          <a:ea typeface="+mn-ea"/>
                          <a:cs typeface="Arial" pitchFamily="34" charset="0"/>
                        </a:rPr>
                        <a:t>implementation cost </a:t>
                      </a:r>
                      <a:r>
                        <a:rPr lang="en-US" sz="800" kern="1200">
                          <a:solidFill>
                            <a:schemeClr val="tx1">
                              <a:lumMod val="100000"/>
                            </a:schemeClr>
                          </a:solidFill>
                          <a:latin typeface="+mn-lt"/>
                          <a:ea typeface="+mn-ea"/>
                          <a:cs typeface="Arial" pitchFamily="34" charset="0"/>
                        </a:rPr>
                        <a:t>(@ $600/day)</a:t>
                      </a:r>
                    </a:p>
                    <a:p>
                      <a:pPr marL="0" lvl="0" indent="-349200" algn="ctr" fontAlgn="base">
                        <a:buClr>
                          <a:schemeClr val="tx2">
                            <a:lumMod val="100000"/>
                          </a:schemeClr>
                        </a:buClr>
                        <a:buSzPct val="100000"/>
                        <a:buFont typeface="Trebuchet MS" panose="020B0603020202020204" pitchFamily="34" charset="0"/>
                        <a:buNone/>
                      </a:pPr>
                      <a:endParaRPr lang="en-US" sz="1000" b="1" kern="1200">
                        <a:solidFill>
                          <a:schemeClr val="tx1">
                            <a:lumMod val="100000"/>
                          </a:schemeClr>
                        </a:solidFill>
                        <a:latin typeface="+mn-lt"/>
                        <a:ea typeface="+mn-ea"/>
                        <a:cs typeface="Arial" pitchFamily="34" charset="0"/>
                      </a:endParaRPr>
                    </a:p>
                    <a:p>
                      <a:pPr marL="0" lvl="0" indent="-349200" algn="ctr" fontAlgn="base">
                        <a:buClr>
                          <a:schemeClr val="tx2">
                            <a:lumMod val="100000"/>
                          </a:schemeClr>
                        </a:buClr>
                        <a:buSzPct val="100000"/>
                        <a:buFont typeface="Trebuchet MS" panose="020B0603020202020204" pitchFamily="34" charset="0"/>
                        <a:buNone/>
                      </a:pPr>
                      <a:r>
                        <a:rPr lang="en-US" sz="1000" b="1" kern="1200">
                          <a:solidFill>
                            <a:schemeClr val="tx1">
                              <a:lumMod val="100000"/>
                            </a:schemeClr>
                          </a:solidFill>
                          <a:latin typeface="+mn-lt"/>
                          <a:ea typeface="+mn-ea"/>
                          <a:cs typeface="Arial" pitchFamily="34" charset="0"/>
                        </a:rPr>
                        <a:t>Max.</a:t>
                      </a:r>
                      <a:br>
                        <a:rPr lang="en-US" sz="1000" b="1" kern="1200">
                          <a:solidFill>
                            <a:schemeClr val="tx1">
                              <a:lumMod val="100000"/>
                            </a:schemeClr>
                          </a:solidFill>
                          <a:latin typeface="+mn-lt"/>
                          <a:ea typeface="+mn-ea"/>
                          <a:cs typeface="Arial" pitchFamily="34" charset="0"/>
                        </a:rPr>
                      </a:br>
                      <a:r>
                        <a:rPr lang="en-US" sz="1000" b="1" kern="1200">
                          <a:solidFill>
                            <a:schemeClr val="tx1">
                              <a:lumMod val="100000"/>
                            </a:schemeClr>
                          </a:solidFill>
                          <a:highlight>
                            <a:srgbClr val="00FF00"/>
                          </a:highlight>
                          <a:latin typeface="+mn-lt"/>
                          <a:ea typeface="+mn-ea"/>
                          <a:cs typeface="Arial" pitchFamily="34" charset="0"/>
                        </a:rPr>
                        <a:t>~xx-xx person-days </a:t>
                      </a:r>
                      <a:br>
                        <a:rPr lang="en-US" sz="1000" b="1" kern="1200">
                          <a:solidFill>
                            <a:schemeClr val="tx1">
                              <a:lumMod val="100000"/>
                            </a:schemeClr>
                          </a:solidFill>
                          <a:highlight>
                            <a:srgbClr val="00FF00"/>
                          </a:highlight>
                          <a:latin typeface="+mn-lt"/>
                          <a:ea typeface="+mn-ea"/>
                          <a:cs typeface="Arial" pitchFamily="34" charset="0"/>
                        </a:rPr>
                      </a:br>
                      <a:r>
                        <a:rPr lang="en-US" sz="1000" kern="1200">
                          <a:solidFill>
                            <a:schemeClr val="tx1">
                              <a:lumMod val="100000"/>
                            </a:schemeClr>
                          </a:solidFill>
                          <a:latin typeface="+mn-lt"/>
                          <a:ea typeface="+mn-ea"/>
                          <a:cs typeface="Arial" pitchFamily="34" charset="0"/>
                        </a:rPr>
                        <a:t>effort</a:t>
                      </a:r>
                    </a:p>
                  </a:txBody>
                  <a:tcPr marT="7620" marB="0" anchor="ctr">
                    <a:lnL>
                      <a:noFill/>
                    </a:lnL>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extLst>
                  <a:ext uri="{0D108BD9-81ED-4DB2-BD59-A6C34878D82A}">
                    <a16:rowId xmlns:a16="http://schemas.microsoft.com/office/drawing/2014/main" val="4244178652"/>
                  </a:ext>
                </a:extLst>
              </a:tr>
              <a:tr h="1923365">
                <a:tc>
                  <a:txBody>
                    <a:bodyPr/>
                    <a:lstStyle/>
                    <a:p>
                      <a:pPr marL="171450" marR="0" indent="-171450" algn="l">
                        <a:lnSpc>
                          <a:spcPct val="100000"/>
                        </a:lnSpc>
                        <a:spcBef>
                          <a:spcPts val="0"/>
                        </a:spcBef>
                        <a:spcAft>
                          <a:spcPts val="400"/>
                        </a:spcAft>
                        <a:buFont typeface="Arial,Sans-Serif" panose="020B0604020202020204" pitchFamily="34" charset="0"/>
                        <a:buChar char="•"/>
                      </a:pPr>
                      <a:r>
                        <a:rPr lang="en-US" sz="1200" b="0" i="0" u="none" strike="noStrike" noProof="0">
                          <a:latin typeface="+mn-lt"/>
                        </a:rPr>
                        <a:t>Opportunities for strengthening </a:t>
                      </a:r>
                      <a:r>
                        <a:rPr lang="en-US" sz="1200" b="0" i="0" u="none" strike="noStrike" noProof="0">
                          <a:highlight>
                            <a:srgbClr val="00FF00"/>
                          </a:highlight>
                          <a:latin typeface="+mn-lt"/>
                        </a:rPr>
                        <a:t>security and efficiency </a:t>
                      </a:r>
                      <a:r>
                        <a:rPr lang="en-US" sz="1200" b="0" i="0" u="none" strike="noStrike" noProof="0">
                          <a:latin typeface="+mn-lt"/>
                        </a:rPr>
                        <a:t>of the application</a:t>
                      </a:r>
                      <a:endParaRPr lang="en-US" sz="1200" b="0" i="0" u="none" strike="noStrike" noProof="0">
                        <a:latin typeface="Trebuchet MS"/>
                      </a:endParaRPr>
                    </a:p>
                    <a:p>
                      <a:pPr marL="628650" lvl="1" indent="-171450">
                        <a:spcAft>
                          <a:spcPts val="400"/>
                        </a:spcAft>
                        <a:buFont typeface="Wingdings,Sans-Serif" panose="020B0604020202020204" pitchFamily="34" charset="0"/>
                        <a:buChar char="Ø"/>
                      </a:pPr>
                      <a:r>
                        <a:rPr lang="en-US" sz="1200" b="0" i="0" u="none" strike="noStrike" noProof="0" err="1">
                          <a:solidFill>
                            <a:schemeClr val="tx1">
                              <a:lumMod val="100000"/>
                            </a:schemeClr>
                          </a:solidFill>
                          <a:highlight>
                            <a:srgbClr val="00FF00"/>
                          </a:highlight>
                          <a:latin typeface="Trebuchet MS"/>
                        </a:rPr>
                        <a:t>x,xxx</a:t>
                      </a:r>
                      <a:r>
                        <a:rPr lang="en-US" sz="1200" b="0" i="0" u="none" strike="noStrike" noProof="0">
                          <a:solidFill>
                            <a:schemeClr val="tx1">
                              <a:lumMod val="100000"/>
                            </a:schemeClr>
                          </a:solidFill>
                          <a:highlight>
                            <a:srgbClr val="00FF00"/>
                          </a:highlight>
                          <a:latin typeface="Trebuchet MS"/>
                        </a:rPr>
                        <a:t> </a:t>
                      </a:r>
                      <a:r>
                        <a:rPr lang="en-US" sz="1200" b="0" i="0" u="none" strike="noStrike" noProof="0">
                          <a:solidFill>
                            <a:schemeClr val="tx1">
                              <a:lumMod val="100000"/>
                            </a:schemeClr>
                          </a:solidFill>
                          <a:latin typeface="Trebuchet MS"/>
                        </a:rPr>
                        <a:t>violations added to the action plan for near term. </a:t>
                      </a:r>
                      <a:r>
                        <a:rPr lang="en-US" sz="1200" b="0" i="0" u="none" strike="noStrike" noProof="0">
                          <a:solidFill>
                            <a:schemeClr val="tx1">
                              <a:lumMod val="100000"/>
                            </a:schemeClr>
                          </a:solidFill>
                          <a:latin typeface="+mn-lt"/>
                        </a:rPr>
                        <a:t>xx cases of (rule name), xx cases of (rule name) and xx cases of (rule name)</a:t>
                      </a:r>
                      <a:r>
                        <a:rPr lang="en-US" sz="1200" b="0" i="0" u="none" strike="noStrike" noProof="0">
                          <a:solidFill>
                            <a:schemeClr val="tx1">
                              <a:lumMod val="100000"/>
                            </a:schemeClr>
                          </a:solidFill>
                          <a:latin typeface="Trebuchet MS"/>
                        </a:rPr>
                        <a:t>. See Panel </a:t>
                      </a:r>
                      <a:r>
                        <a:rPr lang="en-US" sz="1200" b="0" i="0" u="none" strike="noStrike" noProof="0">
                          <a:solidFill>
                            <a:schemeClr val="tx1">
                              <a:lumMod val="100000"/>
                            </a:schemeClr>
                          </a:solidFill>
                          <a:highlight>
                            <a:srgbClr val="00FF00"/>
                          </a:highlight>
                          <a:latin typeface="Trebuchet MS"/>
                        </a:rPr>
                        <a:t>XX.</a:t>
                      </a:r>
                    </a:p>
                    <a:p>
                      <a:pPr marL="171450" marR="0" indent="-171450" algn="l">
                        <a:lnSpc>
                          <a:spcPct val="100000"/>
                        </a:lnSpc>
                        <a:spcBef>
                          <a:spcPts val="0"/>
                        </a:spcBef>
                        <a:spcAft>
                          <a:spcPts val="400"/>
                        </a:spcAft>
                        <a:buFont typeface="Arial,Sans-Serif" panose="020B0604020202020204" pitchFamily="34" charset="0"/>
                        <a:buChar char="•"/>
                      </a:pPr>
                      <a:r>
                        <a:rPr lang="en-US" sz="1200" b="0" i="0" u="none" strike="noStrike" noProof="0">
                          <a:latin typeface="+mn-lt"/>
                        </a:rPr>
                        <a:t>Opportunities for securing open-source components</a:t>
                      </a:r>
                    </a:p>
                    <a:p>
                      <a:pPr marL="628650" lvl="1" indent="-171450">
                        <a:spcAft>
                          <a:spcPts val="400"/>
                        </a:spcAft>
                        <a:buFont typeface="Wingdings,Sans-Serif" panose="020B0604020202020204" pitchFamily="34" charset="0"/>
                        <a:buChar char="Ø"/>
                      </a:pPr>
                      <a:r>
                        <a:rPr lang="en-US" sz="1200">
                          <a:solidFill>
                            <a:schemeClr val="tx1">
                              <a:lumMod val="100000"/>
                            </a:schemeClr>
                          </a:solidFill>
                          <a:highlight>
                            <a:srgbClr val="00FF00"/>
                          </a:highlight>
                        </a:rPr>
                        <a:t>xx </a:t>
                      </a:r>
                      <a:r>
                        <a:rPr lang="en-US" sz="1200">
                          <a:solidFill>
                            <a:schemeClr val="tx1">
                              <a:lumMod val="100000"/>
                            </a:schemeClr>
                          </a:solidFill>
                        </a:rPr>
                        <a:t>components with High-risk security vulnerabilities and xx with Medium-risk security vulnerabilities detected leading to risk of (risk name) and (risk name). These should be reviewed for production risk. See Panel </a:t>
                      </a:r>
                      <a:r>
                        <a:rPr lang="en-US" sz="1200">
                          <a:solidFill>
                            <a:schemeClr val="tx1">
                              <a:lumMod val="100000"/>
                            </a:schemeClr>
                          </a:solidFill>
                          <a:highlight>
                            <a:srgbClr val="00FF00"/>
                          </a:highlight>
                        </a:rPr>
                        <a:t>XX.</a:t>
                      </a:r>
                      <a:endParaRPr lang="en-US" sz="1200" b="0" i="0" u="none" strike="noStrike" noProof="0">
                        <a:solidFill>
                          <a:schemeClr val="tx1">
                            <a:lumMod val="100000"/>
                          </a:schemeClr>
                        </a:solidFill>
                        <a:highlight>
                          <a:srgbClr val="00FF00"/>
                        </a:highlight>
                        <a:latin typeface="+mn-lt"/>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tc>
                  <a:txBody>
                    <a:bodyPr/>
                    <a:lstStyle/>
                    <a:p>
                      <a:pPr marL="628650" lvl="1" indent="-171450">
                        <a:spcAft>
                          <a:spcPts val="400"/>
                        </a:spcAft>
                        <a:buFont typeface="Wingdings,Sans-Serif" panose="020B0604020202020204" pitchFamily="34" charset="0"/>
                        <a:buChar char="Ø"/>
                      </a:pPr>
                      <a:endParaRPr lang="en-US" sz="1200" b="0" i="0" u="none" strike="noStrike" noProof="0">
                        <a:latin typeface="Trebuchet MS"/>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349200" algn="ctr" fontAlgn="base">
                        <a:buClr>
                          <a:schemeClr val="tx2">
                            <a:lumMod val="100000"/>
                          </a:schemeClr>
                        </a:buClr>
                        <a:buSzPct val="100000"/>
                        <a:buFont typeface="Trebuchet MS" panose="020B0603020202020204" pitchFamily="34" charset="0"/>
                        <a:buNone/>
                      </a:pPr>
                      <a:r>
                        <a:rPr lang="en-US" sz="1000" b="1" kern="1200">
                          <a:solidFill>
                            <a:schemeClr val="tx1">
                              <a:lumMod val="100000"/>
                            </a:schemeClr>
                          </a:solidFill>
                          <a:highlight>
                            <a:srgbClr val="00FF00"/>
                          </a:highlight>
                          <a:latin typeface="+mn-lt"/>
                          <a:ea typeface="+mn-ea"/>
                          <a:cs typeface="Arial" pitchFamily="34" charset="0"/>
                        </a:rPr>
                        <a:t>$</a:t>
                      </a:r>
                      <a:r>
                        <a:rPr lang="en-US" sz="1000" b="1" kern="1200" err="1">
                          <a:solidFill>
                            <a:schemeClr val="tx1">
                              <a:lumMod val="100000"/>
                            </a:schemeClr>
                          </a:solidFill>
                          <a:highlight>
                            <a:srgbClr val="00FF00"/>
                          </a:highlight>
                          <a:latin typeface="+mn-lt"/>
                          <a:ea typeface="+mn-ea"/>
                          <a:cs typeface="Arial" pitchFamily="34" charset="0"/>
                        </a:rPr>
                        <a:t>xxK</a:t>
                      </a:r>
                      <a:r>
                        <a:rPr lang="en-US" sz="1000" b="1" kern="1200">
                          <a:solidFill>
                            <a:schemeClr val="tx1">
                              <a:lumMod val="100000"/>
                            </a:schemeClr>
                          </a:solidFill>
                          <a:highlight>
                            <a:srgbClr val="00FF00"/>
                          </a:highlight>
                          <a:latin typeface="+mn-lt"/>
                          <a:ea typeface="+mn-ea"/>
                          <a:cs typeface="Arial" pitchFamily="34" charset="0"/>
                        </a:rPr>
                        <a:t>-$</a:t>
                      </a:r>
                      <a:r>
                        <a:rPr lang="en-US" sz="1000" b="1" kern="1200" err="1">
                          <a:solidFill>
                            <a:schemeClr val="tx1">
                              <a:lumMod val="100000"/>
                            </a:schemeClr>
                          </a:solidFill>
                          <a:highlight>
                            <a:srgbClr val="00FF00"/>
                          </a:highlight>
                          <a:latin typeface="+mn-lt"/>
                          <a:ea typeface="+mn-ea"/>
                          <a:cs typeface="Arial" pitchFamily="34" charset="0"/>
                        </a:rPr>
                        <a:t>xxK</a:t>
                      </a:r>
                      <a:r>
                        <a:rPr lang="en-US" sz="1000" kern="1200">
                          <a:solidFill>
                            <a:schemeClr val="tx1">
                              <a:lumMod val="100000"/>
                            </a:schemeClr>
                          </a:solidFill>
                          <a:highlight>
                            <a:srgbClr val="00FF00"/>
                          </a:highlight>
                          <a:latin typeface="+mn-lt"/>
                          <a:ea typeface="+mn-ea"/>
                          <a:cs typeface="Arial" pitchFamily="34" charset="0"/>
                        </a:rPr>
                        <a:t> </a:t>
                      </a:r>
                      <a:r>
                        <a:rPr lang="en-US" sz="1000" kern="1200">
                          <a:solidFill>
                            <a:schemeClr val="tx1">
                              <a:lumMod val="100000"/>
                            </a:schemeClr>
                          </a:solidFill>
                          <a:latin typeface="+mn-lt"/>
                          <a:ea typeface="+mn-ea"/>
                          <a:cs typeface="Arial" pitchFamily="34" charset="0"/>
                        </a:rPr>
                        <a:t>implementation cost</a:t>
                      </a:r>
                    </a:p>
                    <a:p>
                      <a:pPr marL="0" lvl="0" indent="-349200" algn="ctr" fontAlgn="base">
                        <a:buClr>
                          <a:schemeClr val="tx2">
                            <a:lumMod val="100000"/>
                          </a:schemeClr>
                        </a:buClr>
                        <a:buSzPct val="100000"/>
                        <a:buFont typeface="Trebuchet MS" panose="020B0603020202020204" pitchFamily="34" charset="0"/>
                        <a:buNone/>
                      </a:pPr>
                      <a:endParaRPr lang="en-US" sz="1000" b="1" kern="1200">
                        <a:solidFill>
                          <a:schemeClr val="tx1">
                            <a:lumMod val="100000"/>
                          </a:schemeClr>
                        </a:solidFill>
                        <a:latin typeface="+mn-lt"/>
                        <a:ea typeface="+mn-ea"/>
                        <a:cs typeface="Arial" pitchFamily="34" charset="0"/>
                      </a:endParaRPr>
                    </a:p>
                    <a:p>
                      <a:pPr marL="0" lvl="0" indent="-349200" algn="ctr" fontAlgn="base">
                        <a:buClr>
                          <a:schemeClr val="tx2">
                            <a:lumMod val="100000"/>
                          </a:schemeClr>
                        </a:buClr>
                        <a:buSzPct val="100000"/>
                        <a:buFont typeface="Trebuchet MS" panose="020B0603020202020204" pitchFamily="34" charset="0"/>
                        <a:buNone/>
                      </a:pPr>
                      <a:r>
                        <a:rPr lang="en-US" sz="1000" b="1" kern="1200">
                          <a:solidFill>
                            <a:schemeClr val="tx1">
                              <a:lumMod val="100000"/>
                            </a:schemeClr>
                          </a:solidFill>
                          <a:latin typeface="+mn-lt"/>
                          <a:ea typeface="+mn-ea"/>
                          <a:cs typeface="Arial" pitchFamily="34" charset="0"/>
                        </a:rPr>
                        <a:t>Max.</a:t>
                      </a:r>
                      <a:br>
                        <a:rPr lang="en-US" sz="1000" b="1" kern="1200">
                          <a:solidFill>
                            <a:schemeClr val="tx1">
                              <a:lumMod val="100000"/>
                            </a:schemeClr>
                          </a:solidFill>
                          <a:latin typeface="+mn-lt"/>
                          <a:ea typeface="+mn-ea"/>
                          <a:cs typeface="Arial" pitchFamily="34" charset="0"/>
                        </a:rPr>
                      </a:br>
                      <a:r>
                        <a:rPr lang="en-US" sz="1000" b="1" kern="1200">
                          <a:solidFill>
                            <a:schemeClr val="tx1">
                              <a:lumMod val="100000"/>
                            </a:schemeClr>
                          </a:solidFill>
                          <a:highlight>
                            <a:srgbClr val="00FF00"/>
                          </a:highlight>
                          <a:latin typeface="+mn-lt"/>
                          <a:ea typeface="+mn-ea"/>
                          <a:cs typeface="Arial" pitchFamily="34" charset="0"/>
                        </a:rPr>
                        <a:t>xx-xx</a:t>
                      </a:r>
                      <a:r>
                        <a:rPr lang="en-US" sz="1000" b="1" kern="1200">
                          <a:solidFill>
                            <a:schemeClr val="tx1">
                              <a:lumMod val="100000"/>
                            </a:schemeClr>
                          </a:solidFill>
                          <a:latin typeface="+mn-lt"/>
                          <a:ea typeface="+mn-ea"/>
                          <a:cs typeface="Arial" pitchFamily="34" charset="0"/>
                        </a:rPr>
                        <a:t> person-days </a:t>
                      </a:r>
                      <a:br>
                        <a:rPr lang="en-US" sz="1000" b="1" kern="1200">
                          <a:solidFill>
                            <a:schemeClr val="tx1">
                              <a:lumMod val="100000"/>
                            </a:schemeClr>
                          </a:solidFill>
                          <a:latin typeface="+mn-lt"/>
                          <a:ea typeface="+mn-ea"/>
                          <a:cs typeface="Arial" pitchFamily="34" charset="0"/>
                        </a:rPr>
                      </a:br>
                      <a:r>
                        <a:rPr lang="en-US" sz="1000" kern="1200">
                          <a:solidFill>
                            <a:schemeClr val="tx1">
                              <a:lumMod val="100000"/>
                            </a:schemeClr>
                          </a:solidFill>
                          <a:latin typeface="+mn-lt"/>
                          <a:ea typeface="+mn-ea"/>
                          <a:cs typeface="Arial" pitchFamily="34" charset="0"/>
                        </a:rPr>
                        <a:t>implementation effort </a:t>
                      </a:r>
                    </a:p>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700" kern="1200">
                          <a:solidFill>
                            <a:schemeClr val="tx1">
                              <a:lumMod val="100000"/>
                            </a:schemeClr>
                          </a:solidFill>
                          <a:highlight>
                            <a:srgbClr val="00FF00"/>
                          </a:highlight>
                          <a:latin typeface="+mn-lt"/>
                          <a:ea typeface="+mn-ea"/>
                          <a:cs typeface="Arial" pitchFamily="34" charset="0"/>
                        </a:rPr>
                        <a:t>(~xx </a:t>
                      </a:r>
                      <a:r>
                        <a:rPr lang="en-US" sz="700" kern="1200">
                          <a:solidFill>
                            <a:schemeClr val="tx1">
                              <a:lumMod val="100000"/>
                            </a:schemeClr>
                          </a:solidFill>
                          <a:latin typeface="+mn-lt"/>
                          <a:ea typeface="+mn-ea"/>
                          <a:cs typeface="Arial" pitchFamily="34" charset="0"/>
                        </a:rPr>
                        <a:t>days effort to review open-source issues)</a:t>
                      </a:r>
                    </a:p>
                  </a:txBody>
                  <a:tcPr marT="762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extLst>
                  <a:ext uri="{0D108BD9-81ED-4DB2-BD59-A6C34878D82A}">
                    <a16:rowId xmlns:a16="http://schemas.microsoft.com/office/drawing/2014/main" val="2310918149"/>
                  </a:ext>
                </a:extLst>
              </a:tr>
              <a:tr h="1678303">
                <a:tc>
                  <a:txBody>
                    <a:bodyPr/>
                    <a:lstStyle/>
                    <a:p>
                      <a:pPr marL="171450" indent="-171450">
                        <a:spcAft>
                          <a:spcPts val="400"/>
                        </a:spcAft>
                        <a:buFont typeface="Arial" panose="020B0604020202020204" pitchFamily="34" charset="0"/>
                        <a:buChar char="•"/>
                      </a:pPr>
                      <a:r>
                        <a:rPr lang="en-US" sz="1200" err="1">
                          <a:solidFill>
                            <a:schemeClr val="tx1">
                              <a:lumMod val="100000"/>
                            </a:schemeClr>
                          </a:solidFill>
                          <a:highlight>
                            <a:srgbClr val="00FF00"/>
                          </a:highlight>
                        </a:rPr>
                        <a:t>x,xxx</a:t>
                      </a:r>
                      <a:r>
                        <a:rPr lang="en-US" sz="1200">
                          <a:solidFill>
                            <a:schemeClr val="tx1">
                              <a:lumMod val="100000"/>
                            </a:schemeClr>
                          </a:solidFill>
                          <a:highlight>
                            <a:srgbClr val="00FF00"/>
                          </a:highlight>
                        </a:rPr>
                        <a:t> </a:t>
                      </a:r>
                      <a:r>
                        <a:rPr lang="en-US" sz="1200">
                          <a:solidFill>
                            <a:schemeClr val="tx1">
                              <a:lumMod val="100000"/>
                            </a:schemeClr>
                          </a:solidFill>
                        </a:rPr>
                        <a:t>items which will improve changeability, robustness and overall health of the application</a:t>
                      </a:r>
                    </a:p>
                    <a:p>
                      <a:pPr marL="628650" marR="0" lvl="1"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0" i="0" u="none" strike="noStrike" noProof="0">
                          <a:solidFill>
                            <a:schemeClr val="tx1">
                              <a:lumMod val="100000"/>
                            </a:schemeClr>
                          </a:solidFill>
                          <a:highlight>
                            <a:srgbClr val="00FF00"/>
                          </a:highlight>
                          <a:latin typeface="+mn-lt"/>
                        </a:rPr>
                        <a:t>xxx violations from cyclical calls between packages would require design review.</a:t>
                      </a:r>
                      <a:endParaRPr lang="en-US" sz="1200">
                        <a:solidFill>
                          <a:schemeClr val="tx1">
                            <a:lumMod val="100000"/>
                          </a:schemeClr>
                        </a:solidFill>
                        <a:highlight>
                          <a:srgbClr val="00FF00"/>
                        </a:highlight>
                      </a:endParaRPr>
                    </a:p>
                    <a:p>
                      <a:pPr marL="628650" lvl="1" indent="-171450">
                        <a:spcAft>
                          <a:spcPts val="400"/>
                        </a:spcAft>
                        <a:buFont typeface="Wingdings" panose="05000000000000000000" pitchFamily="2" charset="2"/>
                        <a:buChar char="Ø"/>
                      </a:pPr>
                      <a:r>
                        <a:rPr lang="en-US" sz="1200">
                          <a:solidFill>
                            <a:schemeClr val="tx1">
                              <a:lumMod val="100000"/>
                            </a:schemeClr>
                          </a:solidFill>
                          <a:highlight>
                            <a:srgbClr val="00FF00"/>
                          </a:highlight>
                        </a:rPr>
                        <a:t>xxx empty catch blocks to handle.</a:t>
                      </a:r>
                    </a:p>
                    <a:p>
                      <a:pPr marL="628650" lvl="1" indent="-171450">
                        <a:spcAft>
                          <a:spcPts val="400"/>
                        </a:spcAft>
                        <a:buFont typeface="Wingdings" panose="05000000000000000000" pitchFamily="2" charset="2"/>
                        <a:buChar char="Ø"/>
                      </a:pPr>
                      <a:r>
                        <a:rPr lang="en-US" sz="1200">
                          <a:solidFill>
                            <a:schemeClr val="tx1">
                              <a:lumMod val="100000"/>
                            </a:schemeClr>
                          </a:solidFill>
                          <a:highlight>
                            <a:srgbClr val="00FF00"/>
                          </a:highlight>
                        </a:rPr>
                        <a:t>xxx violations where </a:t>
                      </a:r>
                      <a:r>
                        <a:rPr lang="en-US" sz="1200" err="1">
                          <a:solidFill>
                            <a:schemeClr val="tx1">
                              <a:lumMod val="100000"/>
                            </a:schemeClr>
                          </a:solidFill>
                          <a:highlight>
                            <a:srgbClr val="00FF00"/>
                          </a:highlight>
                        </a:rPr>
                        <a:t>xxxxxxx</a:t>
                      </a:r>
                      <a:r>
                        <a:rPr lang="en-US" sz="1200">
                          <a:solidFill>
                            <a:schemeClr val="tx1">
                              <a:lumMod val="100000"/>
                            </a:schemeClr>
                          </a:solidFill>
                          <a:highlight>
                            <a:srgbClr val="00FF00"/>
                          </a:highlight>
                        </a:rPr>
                        <a:t>.</a:t>
                      </a: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chemeClr val="bg1">
                        <a:alpha val="20000"/>
                      </a:schemeClr>
                    </a:solidFill>
                  </a:tcPr>
                </a:tc>
                <a:tc>
                  <a:txBody>
                    <a:bodyPr/>
                    <a:lstStyle/>
                    <a:p>
                      <a:pPr marL="628650" lvl="1" indent="-171450">
                        <a:spcAft>
                          <a:spcPts val="400"/>
                        </a:spcAft>
                        <a:buFont typeface="Wingdings" panose="05000000000000000000" pitchFamily="2" charset="2"/>
                        <a:buChar char="Ø"/>
                      </a:pPr>
                      <a:endParaRPr lang="en-US" sz="1200">
                        <a:solidFill>
                          <a:schemeClr val="tx1">
                            <a:lumMod val="100000"/>
                          </a:schemeClr>
                        </a:solidFill>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349200" algn="ctr" fontAlgn="base">
                        <a:buClr>
                          <a:schemeClr val="tx2">
                            <a:lumMod val="100000"/>
                          </a:schemeClr>
                        </a:buClr>
                        <a:buSzPct val="100000"/>
                        <a:buFont typeface="Trebuchet MS" panose="020B0603020202020204" pitchFamily="34" charset="0"/>
                        <a:buNone/>
                      </a:pPr>
                      <a:r>
                        <a:rPr lang="en-US" sz="1000" b="1" kern="1200">
                          <a:solidFill>
                            <a:schemeClr val="tx1">
                              <a:lumMod val="100000"/>
                            </a:schemeClr>
                          </a:solidFill>
                          <a:highlight>
                            <a:srgbClr val="00FF00"/>
                          </a:highlight>
                          <a:latin typeface="+mn-lt"/>
                          <a:ea typeface="+mn-ea"/>
                          <a:cs typeface="Arial" pitchFamily="34" charset="0"/>
                        </a:rPr>
                        <a:t>$</a:t>
                      </a:r>
                      <a:r>
                        <a:rPr lang="en-US" sz="1000" b="1" err="1">
                          <a:solidFill>
                            <a:schemeClr val="tx1">
                              <a:lumMod val="100000"/>
                            </a:schemeClr>
                          </a:solidFill>
                          <a:highlight>
                            <a:srgbClr val="00FF00"/>
                          </a:highlight>
                          <a:cs typeface="Arial" pitchFamily="34" charset="0"/>
                        </a:rPr>
                        <a:t>xx</a:t>
                      </a:r>
                      <a:r>
                        <a:rPr lang="en-US" sz="1000" b="1" kern="1200" err="1">
                          <a:solidFill>
                            <a:schemeClr val="tx1">
                              <a:lumMod val="100000"/>
                            </a:schemeClr>
                          </a:solidFill>
                          <a:highlight>
                            <a:srgbClr val="00FF00"/>
                          </a:highlight>
                          <a:latin typeface="+mn-lt"/>
                          <a:ea typeface="+mn-ea"/>
                          <a:cs typeface="Arial" pitchFamily="34" charset="0"/>
                        </a:rPr>
                        <a:t>K</a:t>
                      </a:r>
                      <a:r>
                        <a:rPr lang="en-US" sz="1000" b="1" kern="1200">
                          <a:solidFill>
                            <a:schemeClr val="tx1">
                              <a:lumMod val="100000"/>
                            </a:schemeClr>
                          </a:solidFill>
                          <a:highlight>
                            <a:srgbClr val="00FF00"/>
                          </a:highlight>
                          <a:latin typeface="+mn-lt"/>
                          <a:ea typeface="+mn-ea"/>
                          <a:cs typeface="Arial" pitchFamily="34" charset="0"/>
                        </a:rPr>
                        <a:t>-$</a:t>
                      </a:r>
                      <a:r>
                        <a:rPr lang="en-US" sz="1000" b="1" kern="1200" err="1">
                          <a:solidFill>
                            <a:schemeClr val="tx1">
                              <a:lumMod val="100000"/>
                            </a:schemeClr>
                          </a:solidFill>
                          <a:highlight>
                            <a:srgbClr val="00FF00"/>
                          </a:highlight>
                          <a:latin typeface="+mn-lt"/>
                          <a:ea typeface="+mn-ea"/>
                          <a:cs typeface="Arial" pitchFamily="34" charset="0"/>
                        </a:rPr>
                        <a:t>xxK</a:t>
                      </a:r>
                      <a:r>
                        <a:rPr lang="en-US" sz="1000" kern="1200">
                          <a:solidFill>
                            <a:schemeClr val="tx1">
                              <a:lumMod val="100000"/>
                            </a:schemeClr>
                          </a:solidFill>
                          <a:highlight>
                            <a:srgbClr val="00FF00"/>
                          </a:highlight>
                          <a:latin typeface="+mn-lt"/>
                          <a:ea typeface="+mn-ea"/>
                          <a:cs typeface="Arial" pitchFamily="34" charset="0"/>
                        </a:rPr>
                        <a:t> </a:t>
                      </a:r>
                      <a:r>
                        <a:rPr lang="en-US" sz="1000" kern="1200">
                          <a:solidFill>
                            <a:schemeClr val="tx1">
                              <a:lumMod val="100000"/>
                            </a:schemeClr>
                          </a:solidFill>
                          <a:latin typeface="+mn-lt"/>
                          <a:ea typeface="+mn-ea"/>
                          <a:cs typeface="Arial" pitchFamily="34" charset="0"/>
                        </a:rPr>
                        <a:t>implementation cost</a:t>
                      </a:r>
                    </a:p>
                    <a:p>
                      <a:pPr marL="0" lvl="0" indent="-349200" algn="ctr" fontAlgn="base">
                        <a:buClr>
                          <a:schemeClr val="tx2">
                            <a:lumMod val="100000"/>
                          </a:schemeClr>
                        </a:buClr>
                        <a:buSzPct val="100000"/>
                        <a:buFont typeface="Trebuchet MS" panose="020B0603020202020204" pitchFamily="34" charset="0"/>
                        <a:buNone/>
                      </a:pPr>
                      <a:endParaRPr lang="en-US" sz="1000" b="1" kern="1200">
                        <a:solidFill>
                          <a:schemeClr val="tx1">
                            <a:lumMod val="100000"/>
                          </a:schemeClr>
                        </a:solidFill>
                        <a:latin typeface="+mn-lt"/>
                        <a:ea typeface="+mn-ea"/>
                        <a:cs typeface="Arial" pitchFamily="34" charset="0"/>
                      </a:endParaRPr>
                    </a:p>
                    <a:p>
                      <a:pPr marL="0" lvl="0" indent="-349200" algn="ctr" fontAlgn="base">
                        <a:buClr>
                          <a:schemeClr val="tx2">
                            <a:lumMod val="100000"/>
                          </a:schemeClr>
                        </a:buClr>
                        <a:buSzPct val="100000"/>
                        <a:buFont typeface="Trebuchet MS" panose="020B0603020202020204" pitchFamily="34" charset="0"/>
                        <a:buNone/>
                      </a:pPr>
                      <a:r>
                        <a:rPr lang="en-US" sz="1000" b="1" kern="1200">
                          <a:solidFill>
                            <a:schemeClr val="tx1">
                              <a:lumMod val="100000"/>
                            </a:schemeClr>
                          </a:solidFill>
                          <a:latin typeface="+mn-lt"/>
                          <a:ea typeface="+mn-ea"/>
                          <a:cs typeface="Arial" pitchFamily="34" charset="0"/>
                        </a:rPr>
                        <a:t>Max.</a:t>
                      </a:r>
                      <a:br>
                        <a:rPr lang="en-US" sz="1000" b="1" kern="1200">
                          <a:solidFill>
                            <a:schemeClr val="tx1">
                              <a:lumMod val="100000"/>
                            </a:schemeClr>
                          </a:solidFill>
                          <a:latin typeface="+mn-lt"/>
                          <a:ea typeface="+mn-ea"/>
                          <a:cs typeface="Arial" pitchFamily="34" charset="0"/>
                        </a:rPr>
                      </a:br>
                      <a:r>
                        <a:rPr lang="en-US" sz="1000" b="1">
                          <a:solidFill>
                            <a:schemeClr val="tx1">
                              <a:lumMod val="100000"/>
                            </a:schemeClr>
                          </a:solidFill>
                          <a:highlight>
                            <a:srgbClr val="00FF00"/>
                          </a:highlight>
                          <a:cs typeface="Arial" pitchFamily="34" charset="0"/>
                        </a:rPr>
                        <a:t>xx</a:t>
                      </a:r>
                      <a:r>
                        <a:rPr lang="en-US" sz="1000" b="1" kern="1200">
                          <a:solidFill>
                            <a:schemeClr val="tx1">
                              <a:lumMod val="100000"/>
                            </a:schemeClr>
                          </a:solidFill>
                          <a:highlight>
                            <a:srgbClr val="00FF00"/>
                          </a:highlight>
                          <a:latin typeface="+mn-lt"/>
                          <a:ea typeface="+mn-ea"/>
                          <a:cs typeface="Arial" pitchFamily="34" charset="0"/>
                        </a:rPr>
                        <a:t>-xx p</a:t>
                      </a:r>
                      <a:r>
                        <a:rPr lang="en-US" sz="1000" b="1" kern="1200">
                          <a:solidFill>
                            <a:schemeClr val="tx1">
                              <a:lumMod val="100000"/>
                            </a:schemeClr>
                          </a:solidFill>
                          <a:latin typeface="+mn-lt"/>
                          <a:ea typeface="+mn-ea"/>
                          <a:cs typeface="Arial" pitchFamily="34" charset="0"/>
                        </a:rPr>
                        <a:t>erson-days </a:t>
                      </a:r>
                      <a:br>
                        <a:rPr lang="en-US" sz="1000" b="1" kern="1200">
                          <a:solidFill>
                            <a:schemeClr val="tx1">
                              <a:lumMod val="100000"/>
                            </a:schemeClr>
                          </a:solidFill>
                          <a:latin typeface="+mn-lt"/>
                          <a:ea typeface="+mn-ea"/>
                          <a:cs typeface="Arial" pitchFamily="34" charset="0"/>
                        </a:rPr>
                      </a:br>
                      <a:r>
                        <a:rPr lang="en-US" sz="1000" kern="1200">
                          <a:solidFill>
                            <a:schemeClr val="tx1">
                              <a:lumMod val="100000"/>
                            </a:schemeClr>
                          </a:solidFill>
                          <a:latin typeface="+mn-lt"/>
                          <a:ea typeface="+mn-ea"/>
                          <a:cs typeface="Arial" pitchFamily="34" charset="0"/>
                        </a:rPr>
                        <a:t>implementation effort</a:t>
                      </a:r>
                      <a:endParaRPr lang="en-US" sz="1200" kern="1200">
                        <a:solidFill>
                          <a:schemeClr val="tx1">
                            <a:lumMod val="100000"/>
                          </a:schemeClr>
                        </a:solidFill>
                        <a:latin typeface="+mn-lt"/>
                        <a:ea typeface="+mn-ea"/>
                        <a:cs typeface="Arial" pitchFamily="34" charset="0"/>
                      </a:endParaRPr>
                    </a:p>
                  </a:txBody>
                  <a:tcPr marL="0" marR="0" marT="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275034002"/>
                  </a:ext>
                </a:extLst>
              </a:tr>
            </a:tbl>
          </a:graphicData>
        </a:graphic>
      </p:graphicFrame>
      <p:sp>
        <p:nvSpPr>
          <p:cNvPr id="2" name="Title 1">
            <a:extLst>
              <a:ext uri="{FF2B5EF4-FFF2-40B4-BE49-F238E27FC236}">
                <a16:creationId xmlns:a16="http://schemas.microsoft.com/office/drawing/2014/main" id="{D7073CB2-7FD1-40A1-9055-EA6F6837AD43}"/>
              </a:ext>
            </a:extLst>
          </p:cNvPr>
          <p:cNvSpPr>
            <a:spLocks noGrp="1"/>
          </p:cNvSpPr>
          <p:nvPr>
            <p:ph type="title"/>
          </p:nvPr>
        </p:nvSpPr>
        <p:spPr>
          <a:xfrm>
            <a:off x="629325" y="178671"/>
            <a:ext cx="10933350" cy="332399"/>
          </a:xfrm>
        </p:spPr>
        <p:txBody>
          <a:bodyPr/>
          <a:lstStyle/>
          <a:p>
            <a:r>
              <a:rPr lang="en-US"/>
              <a:t>Summary of findings from the CAST analysis with focus on immediate actions</a:t>
            </a:r>
          </a:p>
        </p:txBody>
      </p:sp>
      <p:grpSp>
        <p:nvGrpSpPr>
          <p:cNvPr id="21" name="Group 20">
            <a:extLst>
              <a:ext uri="{FF2B5EF4-FFF2-40B4-BE49-F238E27FC236}">
                <a16:creationId xmlns:a16="http://schemas.microsoft.com/office/drawing/2014/main" id="{9283C501-A504-4F36-AF14-A5F59691036F}"/>
              </a:ext>
            </a:extLst>
          </p:cNvPr>
          <p:cNvGrpSpPr/>
          <p:nvPr/>
        </p:nvGrpSpPr>
        <p:grpSpPr>
          <a:xfrm>
            <a:off x="356369" y="1405440"/>
            <a:ext cx="1296564" cy="863023"/>
            <a:chOff x="329372" y="1833197"/>
            <a:chExt cx="1296564" cy="863023"/>
          </a:xfrm>
        </p:grpSpPr>
        <p:grpSp>
          <p:nvGrpSpPr>
            <p:cNvPr id="4" name="Group 3">
              <a:extLst>
                <a:ext uri="{FF2B5EF4-FFF2-40B4-BE49-F238E27FC236}">
                  <a16:creationId xmlns:a16="http://schemas.microsoft.com/office/drawing/2014/main" id="{C7492A1C-01C0-4928-9A7F-918E505B4AED}"/>
                </a:ext>
              </a:extLst>
            </p:cNvPr>
            <p:cNvGrpSpPr/>
            <p:nvPr/>
          </p:nvGrpSpPr>
          <p:grpSpPr>
            <a:xfrm rot="5400000">
              <a:off x="418564" y="1744005"/>
              <a:ext cx="863023" cy="1041408"/>
              <a:chOff x="7385638" y="4531031"/>
              <a:chExt cx="863023" cy="1041408"/>
            </a:xfrm>
          </p:grpSpPr>
          <p:cxnSp>
            <p:nvCxnSpPr>
              <p:cNvPr id="5" name="Straight Connector 4">
                <a:extLst>
                  <a:ext uri="{FF2B5EF4-FFF2-40B4-BE49-F238E27FC236}">
                    <a16:creationId xmlns:a16="http://schemas.microsoft.com/office/drawing/2014/main" id="{C515E0CB-DE36-4030-8CB9-D10C59A38F83}"/>
                  </a:ext>
                </a:extLst>
              </p:cNvPr>
              <p:cNvCxnSpPr>
                <a:cxnSpLocks/>
              </p:cNvCxnSpPr>
              <p:nvPr/>
            </p:nvCxnSpPr>
            <p:spPr>
              <a:xfrm rot="16200000" flipH="1">
                <a:off x="7813031" y="4629924"/>
                <a:ext cx="8238" cy="863023"/>
              </a:xfrm>
              <a:prstGeom prst="line">
                <a:avLst/>
              </a:prstGeom>
              <a:ln w="9525"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sp>
            <p:nvSpPr>
              <p:cNvPr id="6" name="Parallelogram 5">
                <a:extLst>
                  <a:ext uri="{FF2B5EF4-FFF2-40B4-BE49-F238E27FC236}">
                    <a16:creationId xmlns:a16="http://schemas.microsoft.com/office/drawing/2014/main" id="{2737B36F-D554-4BAD-93B2-42FE857D20B9}"/>
                  </a:ext>
                </a:extLst>
              </p:cNvPr>
              <p:cNvSpPr/>
              <p:nvPr/>
            </p:nvSpPr>
            <p:spPr>
              <a:xfrm rot="16200000">
                <a:off x="7257013" y="4737714"/>
                <a:ext cx="1041408" cy="62804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pPr>
                <a:r>
                  <a:rPr lang="en-US" sz="1200">
                    <a:solidFill>
                      <a:srgbClr val="C00000"/>
                    </a:solidFill>
                    <a:latin typeface="+mj-lt"/>
                  </a:rPr>
                  <a:t>Review before closing</a:t>
                </a:r>
                <a:endParaRPr lang="en-US" sz="1200">
                  <a:ea typeface="+mn-lt"/>
                  <a:cs typeface="+mn-lt"/>
                </a:endParaRPr>
              </a:p>
            </p:txBody>
          </p:sp>
        </p:grpSp>
        <p:sp>
          <p:nvSpPr>
            <p:cNvPr id="12" name="Isosceles Triangle 11">
              <a:extLst>
                <a:ext uri="{FF2B5EF4-FFF2-40B4-BE49-F238E27FC236}">
                  <a16:creationId xmlns:a16="http://schemas.microsoft.com/office/drawing/2014/main" id="{BC0CC602-0DED-4040-AA52-65D16C1E8B3B}"/>
                </a:ext>
              </a:extLst>
            </p:cNvPr>
            <p:cNvSpPr/>
            <p:nvPr/>
          </p:nvSpPr>
          <p:spPr>
            <a:xfrm rot="5400000">
              <a:off x="1468949" y="2211698"/>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grpSp>
      <p:grpSp>
        <p:nvGrpSpPr>
          <p:cNvPr id="20" name="Group 19">
            <a:extLst>
              <a:ext uri="{FF2B5EF4-FFF2-40B4-BE49-F238E27FC236}">
                <a16:creationId xmlns:a16="http://schemas.microsoft.com/office/drawing/2014/main" id="{39C6F481-A59E-4144-84E5-DAB62DB8211B}"/>
              </a:ext>
            </a:extLst>
          </p:cNvPr>
          <p:cNvGrpSpPr/>
          <p:nvPr/>
        </p:nvGrpSpPr>
        <p:grpSpPr>
          <a:xfrm>
            <a:off x="356381" y="2800971"/>
            <a:ext cx="1296552" cy="1457470"/>
            <a:chOff x="329384" y="3901487"/>
            <a:chExt cx="1296552" cy="1457470"/>
          </a:xfrm>
        </p:grpSpPr>
        <p:grpSp>
          <p:nvGrpSpPr>
            <p:cNvPr id="7" name="Group 6">
              <a:extLst>
                <a:ext uri="{FF2B5EF4-FFF2-40B4-BE49-F238E27FC236}">
                  <a16:creationId xmlns:a16="http://schemas.microsoft.com/office/drawing/2014/main" id="{35B96168-A8FB-42F2-A2DF-65D334418AEC}"/>
                </a:ext>
              </a:extLst>
            </p:cNvPr>
            <p:cNvGrpSpPr/>
            <p:nvPr/>
          </p:nvGrpSpPr>
          <p:grpSpPr>
            <a:xfrm rot="5400000">
              <a:off x="121345" y="4109526"/>
              <a:ext cx="1457470" cy="1041392"/>
              <a:chOff x="7083256" y="4531033"/>
              <a:chExt cx="1457470" cy="1041392"/>
            </a:xfrm>
          </p:grpSpPr>
          <p:cxnSp>
            <p:nvCxnSpPr>
              <p:cNvPr id="8" name="Straight Connector 7">
                <a:extLst>
                  <a:ext uri="{FF2B5EF4-FFF2-40B4-BE49-F238E27FC236}">
                    <a16:creationId xmlns:a16="http://schemas.microsoft.com/office/drawing/2014/main" id="{3FB9CA08-E6B5-471C-B277-903D64DF8728}"/>
                  </a:ext>
                </a:extLst>
              </p:cNvPr>
              <p:cNvCxnSpPr>
                <a:cxnSpLocks/>
              </p:cNvCxnSpPr>
              <p:nvPr/>
            </p:nvCxnSpPr>
            <p:spPr>
              <a:xfrm rot="16200000">
                <a:off x="7811991" y="4328582"/>
                <a:ext cx="0" cy="1457470"/>
              </a:xfrm>
              <a:prstGeom prst="line">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9" name="Parallelogram 8">
                <a:extLst>
                  <a:ext uri="{FF2B5EF4-FFF2-40B4-BE49-F238E27FC236}">
                    <a16:creationId xmlns:a16="http://schemas.microsoft.com/office/drawing/2014/main" id="{6E9E836F-7153-483F-9207-7D653ED2E76B}"/>
                  </a:ext>
                </a:extLst>
              </p:cNvPr>
              <p:cNvSpPr/>
              <p:nvPr/>
            </p:nvSpPr>
            <p:spPr>
              <a:xfrm rot="16200000">
                <a:off x="7303631" y="4823845"/>
                <a:ext cx="1041392" cy="455768"/>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200">
                    <a:solidFill>
                      <a:schemeClr val="accent3"/>
                    </a:solidFill>
                    <a:latin typeface="+mj-lt"/>
                  </a:rPr>
                  <a:t>Near term</a:t>
                </a:r>
              </a:p>
            </p:txBody>
          </p:sp>
        </p:grpSp>
        <p:sp>
          <p:nvSpPr>
            <p:cNvPr id="13" name="Isosceles Triangle 12">
              <a:extLst>
                <a:ext uri="{FF2B5EF4-FFF2-40B4-BE49-F238E27FC236}">
                  <a16:creationId xmlns:a16="http://schemas.microsoft.com/office/drawing/2014/main" id="{A114293C-E026-45EB-B5F4-E43E44CB0D71}"/>
                </a:ext>
              </a:extLst>
            </p:cNvPr>
            <p:cNvSpPr/>
            <p:nvPr/>
          </p:nvSpPr>
          <p:spPr>
            <a:xfrm rot="5400000">
              <a:off x="1468949" y="4599752"/>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grpSp>
      <p:grpSp>
        <p:nvGrpSpPr>
          <p:cNvPr id="14" name="Group 13">
            <a:extLst>
              <a:ext uri="{FF2B5EF4-FFF2-40B4-BE49-F238E27FC236}">
                <a16:creationId xmlns:a16="http://schemas.microsoft.com/office/drawing/2014/main" id="{22968119-1273-4EB3-8DCA-CCF4CFDF0D80}"/>
              </a:ext>
            </a:extLst>
          </p:cNvPr>
          <p:cNvGrpSpPr/>
          <p:nvPr/>
        </p:nvGrpSpPr>
        <p:grpSpPr>
          <a:xfrm>
            <a:off x="276800" y="4747750"/>
            <a:ext cx="1376133" cy="1195850"/>
            <a:chOff x="276800" y="4747750"/>
            <a:chExt cx="1376133" cy="1195850"/>
          </a:xfrm>
        </p:grpSpPr>
        <p:cxnSp>
          <p:nvCxnSpPr>
            <p:cNvPr id="22" name="Straight Connector 21">
              <a:extLst>
                <a:ext uri="{FF2B5EF4-FFF2-40B4-BE49-F238E27FC236}">
                  <a16:creationId xmlns:a16="http://schemas.microsoft.com/office/drawing/2014/main" id="{D0BE9677-D649-4160-A5D1-B59EF804C6C0}"/>
                </a:ext>
              </a:extLst>
            </p:cNvPr>
            <p:cNvCxnSpPr>
              <a:cxnSpLocks/>
            </p:cNvCxnSpPr>
            <p:nvPr/>
          </p:nvCxnSpPr>
          <p:spPr>
            <a:xfrm>
              <a:off x="848395" y="4747750"/>
              <a:ext cx="0" cy="1195850"/>
            </a:xfrm>
            <a:prstGeom prst="line">
              <a:avLst/>
            </a:prstGeom>
            <a:ln w="9525" cap="rnd">
              <a:solidFill>
                <a:schemeClr val="accent2">
                  <a:lumMod val="75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E50B2AE-536D-439A-BC19-7473FCD757D5}"/>
                </a:ext>
              </a:extLst>
            </p:cNvPr>
            <p:cNvGrpSpPr/>
            <p:nvPr/>
          </p:nvGrpSpPr>
          <p:grpSpPr>
            <a:xfrm>
              <a:off x="276800" y="5036875"/>
              <a:ext cx="1376133" cy="628042"/>
              <a:chOff x="249802" y="5053996"/>
              <a:chExt cx="1376133" cy="628042"/>
            </a:xfrm>
          </p:grpSpPr>
          <p:sp>
            <p:nvSpPr>
              <p:cNvPr id="16" name="Parallelogram 15">
                <a:extLst>
                  <a:ext uri="{FF2B5EF4-FFF2-40B4-BE49-F238E27FC236}">
                    <a16:creationId xmlns:a16="http://schemas.microsoft.com/office/drawing/2014/main" id="{59740841-99FC-4326-935D-03AED16539EE}"/>
                  </a:ext>
                </a:extLst>
              </p:cNvPr>
              <p:cNvSpPr/>
              <p:nvPr/>
            </p:nvSpPr>
            <p:spPr>
              <a:xfrm>
                <a:off x="249802" y="5053996"/>
                <a:ext cx="1220148" cy="628042"/>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SzPct val="100000"/>
                  <a:buFont typeface="Trebuchet MS" panose="020B0603020202020204" pitchFamily="34" charset="0"/>
                  <a:buChar char="​"/>
                </a:pPr>
                <a:r>
                  <a:rPr lang="en-US" sz="1200">
                    <a:solidFill>
                      <a:schemeClr val="tx1"/>
                    </a:solidFill>
                    <a:latin typeface="+mj-lt"/>
                  </a:rPr>
                  <a:t>Mid term</a:t>
                </a:r>
                <a:endParaRPr lang="en-US">
                  <a:solidFill>
                    <a:schemeClr val="tx1"/>
                  </a:solidFill>
                </a:endParaRPr>
              </a:p>
            </p:txBody>
          </p:sp>
          <p:sp>
            <p:nvSpPr>
              <p:cNvPr id="19" name="Isosceles Triangle 18">
                <a:extLst>
                  <a:ext uri="{FF2B5EF4-FFF2-40B4-BE49-F238E27FC236}">
                    <a16:creationId xmlns:a16="http://schemas.microsoft.com/office/drawing/2014/main" id="{571E029F-4882-4873-BAEB-5E911BAAE64C}"/>
                  </a:ext>
                </a:extLst>
              </p:cNvPr>
              <p:cNvSpPr/>
              <p:nvPr/>
            </p:nvSpPr>
            <p:spPr>
              <a:xfrm rot="5400000">
                <a:off x="1468948" y="5295338"/>
                <a:ext cx="168615" cy="145358"/>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grpSp>
      </p:grpSp>
      <p:sp>
        <p:nvSpPr>
          <p:cNvPr id="31" name="Isosceles Triangle 30">
            <a:extLst>
              <a:ext uri="{FF2B5EF4-FFF2-40B4-BE49-F238E27FC236}">
                <a16:creationId xmlns:a16="http://schemas.microsoft.com/office/drawing/2014/main" id="{3EA2289E-76AB-4C45-8310-09A7DC5E2CA4}"/>
              </a:ext>
            </a:extLst>
          </p:cNvPr>
          <p:cNvSpPr/>
          <p:nvPr/>
        </p:nvSpPr>
        <p:spPr>
          <a:xfrm rot="5400000">
            <a:off x="9395184" y="1868249"/>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32" name="Isosceles Triangle 31">
            <a:extLst>
              <a:ext uri="{FF2B5EF4-FFF2-40B4-BE49-F238E27FC236}">
                <a16:creationId xmlns:a16="http://schemas.microsoft.com/office/drawing/2014/main" id="{CE17ED59-8945-44F5-B85D-737BD643BAF5}"/>
              </a:ext>
            </a:extLst>
          </p:cNvPr>
          <p:cNvSpPr/>
          <p:nvPr/>
        </p:nvSpPr>
        <p:spPr>
          <a:xfrm rot="5400000">
            <a:off x="9395184" y="3385827"/>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33" name="Isosceles Triangle 32">
            <a:extLst>
              <a:ext uri="{FF2B5EF4-FFF2-40B4-BE49-F238E27FC236}">
                <a16:creationId xmlns:a16="http://schemas.microsoft.com/office/drawing/2014/main" id="{E45FF77D-67C6-4A06-AF64-0F07D3C50A91}"/>
              </a:ext>
            </a:extLst>
          </p:cNvPr>
          <p:cNvSpPr/>
          <p:nvPr/>
        </p:nvSpPr>
        <p:spPr>
          <a:xfrm rot="5400000">
            <a:off x="9422389" y="5209570"/>
            <a:ext cx="132488" cy="153579"/>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26" name="ZoneTexte 11">
            <a:extLst>
              <a:ext uri="{FF2B5EF4-FFF2-40B4-BE49-F238E27FC236}">
                <a16:creationId xmlns:a16="http://schemas.microsoft.com/office/drawing/2014/main" id="{BA6CA995-52CD-4A3C-8300-F69AA026EB19}"/>
              </a:ext>
            </a:extLst>
          </p:cNvPr>
          <p:cNvSpPr txBox="1"/>
          <p:nvPr/>
        </p:nvSpPr>
        <p:spPr>
          <a:xfrm>
            <a:off x="0" y="-32723"/>
            <a:ext cx="4255806" cy="25835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a:solidFill>
                  <a:srgbClr val="575757"/>
                </a:solidFill>
              </a:rPr>
              <a:t>Template content – replace with actuals</a:t>
            </a:r>
            <a:endParaRPr lang="fr-FR" sz="1600">
              <a:solidFill>
                <a:srgbClr val="575757"/>
              </a:solidFill>
            </a:endParaRPr>
          </a:p>
        </p:txBody>
      </p:sp>
    </p:spTree>
    <p:extLst>
      <p:ext uri="{BB962C8B-B14F-4D97-AF65-F5344CB8AC3E}">
        <p14:creationId xmlns:p14="http://schemas.microsoft.com/office/powerpoint/2010/main" val="525587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6EBBB2C-CD77-4277-8EF7-842D0CE148D5}"/>
              </a:ext>
            </a:extLst>
          </p:cNvPr>
          <p:cNvSpPr txBox="1">
            <a:spLocks/>
          </p:cNvSpPr>
          <p:nvPr/>
        </p:nvSpPr>
        <p:spPr>
          <a:xfrm>
            <a:off x="141974" y="182022"/>
            <a:ext cx="10933113" cy="663575"/>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t>Application health:  Accela application has medium risk, needs remediation mostly in Security, Efficiency.</a:t>
            </a:r>
            <a:endParaRPr lang="en-US" dirty="0">
              <a:highlight>
                <a:srgbClr val="00FF00"/>
              </a:highlight>
            </a:endParaRPr>
          </a:p>
        </p:txBody>
      </p:sp>
      <p:sp>
        <p:nvSpPr>
          <p:cNvPr id="4" name="TextBox 3">
            <a:extLst>
              <a:ext uri="{FF2B5EF4-FFF2-40B4-BE49-F238E27FC236}">
                <a16:creationId xmlns:a16="http://schemas.microsoft.com/office/drawing/2014/main" id="{A6606F78-D21D-4E16-B6D2-1240FAD5DCFC}"/>
              </a:ext>
            </a:extLst>
          </p:cNvPr>
          <p:cNvSpPr txBox="1"/>
          <p:nvPr/>
        </p:nvSpPr>
        <p:spPr>
          <a:xfrm>
            <a:off x="1327967" y="2319417"/>
            <a:ext cx="1638461"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dirty="0">
                <a:solidFill>
                  <a:srgbClr val="575757"/>
                </a:solidFill>
              </a:rPr>
              <a:t>Likelihood of outage,</a:t>
            </a:r>
            <a:br>
              <a:rPr lang="en-US" sz="1200" dirty="0">
                <a:solidFill>
                  <a:srgbClr val="575757"/>
                </a:solidFill>
              </a:rPr>
            </a:br>
            <a:r>
              <a:rPr lang="en-US" sz="1200" dirty="0">
                <a:solidFill>
                  <a:srgbClr val="575757"/>
                </a:solidFill>
              </a:rPr>
              <a:t>data integrity or </a:t>
            </a:r>
            <a:br>
              <a:rPr lang="en-US" sz="1200" dirty="0">
                <a:solidFill>
                  <a:srgbClr val="575757"/>
                </a:solidFill>
              </a:rPr>
            </a:br>
            <a:r>
              <a:rPr lang="en-US" sz="1200" dirty="0">
                <a:solidFill>
                  <a:srgbClr val="575757"/>
                </a:solidFill>
              </a:rPr>
              <a:t>reliability issues</a:t>
            </a:r>
          </a:p>
        </p:txBody>
      </p:sp>
      <p:sp>
        <p:nvSpPr>
          <p:cNvPr id="5" name="TextBox 4">
            <a:extLst>
              <a:ext uri="{FF2B5EF4-FFF2-40B4-BE49-F238E27FC236}">
                <a16:creationId xmlns:a16="http://schemas.microsoft.com/office/drawing/2014/main" id="{E360CA52-DB5C-4DE3-A489-C46458E1CDD4}"/>
              </a:ext>
            </a:extLst>
          </p:cNvPr>
          <p:cNvSpPr txBox="1"/>
          <p:nvPr/>
        </p:nvSpPr>
        <p:spPr>
          <a:xfrm>
            <a:off x="3263874" y="2319417"/>
            <a:ext cx="1638461"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rPr>
              <a:t>Resource consumption, </a:t>
            </a:r>
            <a:br>
              <a:rPr lang="en-US" sz="1200">
                <a:solidFill>
                  <a:srgbClr val="575757"/>
                </a:solidFill>
              </a:rPr>
            </a:br>
            <a:r>
              <a:rPr lang="en-US" sz="1200">
                <a:solidFill>
                  <a:srgbClr val="575757"/>
                </a:solidFill>
              </a:rPr>
              <a:t>scalability and </a:t>
            </a:r>
            <a:br>
              <a:rPr lang="en-US" sz="1200">
                <a:solidFill>
                  <a:srgbClr val="575757"/>
                </a:solidFill>
              </a:rPr>
            </a:br>
            <a:r>
              <a:rPr lang="en-US" sz="1200">
                <a:solidFill>
                  <a:srgbClr val="575757"/>
                </a:solidFill>
              </a:rPr>
              <a:t>performance issues</a:t>
            </a:r>
          </a:p>
        </p:txBody>
      </p:sp>
      <p:sp>
        <p:nvSpPr>
          <p:cNvPr id="6" name="TextBox 5">
            <a:extLst>
              <a:ext uri="{FF2B5EF4-FFF2-40B4-BE49-F238E27FC236}">
                <a16:creationId xmlns:a16="http://schemas.microsoft.com/office/drawing/2014/main" id="{A425AEFB-6D17-4F15-810E-DB6C6AE449C5}"/>
              </a:ext>
            </a:extLst>
          </p:cNvPr>
          <p:cNvSpPr txBox="1"/>
          <p:nvPr/>
        </p:nvSpPr>
        <p:spPr>
          <a:xfrm>
            <a:off x="5199781" y="2319417"/>
            <a:ext cx="1638461"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rPr>
              <a:t>Security vulnerabilities </a:t>
            </a:r>
            <a:br>
              <a:rPr lang="en-US" sz="1200">
                <a:solidFill>
                  <a:srgbClr val="575757"/>
                </a:solidFill>
              </a:rPr>
            </a:br>
            <a:r>
              <a:rPr lang="en-US" sz="1200">
                <a:solidFill>
                  <a:srgbClr val="575757"/>
                </a:solidFill>
              </a:rPr>
              <a:t>and likelihood </a:t>
            </a:r>
            <a:br>
              <a:rPr lang="en-US" sz="1200">
                <a:solidFill>
                  <a:srgbClr val="575757"/>
                </a:solidFill>
              </a:rPr>
            </a:br>
            <a:r>
              <a:rPr lang="en-US" sz="1200">
                <a:solidFill>
                  <a:srgbClr val="575757"/>
                </a:solidFill>
              </a:rPr>
              <a:t>of breaches </a:t>
            </a:r>
          </a:p>
        </p:txBody>
      </p:sp>
      <p:sp>
        <p:nvSpPr>
          <p:cNvPr id="7" name="TextBox 6">
            <a:extLst>
              <a:ext uri="{FF2B5EF4-FFF2-40B4-BE49-F238E27FC236}">
                <a16:creationId xmlns:a16="http://schemas.microsoft.com/office/drawing/2014/main" id="{3FDB9D37-1C81-4D5A-9FD4-3DBC677B23FB}"/>
              </a:ext>
            </a:extLst>
          </p:cNvPr>
          <p:cNvSpPr txBox="1"/>
          <p:nvPr/>
        </p:nvSpPr>
        <p:spPr>
          <a:xfrm>
            <a:off x="7135688" y="2319417"/>
            <a:ext cx="1638461"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rPr>
              <a:t>Adaptability to</a:t>
            </a:r>
            <a:br>
              <a:rPr lang="en-US" sz="1200">
                <a:solidFill>
                  <a:srgbClr val="575757"/>
                </a:solidFill>
              </a:rPr>
            </a:br>
            <a:r>
              <a:rPr lang="en-US" sz="1200">
                <a:solidFill>
                  <a:srgbClr val="575757"/>
                </a:solidFill>
              </a:rPr>
              <a:t>changing regulations </a:t>
            </a:r>
            <a:br>
              <a:rPr lang="en-US" sz="1200">
                <a:solidFill>
                  <a:srgbClr val="575757"/>
                </a:solidFill>
              </a:rPr>
            </a:br>
            <a:r>
              <a:rPr lang="en-US" sz="1200">
                <a:solidFill>
                  <a:srgbClr val="575757"/>
                </a:solidFill>
              </a:rPr>
              <a:t>and business needs</a:t>
            </a:r>
          </a:p>
        </p:txBody>
      </p:sp>
      <p:sp>
        <p:nvSpPr>
          <p:cNvPr id="8" name="TextBox 7">
            <a:extLst>
              <a:ext uri="{FF2B5EF4-FFF2-40B4-BE49-F238E27FC236}">
                <a16:creationId xmlns:a16="http://schemas.microsoft.com/office/drawing/2014/main" id="{B5C67ED7-4594-4553-97C6-76983358C9CC}"/>
              </a:ext>
            </a:extLst>
          </p:cNvPr>
          <p:cNvSpPr txBox="1"/>
          <p:nvPr/>
        </p:nvSpPr>
        <p:spPr>
          <a:xfrm>
            <a:off x="9071594" y="2319417"/>
            <a:ext cx="163846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rPr>
              <a:t>Ramp up difficulties </a:t>
            </a:r>
            <a:br>
              <a:rPr lang="en-US" sz="1200">
                <a:solidFill>
                  <a:srgbClr val="575757"/>
                </a:solidFill>
              </a:rPr>
            </a:br>
            <a:r>
              <a:rPr lang="en-US" sz="1200">
                <a:solidFill>
                  <a:srgbClr val="575757"/>
                </a:solidFill>
              </a:rPr>
              <a:t>for newcomers</a:t>
            </a:r>
          </a:p>
        </p:txBody>
      </p:sp>
      <p:sp>
        <p:nvSpPr>
          <p:cNvPr id="9" name="TextBox 8">
            <a:extLst>
              <a:ext uri="{FF2B5EF4-FFF2-40B4-BE49-F238E27FC236}">
                <a16:creationId xmlns:a16="http://schemas.microsoft.com/office/drawing/2014/main" id="{439E80CA-50D9-4AD9-83DE-BEA486135814}"/>
              </a:ext>
            </a:extLst>
          </p:cNvPr>
          <p:cNvSpPr txBox="1"/>
          <p:nvPr/>
        </p:nvSpPr>
        <p:spPr>
          <a:xfrm>
            <a:off x="7770411" y="4565292"/>
            <a:ext cx="1463725"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rPr>
              <a:t>Structural flaws that need immediate attention</a:t>
            </a:r>
          </a:p>
        </p:txBody>
      </p:sp>
      <p:sp>
        <p:nvSpPr>
          <p:cNvPr id="10" name="TextBox 9">
            <a:extLst>
              <a:ext uri="{FF2B5EF4-FFF2-40B4-BE49-F238E27FC236}">
                <a16:creationId xmlns:a16="http://schemas.microsoft.com/office/drawing/2014/main" id="{D760D4C9-F179-4FDC-B394-4FBF816063B1}"/>
              </a:ext>
            </a:extLst>
          </p:cNvPr>
          <p:cNvSpPr txBox="1"/>
          <p:nvPr/>
        </p:nvSpPr>
        <p:spPr>
          <a:xfrm>
            <a:off x="6542271" y="4544607"/>
            <a:ext cx="1171796"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rPr>
              <a:t>Size of the scope</a:t>
            </a:r>
            <a:br>
              <a:rPr lang="en-US" sz="1200">
                <a:solidFill>
                  <a:srgbClr val="575757"/>
                </a:solidFill>
              </a:rPr>
            </a:br>
            <a:r>
              <a:rPr lang="en-US" sz="1200">
                <a:solidFill>
                  <a:srgbClr val="575757"/>
                </a:solidFill>
              </a:rPr>
              <a:t>under analysis</a:t>
            </a:r>
          </a:p>
        </p:txBody>
      </p:sp>
      <p:sp>
        <p:nvSpPr>
          <p:cNvPr id="11" name="TextBox 10">
            <a:extLst>
              <a:ext uri="{FF2B5EF4-FFF2-40B4-BE49-F238E27FC236}">
                <a16:creationId xmlns:a16="http://schemas.microsoft.com/office/drawing/2014/main" id="{FD5FBD45-9100-4E69-B7ED-3729F2EF416B}"/>
              </a:ext>
            </a:extLst>
          </p:cNvPr>
          <p:cNvSpPr txBox="1"/>
          <p:nvPr/>
        </p:nvSpPr>
        <p:spPr>
          <a:xfrm>
            <a:off x="4940280" y="4545941"/>
            <a:ext cx="139948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rgbClr val="575757"/>
                </a:solidFill>
              </a:rPr>
              <a:t>Total Quality Index, </a:t>
            </a:r>
            <a:br>
              <a:rPr lang="en-US" sz="1200">
                <a:solidFill>
                  <a:srgbClr val="575757"/>
                </a:solidFill>
              </a:rPr>
            </a:br>
            <a:r>
              <a:rPr lang="en-US" sz="1200">
                <a:solidFill>
                  <a:srgbClr val="575757"/>
                </a:solidFill>
              </a:rPr>
              <a:t>Aggregate score of </a:t>
            </a:r>
            <a:br>
              <a:rPr lang="en-US" sz="1200">
                <a:solidFill>
                  <a:srgbClr val="575757"/>
                </a:solidFill>
              </a:rPr>
            </a:br>
            <a:r>
              <a:rPr lang="en-US" sz="1200">
                <a:solidFill>
                  <a:srgbClr val="575757"/>
                </a:solidFill>
              </a:rPr>
              <a:t>all the quality rules</a:t>
            </a:r>
          </a:p>
        </p:txBody>
      </p:sp>
      <p:sp>
        <p:nvSpPr>
          <p:cNvPr id="12" name="TextBox 11">
            <a:extLst>
              <a:ext uri="{FF2B5EF4-FFF2-40B4-BE49-F238E27FC236}">
                <a16:creationId xmlns:a16="http://schemas.microsoft.com/office/drawing/2014/main" id="{42D0D6D4-F399-4DF8-9B04-9832799BCE61}"/>
              </a:ext>
            </a:extLst>
          </p:cNvPr>
          <p:cNvSpPr txBox="1"/>
          <p:nvPr/>
        </p:nvSpPr>
        <p:spPr>
          <a:xfrm>
            <a:off x="449739" y="2980788"/>
            <a:ext cx="4409343" cy="30811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600" dirty="0">
                <a:solidFill>
                  <a:schemeClr val="accent3"/>
                </a:solidFill>
              </a:rPr>
              <a:t>Summary</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Trebuchet MS" panose="020B0603020202020204" pitchFamily="34" charset="0"/>
              </a:rPr>
              <a:t>Accela application is a small  (216,689) and has medium risk (TQI of 2.50 out of 4). </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latin typeface="Trebuchet MS" panose="020B0603020202020204" pitchFamily="34" charset="0"/>
              </a:rPr>
              <a:t>Accela has xx priority violations which should be reviewed ASAP to reduce risks. This will improve TQI to x.xx, efficiency to x.xx and security to x.xx</a:t>
            </a:r>
            <a:endParaRPr lang="en-US" sz="1400" dirty="0">
              <a:solidFill>
                <a:schemeClr val="tx1">
                  <a:lumMod val="100000"/>
                </a:schemeClr>
              </a:solidFill>
              <a:highlight>
                <a:srgbClr val="00FF00"/>
              </a:highlight>
              <a:latin typeface="Trebuchet MS"/>
            </a:endParaRPr>
          </a:p>
          <a:p>
            <a:pPr marL="266700" lvl="1" indent="-175895">
              <a:spcAft>
                <a:spcPts val="600"/>
              </a:spcAft>
              <a:buClr>
                <a:schemeClr val="tx2"/>
              </a:buClr>
              <a:buSzPct val="100000"/>
              <a:buFont typeface="Arial" panose="020B0604020202020204" pitchFamily="34" charset="0"/>
              <a:buChar char="•"/>
            </a:pPr>
            <a:r>
              <a:rPr lang="en-US" sz="1400" dirty="0" err="1">
                <a:solidFill>
                  <a:schemeClr val="tx1">
                    <a:lumMod val="100000"/>
                  </a:schemeClr>
                </a:solidFill>
                <a:highlight>
                  <a:srgbClr val="00FF00"/>
                </a:highlight>
                <a:latin typeface="Trebuchet MS"/>
              </a:rPr>
              <a:t>x,xxx</a:t>
            </a:r>
            <a:r>
              <a:rPr lang="en-US" sz="1400" dirty="0">
                <a:solidFill>
                  <a:schemeClr val="tx1">
                    <a:lumMod val="100000"/>
                  </a:schemeClr>
                </a:solidFill>
                <a:highlight>
                  <a:srgbClr val="00FF00"/>
                </a:highlight>
                <a:latin typeface="Trebuchet MS"/>
              </a:rPr>
              <a:t> </a:t>
            </a:r>
            <a:r>
              <a:rPr lang="en-US" sz="1400" dirty="0">
                <a:solidFill>
                  <a:schemeClr val="tx1">
                    <a:lumMod val="100000"/>
                  </a:schemeClr>
                </a:solidFill>
                <a:latin typeface="Trebuchet MS"/>
              </a:rPr>
              <a:t>violations should be reviewed in near term to strengthen health of application further. This will further the TQI score </a:t>
            </a:r>
            <a:r>
              <a:rPr lang="en-US" sz="1400" dirty="0">
                <a:solidFill>
                  <a:schemeClr val="tx1">
                    <a:lumMod val="100000"/>
                  </a:schemeClr>
                </a:solidFill>
                <a:highlight>
                  <a:srgbClr val="00FF00"/>
                </a:highlight>
                <a:latin typeface="Trebuchet MS"/>
              </a:rPr>
              <a:t>to </a:t>
            </a:r>
            <a:r>
              <a:rPr lang="en-US" sz="1400" dirty="0" err="1">
                <a:solidFill>
                  <a:schemeClr val="tx1">
                    <a:lumMod val="100000"/>
                  </a:schemeClr>
                </a:solidFill>
                <a:highlight>
                  <a:srgbClr val="00FF00"/>
                </a:highlight>
                <a:latin typeface="Trebuchet MS"/>
              </a:rPr>
              <a:t>x.xx</a:t>
            </a:r>
            <a:r>
              <a:rPr lang="en-US" sz="1400" dirty="0">
                <a:solidFill>
                  <a:schemeClr val="tx1">
                    <a:lumMod val="100000"/>
                  </a:schemeClr>
                </a:solidFill>
                <a:highlight>
                  <a:srgbClr val="00FF00"/>
                </a:highlight>
                <a:latin typeface="Trebuchet MS"/>
              </a:rPr>
              <a:t>, efficiency to </a:t>
            </a:r>
            <a:r>
              <a:rPr lang="en-US" sz="1400" dirty="0" err="1">
                <a:solidFill>
                  <a:schemeClr val="tx1">
                    <a:lumMod val="100000"/>
                  </a:schemeClr>
                </a:solidFill>
                <a:highlight>
                  <a:srgbClr val="00FF00"/>
                </a:highlight>
                <a:latin typeface="Trebuchet MS"/>
              </a:rPr>
              <a:t>x.xx</a:t>
            </a:r>
            <a:r>
              <a:rPr lang="en-US" sz="1400" dirty="0">
                <a:solidFill>
                  <a:schemeClr val="tx1">
                    <a:lumMod val="100000"/>
                  </a:schemeClr>
                </a:solidFill>
                <a:highlight>
                  <a:srgbClr val="00FF00"/>
                </a:highlight>
                <a:latin typeface="Trebuchet MS"/>
              </a:rPr>
              <a:t> and security to </a:t>
            </a:r>
            <a:r>
              <a:rPr lang="en-US" sz="1400" dirty="0" err="1">
                <a:solidFill>
                  <a:schemeClr val="tx1">
                    <a:lumMod val="100000"/>
                  </a:schemeClr>
                </a:solidFill>
                <a:highlight>
                  <a:srgbClr val="00FF00"/>
                </a:highlight>
                <a:latin typeface="Trebuchet MS"/>
              </a:rPr>
              <a:t>x.xx</a:t>
            </a:r>
            <a:r>
              <a:rPr lang="en-US" sz="1400" dirty="0">
                <a:solidFill>
                  <a:schemeClr val="tx1">
                    <a:lumMod val="100000"/>
                  </a:schemeClr>
                </a:solidFill>
                <a:highlight>
                  <a:srgbClr val="00FF00"/>
                </a:highlight>
                <a:latin typeface="Trebuchet MS"/>
              </a:rPr>
              <a:t>.</a:t>
            </a:r>
          </a:p>
          <a:p>
            <a:pPr marL="266700" lvl="1" indent="-175895">
              <a:spcAft>
                <a:spcPts val="600"/>
              </a:spcAft>
              <a:buClr>
                <a:schemeClr val="tx2"/>
              </a:buClr>
              <a:buSzPct val="100000"/>
              <a:buFont typeface="Arial" panose="020B0604020202020204" pitchFamily="34" charset="0"/>
              <a:buChar char="•"/>
            </a:pPr>
            <a:r>
              <a:rPr lang="en-US" sz="1400" dirty="0">
                <a:solidFill>
                  <a:schemeClr val="tx1">
                    <a:lumMod val="100000"/>
                  </a:schemeClr>
                </a:solidFill>
                <a:highlight>
                  <a:srgbClr val="00FF00"/>
                </a:highlight>
                <a:latin typeface="Trebuchet MS"/>
              </a:rPr>
              <a:t>Efficiency</a:t>
            </a:r>
            <a:r>
              <a:rPr lang="en-US" sz="1400" dirty="0">
                <a:solidFill>
                  <a:schemeClr val="tx1">
                    <a:lumMod val="100000"/>
                  </a:schemeClr>
                </a:solidFill>
                <a:latin typeface="Trebuchet MS"/>
              </a:rPr>
              <a:t> can be improved further by reducing instantiations inside loops.</a:t>
            </a:r>
          </a:p>
        </p:txBody>
      </p:sp>
      <p:sp>
        <p:nvSpPr>
          <p:cNvPr id="13" name="app1_grade_Robustness">
            <a:extLst>
              <a:ext uri="{FF2B5EF4-FFF2-40B4-BE49-F238E27FC236}">
                <a16:creationId xmlns:a16="http://schemas.microsoft.com/office/drawing/2014/main" id="{C5BBD1F8-2200-4106-8777-78EFEA05F34A}"/>
              </a:ext>
            </a:extLst>
          </p:cNvPr>
          <p:cNvSpPr/>
          <p:nvPr/>
        </p:nvSpPr>
        <p:spPr>
          <a:xfrm>
            <a:off x="1566172" y="1071735"/>
            <a:ext cx="1162050" cy="1162050"/>
          </a:xfrm>
          <a:prstGeom prst="rect">
            <a:avLst/>
          </a:prstGeom>
          <a:grpFill/>
          <a:ln w="38100">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dirty="0">
                <a:solidFill>
                  <a:srgbClr val="575757"/>
                </a:solidFill>
              </a:rPr>
              <a:t>Robustness</a:t>
            </a:r>
          </a:p>
        </p:txBody>
      </p:sp>
      <p:sp>
        <p:nvSpPr>
          <p:cNvPr id="14" name="TextBox 13">
            <a:extLst>
              <a:ext uri="{FF2B5EF4-FFF2-40B4-BE49-F238E27FC236}">
                <a16:creationId xmlns:a16="http://schemas.microsoft.com/office/drawing/2014/main" id="{3EE2E0CC-82C6-4ED6-9E95-113443B8A823}"/>
              </a:ext>
            </a:extLst>
          </p:cNvPr>
          <p:cNvSpPr txBox="1"/>
          <p:nvPr/>
        </p:nvSpPr>
        <p:spPr>
          <a:xfrm>
            <a:off x="1780573" y="1440022"/>
            <a:ext cx="731289" cy="400110"/>
          </a:xfrm>
          <a:prstGeom prst="rect">
            <a:avLst/>
          </a:prstGeom>
          <a:noFill/>
          <a:ln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rgbClr val="00FF00"/>
                </a:solidFill>
              </a:rPr>
              <a:t>2.52</a:t>
            </a:r>
            <a:endParaRPr lang="en-US" dirty="0">
              <a:solidFill>
                <a:srgbClr val="00B050"/>
              </a:solidFill>
            </a:endParaRPr>
          </a:p>
        </p:txBody>
      </p:sp>
      <p:sp>
        <p:nvSpPr>
          <p:cNvPr id="15" name="app1_grade_Transferability">
            <a:extLst>
              <a:ext uri="{FF2B5EF4-FFF2-40B4-BE49-F238E27FC236}">
                <a16:creationId xmlns:a16="http://schemas.microsoft.com/office/drawing/2014/main" id="{1EC2892F-A8C3-42C7-8C82-68C1780A84BD}"/>
              </a:ext>
            </a:extLst>
          </p:cNvPr>
          <p:cNvSpPr/>
          <p:nvPr/>
        </p:nvSpPr>
        <p:spPr>
          <a:xfrm>
            <a:off x="9309799" y="1080781"/>
            <a:ext cx="1162050" cy="1153004"/>
          </a:xfrm>
          <a:prstGeom prst="rect">
            <a:avLst/>
          </a:prstGeom>
          <a:grpFill/>
          <a:ln w="3810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rPr>
              <a:t>Transferability</a:t>
            </a:r>
          </a:p>
        </p:txBody>
      </p:sp>
      <p:sp>
        <p:nvSpPr>
          <p:cNvPr id="16" name="Rectangle 15">
            <a:extLst>
              <a:ext uri="{FF2B5EF4-FFF2-40B4-BE49-F238E27FC236}">
                <a16:creationId xmlns:a16="http://schemas.microsoft.com/office/drawing/2014/main" id="{2CFE2BCD-ED7E-4945-B0FA-90EB674FBA4E}"/>
              </a:ext>
            </a:extLst>
          </p:cNvPr>
          <p:cNvSpPr/>
          <p:nvPr/>
        </p:nvSpPr>
        <p:spPr>
          <a:xfrm>
            <a:off x="7985126" y="3310909"/>
            <a:ext cx="1162050" cy="1162050"/>
          </a:xfrm>
          <a:prstGeom prst="rect">
            <a:avLst/>
          </a:prstGeom>
          <a:grpFill/>
          <a:ln w="38100" cap="flat"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kern="0" dirty="0">
                <a:solidFill>
                  <a:srgbClr val="E71C57"/>
                </a:solidFill>
                <a:highlight>
                  <a:srgbClr val="00FF00"/>
                </a:highlight>
              </a:rPr>
              <a:t>XX</a:t>
            </a:r>
          </a:p>
          <a:p>
            <a:pPr algn="ctr">
              <a:lnSpc>
                <a:spcPct val="95000"/>
              </a:lnSpc>
            </a:pPr>
            <a:r>
              <a:rPr lang="en-US" sz="1200" kern="0" dirty="0">
                <a:solidFill>
                  <a:srgbClr val="575757"/>
                </a:solidFill>
              </a:rPr>
              <a:t>Top Priority</a:t>
            </a:r>
          </a:p>
          <a:p>
            <a:pPr algn="ctr">
              <a:lnSpc>
                <a:spcPct val="95000"/>
              </a:lnSpc>
            </a:pPr>
            <a:r>
              <a:rPr lang="en-US" sz="1200" kern="0" dirty="0">
                <a:solidFill>
                  <a:srgbClr val="575757"/>
                </a:solidFill>
              </a:rPr>
              <a:t>Violations</a:t>
            </a:r>
          </a:p>
        </p:txBody>
      </p:sp>
      <p:sp>
        <p:nvSpPr>
          <p:cNvPr id="17" name="Rectangle 16">
            <a:extLst>
              <a:ext uri="{FF2B5EF4-FFF2-40B4-BE49-F238E27FC236}">
                <a16:creationId xmlns:a16="http://schemas.microsoft.com/office/drawing/2014/main" id="{A615D5E5-706D-4FE6-8029-6E23BE699D7D}"/>
              </a:ext>
            </a:extLst>
          </p:cNvPr>
          <p:cNvSpPr/>
          <p:nvPr/>
        </p:nvSpPr>
        <p:spPr>
          <a:xfrm>
            <a:off x="6547144" y="3317838"/>
            <a:ext cx="1162050" cy="1162050"/>
          </a:xfrm>
          <a:prstGeom prst="rect">
            <a:avLst/>
          </a:prstGeom>
          <a:grpFill/>
          <a:ln w="38100" cap="flat"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GB" sz="1200" kern="0" dirty="0">
                <a:solidFill>
                  <a:srgbClr val="575757"/>
                </a:solidFill>
              </a:rPr>
              <a:t>Technical size</a:t>
            </a:r>
            <a:endParaRPr lang="en-US" sz="1200" kern="0" dirty="0">
              <a:solidFill>
                <a:srgbClr val="575757"/>
              </a:solidFill>
            </a:endParaRPr>
          </a:p>
          <a:p>
            <a:pPr algn="ctr">
              <a:lnSpc>
                <a:spcPct val="95000"/>
              </a:lnSpc>
            </a:pPr>
            <a:r>
              <a:rPr lang="en-US" b="1" kern="0" spc="-100" dirty="0">
                <a:solidFill>
                  <a:srgbClr val="295E7E"/>
                </a:solidFill>
              </a:rPr>
              <a:t>216,689</a:t>
            </a:r>
          </a:p>
          <a:p>
            <a:pPr algn="ctr">
              <a:lnSpc>
                <a:spcPct val="95000"/>
              </a:lnSpc>
            </a:pPr>
            <a:r>
              <a:rPr lang="en-GB" sz="1200" kern="0" dirty="0">
                <a:solidFill>
                  <a:srgbClr val="575757"/>
                </a:solidFill>
              </a:rPr>
              <a:t>Lines of code</a:t>
            </a:r>
            <a:endParaRPr lang="en-US" sz="1200" kern="0" dirty="0">
              <a:solidFill>
                <a:srgbClr val="575757"/>
              </a:solidFill>
            </a:endParaRPr>
          </a:p>
        </p:txBody>
      </p:sp>
      <p:sp>
        <p:nvSpPr>
          <p:cNvPr id="18" name="Rectangle 17">
            <a:extLst>
              <a:ext uri="{FF2B5EF4-FFF2-40B4-BE49-F238E27FC236}">
                <a16:creationId xmlns:a16="http://schemas.microsoft.com/office/drawing/2014/main" id="{899B0127-DBC4-4382-A68C-BD258C5448A8}"/>
              </a:ext>
            </a:extLst>
          </p:cNvPr>
          <p:cNvSpPr/>
          <p:nvPr/>
        </p:nvSpPr>
        <p:spPr>
          <a:xfrm>
            <a:off x="5058998" y="3319172"/>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rPr>
              <a:t>TQI</a:t>
            </a:r>
            <a:endParaRPr lang="en-US" sz="1200" b="1" kern="0">
              <a:solidFill>
                <a:srgbClr val="575757"/>
              </a:solidFill>
            </a:endParaRPr>
          </a:p>
        </p:txBody>
      </p:sp>
      <p:grpSp>
        <p:nvGrpSpPr>
          <p:cNvPr id="19" name="Group 18">
            <a:extLst>
              <a:ext uri="{FF2B5EF4-FFF2-40B4-BE49-F238E27FC236}">
                <a16:creationId xmlns:a16="http://schemas.microsoft.com/office/drawing/2014/main" id="{FAB4870A-671D-41BE-B7A4-6D8008645E92}"/>
              </a:ext>
            </a:extLst>
          </p:cNvPr>
          <p:cNvGrpSpPr/>
          <p:nvPr/>
        </p:nvGrpSpPr>
        <p:grpSpPr>
          <a:xfrm>
            <a:off x="5085948" y="5533366"/>
            <a:ext cx="5624107" cy="514306"/>
            <a:chOff x="7263437" y="5684879"/>
            <a:chExt cx="4295713" cy="514306"/>
          </a:xfrm>
        </p:grpSpPr>
        <p:sp>
          <p:nvSpPr>
            <p:cNvPr id="20" name="Rectangle 19">
              <a:extLst>
                <a:ext uri="{FF2B5EF4-FFF2-40B4-BE49-F238E27FC236}">
                  <a16:creationId xmlns:a16="http://schemas.microsoft.com/office/drawing/2014/main" id="{62030DAD-605A-4899-BF00-E4759FBA6B91}"/>
                </a:ext>
              </a:extLst>
            </p:cNvPr>
            <p:cNvSpPr/>
            <p:nvPr/>
          </p:nvSpPr>
          <p:spPr>
            <a:xfrm>
              <a:off x="7263437" y="6062025"/>
              <a:ext cx="628381" cy="134176"/>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GB" sz="1100">
                  <a:solidFill>
                    <a:srgbClr val="FFFFFF"/>
                  </a:solidFill>
                </a:rPr>
                <a:t>High Risk</a:t>
              </a:r>
              <a:endParaRPr lang="en-US" sz="1100">
                <a:solidFill>
                  <a:srgbClr val="FFFFFF"/>
                </a:solidFill>
              </a:endParaRPr>
            </a:p>
          </p:txBody>
        </p:sp>
        <p:sp>
          <p:nvSpPr>
            <p:cNvPr id="21" name="Rectangle 20">
              <a:extLst>
                <a:ext uri="{FF2B5EF4-FFF2-40B4-BE49-F238E27FC236}">
                  <a16:creationId xmlns:a16="http://schemas.microsoft.com/office/drawing/2014/main" id="{2683C739-F9D0-48BE-ABCE-EF256D4491A9}"/>
                </a:ext>
              </a:extLst>
            </p:cNvPr>
            <p:cNvSpPr/>
            <p:nvPr/>
          </p:nvSpPr>
          <p:spPr>
            <a:xfrm>
              <a:off x="9012864" y="6062025"/>
              <a:ext cx="832628" cy="134176"/>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US" sz="1100">
                  <a:solidFill>
                    <a:srgbClr val="FFFFFF"/>
                  </a:solidFill>
                </a:rPr>
                <a:t>Medium Risk</a:t>
              </a:r>
            </a:p>
          </p:txBody>
        </p:sp>
        <p:sp>
          <p:nvSpPr>
            <p:cNvPr id="22" name="Rectangle 21">
              <a:extLst>
                <a:ext uri="{FF2B5EF4-FFF2-40B4-BE49-F238E27FC236}">
                  <a16:creationId xmlns:a16="http://schemas.microsoft.com/office/drawing/2014/main" id="{0CD98875-9F70-425A-BF33-B63F161FC1B6}"/>
                </a:ext>
              </a:extLst>
            </p:cNvPr>
            <p:cNvSpPr/>
            <p:nvPr/>
          </p:nvSpPr>
          <p:spPr>
            <a:xfrm>
              <a:off x="10960011" y="6062025"/>
              <a:ext cx="558737" cy="13716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US" sz="1100">
                  <a:solidFill>
                    <a:srgbClr val="FFFFFF"/>
                  </a:solidFill>
                </a:rPr>
                <a:t>Low Risk</a:t>
              </a:r>
            </a:p>
          </p:txBody>
        </p:sp>
        <p:sp>
          <p:nvSpPr>
            <p:cNvPr id="23" name="Rectangle 22">
              <a:extLst>
                <a:ext uri="{FF2B5EF4-FFF2-40B4-BE49-F238E27FC236}">
                  <a16:creationId xmlns:a16="http://schemas.microsoft.com/office/drawing/2014/main" id="{80434EB9-DCFA-44C8-96AD-B0DE7BA60A95}"/>
                </a:ext>
              </a:extLst>
            </p:cNvPr>
            <p:cNvSpPr/>
            <p:nvPr/>
          </p:nvSpPr>
          <p:spPr>
            <a:xfrm>
              <a:off x="7263437" y="5906506"/>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24" name="TextBox 23">
              <a:extLst>
                <a:ext uri="{FF2B5EF4-FFF2-40B4-BE49-F238E27FC236}">
                  <a16:creationId xmlns:a16="http://schemas.microsoft.com/office/drawing/2014/main" id="{ED4BB1A3-292A-43EA-B4ED-DC16BB5B264A}"/>
                </a:ext>
              </a:extLst>
            </p:cNvPr>
            <p:cNvSpPr txBox="1"/>
            <p:nvPr/>
          </p:nvSpPr>
          <p:spPr>
            <a:xfrm>
              <a:off x="7297312"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1</a:t>
              </a:r>
              <a:endParaRPr lang="en-US" sz="1200">
                <a:solidFill>
                  <a:srgbClr val="575757"/>
                </a:solidFill>
              </a:endParaRPr>
            </a:p>
          </p:txBody>
        </p:sp>
        <p:sp>
          <p:nvSpPr>
            <p:cNvPr id="25" name="TextBox 24">
              <a:extLst>
                <a:ext uri="{FF2B5EF4-FFF2-40B4-BE49-F238E27FC236}">
                  <a16:creationId xmlns:a16="http://schemas.microsoft.com/office/drawing/2014/main" id="{80E29031-8770-431D-B9E3-050A3F11B1DF}"/>
                </a:ext>
              </a:extLst>
            </p:cNvPr>
            <p:cNvSpPr txBox="1"/>
            <p:nvPr/>
          </p:nvSpPr>
          <p:spPr>
            <a:xfrm>
              <a:off x="11479000"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4</a:t>
              </a:r>
              <a:endParaRPr lang="en-US" sz="1200">
                <a:solidFill>
                  <a:srgbClr val="575757"/>
                </a:solidFill>
              </a:endParaRPr>
            </a:p>
          </p:txBody>
        </p:sp>
        <p:sp>
          <p:nvSpPr>
            <p:cNvPr id="26" name="TextBox 25">
              <a:extLst>
                <a:ext uri="{FF2B5EF4-FFF2-40B4-BE49-F238E27FC236}">
                  <a16:creationId xmlns:a16="http://schemas.microsoft.com/office/drawing/2014/main" id="{530FF8DC-70A7-4057-9F60-B70A2D066C09}"/>
                </a:ext>
              </a:extLst>
            </p:cNvPr>
            <p:cNvSpPr txBox="1"/>
            <p:nvPr/>
          </p:nvSpPr>
          <p:spPr>
            <a:xfrm>
              <a:off x="8691208"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2</a:t>
              </a:r>
              <a:endParaRPr lang="en-US" sz="1200">
                <a:solidFill>
                  <a:srgbClr val="575757"/>
                </a:solidFill>
              </a:endParaRPr>
            </a:p>
          </p:txBody>
        </p:sp>
        <p:sp>
          <p:nvSpPr>
            <p:cNvPr id="27" name="TextBox 26">
              <a:extLst>
                <a:ext uri="{FF2B5EF4-FFF2-40B4-BE49-F238E27FC236}">
                  <a16:creationId xmlns:a16="http://schemas.microsoft.com/office/drawing/2014/main" id="{88C0E9AE-99FA-4C96-8F08-71769E31EEBC}"/>
                </a:ext>
              </a:extLst>
            </p:cNvPr>
            <p:cNvSpPr txBox="1"/>
            <p:nvPr/>
          </p:nvSpPr>
          <p:spPr>
            <a:xfrm>
              <a:off x="10085104"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3</a:t>
              </a:r>
              <a:endParaRPr lang="en-US" sz="1200">
                <a:solidFill>
                  <a:srgbClr val="575757"/>
                </a:solidFill>
              </a:endParaRPr>
            </a:p>
          </p:txBody>
        </p:sp>
      </p:grpSp>
      <p:sp>
        <p:nvSpPr>
          <p:cNvPr id="28" name="Isosceles Triangle 27">
            <a:extLst>
              <a:ext uri="{FF2B5EF4-FFF2-40B4-BE49-F238E27FC236}">
                <a16:creationId xmlns:a16="http://schemas.microsoft.com/office/drawing/2014/main" id="{EB615170-457A-42EB-8778-0A5CC0692A69}"/>
              </a:ext>
            </a:extLst>
          </p:cNvPr>
          <p:cNvSpPr/>
          <p:nvPr/>
        </p:nvSpPr>
        <p:spPr>
          <a:xfrm rot="10800000" flipV="1">
            <a:off x="7879909" y="5819435"/>
            <a:ext cx="104935" cy="177455"/>
          </a:xfrm>
          <a:prstGeom prst="triangle">
            <a:avLst/>
          </a:prstGeom>
          <a:solidFill>
            <a:srgbClr val="37373A"/>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29" name="app1_grade_Efficiency">
            <a:extLst>
              <a:ext uri="{FF2B5EF4-FFF2-40B4-BE49-F238E27FC236}">
                <a16:creationId xmlns:a16="http://schemas.microsoft.com/office/drawing/2014/main" id="{88F84B9E-B39B-4F50-AE2A-356E6A1AF832}"/>
              </a:ext>
            </a:extLst>
          </p:cNvPr>
          <p:cNvSpPr/>
          <p:nvPr/>
        </p:nvSpPr>
        <p:spPr>
          <a:xfrm>
            <a:off x="3467122" y="1071735"/>
            <a:ext cx="1162050" cy="1162050"/>
          </a:xfrm>
          <a:prstGeom prst="rect">
            <a:avLst/>
          </a:prstGeom>
          <a:grp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a:solidFill>
                  <a:srgbClr val="575757"/>
                </a:solidFill>
              </a:rPr>
              <a:t>Efficiency</a:t>
            </a:r>
          </a:p>
        </p:txBody>
      </p:sp>
      <p:sp>
        <p:nvSpPr>
          <p:cNvPr id="30" name="app1_grade_Changeability">
            <a:extLst>
              <a:ext uri="{FF2B5EF4-FFF2-40B4-BE49-F238E27FC236}">
                <a16:creationId xmlns:a16="http://schemas.microsoft.com/office/drawing/2014/main" id="{6FAEEEB3-5AF8-49B3-883D-A0858C87B972}"/>
              </a:ext>
            </a:extLst>
          </p:cNvPr>
          <p:cNvSpPr/>
          <p:nvPr/>
        </p:nvSpPr>
        <p:spPr>
          <a:xfrm>
            <a:off x="7380942" y="1071735"/>
            <a:ext cx="1162050" cy="1162050"/>
          </a:xfrm>
          <a:prstGeom prst="rect">
            <a:avLst/>
          </a:prstGeom>
          <a:grpFill/>
          <a:ln w="38100">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dirty="0">
                <a:solidFill>
                  <a:srgbClr val="575757"/>
                </a:solidFill>
              </a:rPr>
              <a:t>Changeability</a:t>
            </a:r>
          </a:p>
        </p:txBody>
      </p:sp>
      <p:sp>
        <p:nvSpPr>
          <p:cNvPr id="31" name="app1_grade_Security">
            <a:extLst>
              <a:ext uri="{FF2B5EF4-FFF2-40B4-BE49-F238E27FC236}">
                <a16:creationId xmlns:a16="http://schemas.microsoft.com/office/drawing/2014/main" id="{69C98CD8-5E85-4A1D-98E6-F2511989104C}"/>
              </a:ext>
            </a:extLst>
          </p:cNvPr>
          <p:cNvSpPr/>
          <p:nvPr/>
        </p:nvSpPr>
        <p:spPr>
          <a:xfrm>
            <a:off x="5467800" y="1071735"/>
            <a:ext cx="1162050" cy="1162050"/>
          </a:xfrm>
          <a:prstGeom prst="rect">
            <a:avLst/>
          </a:prstGeom>
          <a:grp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US" sz="1200" b="1" kern="0" dirty="0">
                <a:solidFill>
                  <a:srgbClr val="575757"/>
                </a:solidFill>
              </a:rPr>
              <a:t>Security</a:t>
            </a:r>
          </a:p>
          <a:p>
            <a:pPr algn="ctr">
              <a:lnSpc>
                <a:spcPct val="95000"/>
              </a:lnSpc>
            </a:pPr>
            <a:endParaRPr lang="en-US" sz="1200" b="1" kern="0" dirty="0">
              <a:solidFill>
                <a:srgbClr val="575757"/>
              </a:solidFill>
            </a:endParaRPr>
          </a:p>
        </p:txBody>
      </p:sp>
      <p:sp>
        <p:nvSpPr>
          <p:cNvPr id="32" name="Rectangle 31">
            <a:extLst>
              <a:ext uri="{FF2B5EF4-FFF2-40B4-BE49-F238E27FC236}">
                <a16:creationId xmlns:a16="http://schemas.microsoft.com/office/drawing/2014/main" id="{9C9D5C78-8F58-48F0-9E91-C25B8254F0F9}"/>
              </a:ext>
            </a:extLst>
          </p:cNvPr>
          <p:cNvSpPr/>
          <p:nvPr/>
        </p:nvSpPr>
        <p:spPr>
          <a:xfrm>
            <a:off x="9409339" y="3310909"/>
            <a:ext cx="1162050" cy="1162050"/>
          </a:xfrm>
          <a:prstGeom prst="rect">
            <a:avLst/>
          </a:prstGeom>
          <a:grpFill/>
          <a:ln w="38100" cap="flat" cmpd="sng" algn="ctr">
            <a:solidFill>
              <a:schemeClr val="accent3">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kern="0" err="1">
                <a:solidFill>
                  <a:srgbClr val="FFC000"/>
                </a:solidFill>
                <a:highlight>
                  <a:srgbClr val="00FF00"/>
                </a:highlight>
              </a:rPr>
              <a:t>x,xxx</a:t>
            </a:r>
            <a:endParaRPr lang="en-US" kern="0">
              <a:solidFill>
                <a:srgbClr val="FFC000"/>
              </a:solidFill>
              <a:highlight>
                <a:srgbClr val="00FF00"/>
              </a:highlight>
            </a:endParaRPr>
          </a:p>
          <a:p>
            <a:pPr algn="ctr">
              <a:lnSpc>
                <a:spcPct val="95000"/>
              </a:lnSpc>
            </a:pPr>
            <a:r>
              <a:rPr lang="en-US" sz="1200" kern="0">
                <a:solidFill>
                  <a:srgbClr val="575757"/>
                </a:solidFill>
              </a:rPr>
              <a:t>Next Priority</a:t>
            </a:r>
          </a:p>
          <a:p>
            <a:pPr algn="ctr">
              <a:lnSpc>
                <a:spcPct val="95000"/>
              </a:lnSpc>
            </a:pPr>
            <a:r>
              <a:rPr lang="en-US" sz="1200" kern="0">
                <a:solidFill>
                  <a:srgbClr val="575757"/>
                </a:solidFill>
              </a:rPr>
              <a:t>Violations</a:t>
            </a:r>
          </a:p>
        </p:txBody>
      </p:sp>
      <p:sp>
        <p:nvSpPr>
          <p:cNvPr id="33" name="TextBox 32">
            <a:extLst>
              <a:ext uri="{FF2B5EF4-FFF2-40B4-BE49-F238E27FC236}">
                <a16:creationId xmlns:a16="http://schemas.microsoft.com/office/drawing/2014/main" id="{5D2ECE81-993A-49CC-8000-C519F60BBF82}"/>
              </a:ext>
            </a:extLst>
          </p:cNvPr>
          <p:cNvSpPr txBox="1"/>
          <p:nvPr/>
        </p:nvSpPr>
        <p:spPr>
          <a:xfrm>
            <a:off x="9335212" y="4538544"/>
            <a:ext cx="137172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rPr>
              <a:t>Structural flaws that need attention in near term</a:t>
            </a:r>
          </a:p>
        </p:txBody>
      </p:sp>
      <p:sp>
        <p:nvSpPr>
          <p:cNvPr id="34" name="TextBox 33">
            <a:extLst>
              <a:ext uri="{FF2B5EF4-FFF2-40B4-BE49-F238E27FC236}">
                <a16:creationId xmlns:a16="http://schemas.microsoft.com/office/drawing/2014/main" id="{0FD01243-86CF-4240-9847-7E9D16203403}"/>
              </a:ext>
            </a:extLst>
          </p:cNvPr>
          <p:cNvSpPr txBox="1"/>
          <p:nvPr/>
        </p:nvSpPr>
        <p:spPr>
          <a:xfrm>
            <a:off x="6151840" y="5328695"/>
            <a:ext cx="3769321" cy="29700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lnSpc>
                <a:spcPct val="95000"/>
              </a:lnSpc>
            </a:pPr>
            <a:r>
              <a:rPr lang="en-GB" sz="1400" b="1" kern="0" dirty="0">
                <a:solidFill>
                  <a:srgbClr val="575757"/>
                </a:solidFill>
              </a:rPr>
              <a:t>Accela</a:t>
            </a:r>
            <a:endParaRPr lang="en-US" sz="1400" b="1" kern="0" dirty="0">
              <a:solidFill>
                <a:srgbClr val="575757"/>
              </a:solidFill>
            </a:endParaRPr>
          </a:p>
        </p:txBody>
      </p:sp>
      <p:grpSp>
        <p:nvGrpSpPr>
          <p:cNvPr id="35" name="Group 34">
            <a:extLst>
              <a:ext uri="{FF2B5EF4-FFF2-40B4-BE49-F238E27FC236}">
                <a16:creationId xmlns:a16="http://schemas.microsoft.com/office/drawing/2014/main" id="{83A78BC9-5442-49A3-8E63-472E70C4CCAB}"/>
              </a:ext>
            </a:extLst>
          </p:cNvPr>
          <p:cNvGrpSpPr/>
          <p:nvPr/>
        </p:nvGrpSpPr>
        <p:grpSpPr>
          <a:xfrm>
            <a:off x="1640441" y="1979101"/>
            <a:ext cx="1087781" cy="208217"/>
            <a:chOff x="1698750" y="2371783"/>
            <a:chExt cx="1087781" cy="208217"/>
          </a:xfrm>
        </p:grpSpPr>
        <p:sp>
          <p:nvSpPr>
            <p:cNvPr id="36" name="Rectangle 35">
              <a:extLst>
                <a:ext uri="{FF2B5EF4-FFF2-40B4-BE49-F238E27FC236}">
                  <a16:creationId xmlns:a16="http://schemas.microsoft.com/office/drawing/2014/main" id="{0E75304B-634D-418C-B5F6-8FB185E28745}"/>
                </a:ext>
              </a:extLst>
            </p:cNvPr>
            <p:cNvSpPr/>
            <p:nvPr/>
          </p:nvSpPr>
          <p:spPr>
            <a:xfrm>
              <a:off x="1698750" y="2489304"/>
              <a:ext cx="1087781" cy="90696"/>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37" name="TextBox 36">
              <a:extLst>
                <a:ext uri="{FF2B5EF4-FFF2-40B4-BE49-F238E27FC236}">
                  <a16:creationId xmlns:a16="http://schemas.microsoft.com/office/drawing/2014/main" id="{0DDB2A58-55C7-4986-908B-72296F2F0927}"/>
                </a:ext>
              </a:extLst>
            </p:cNvPr>
            <p:cNvSpPr txBox="1"/>
            <p:nvPr/>
          </p:nvSpPr>
          <p:spPr>
            <a:xfrm>
              <a:off x="1720761"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1</a:t>
              </a:r>
              <a:endParaRPr lang="en-US" sz="700">
                <a:solidFill>
                  <a:srgbClr val="575757"/>
                </a:solidFill>
              </a:endParaRPr>
            </a:p>
          </p:txBody>
        </p:sp>
        <p:sp>
          <p:nvSpPr>
            <p:cNvPr id="38" name="TextBox 37">
              <a:extLst>
                <a:ext uri="{FF2B5EF4-FFF2-40B4-BE49-F238E27FC236}">
                  <a16:creationId xmlns:a16="http://schemas.microsoft.com/office/drawing/2014/main" id="{50CE1CFF-8AD8-40DB-8156-447EA41AFE51}"/>
                </a:ext>
              </a:extLst>
            </p:cNvPr>
            <p:cNvSpPr txBox="1"/>
            <p:nvPr/>
          </p:nvSpPr>
          <p:spPr>
            <a:xfrm>
              <a:off x="2704855"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4</a:t>
              </a:r>
              <a:endParaRPr lang="en-US" sz="700">
                <a:solidFill>
                  <a:srgbClr val="575757"/>
                </a:solidFill>
              </a:endParaRPr>
            </a:p>
          </p:txBody>
        </p:sp>
        <p:sp>
          <p:nvSpPr>
            <p:cNvPr id="39" name="TextBox 38">
              <a:extLst>
                <a:ext uri="{FF2B5EF4-FFF2-40B4-BE49-F238E27FC236}">
                  <a16:creationId xmlns:a16="http://schemas.microsoft.com/office/drawing/2014/main" id="{37A4A83E-ADC4-4480-BE51-625011E35563}"/>
                </a:ext>
              </a:extLst>
            </p:cNvPr>
            <p:cNvSpPr txBox="1"/>
            <p:nvPr/>
          </p:nvSpPr>
          <p:spPr>
            <a:xfrm>
              <a:off x="2048792"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2</a:t>
              </a:r>
              <a:endParaRPr lang="en-US" sz="700">
                <a:solidFill>
                  <a:srgbClr val="575757"/>
                </a:solidFill>
              </a:endParaRPr>
            </a:p>
          </p:txBody>
        </p:sp>
        <p:sp>
          <p:nvSpPr>
            <p:cNvPr id="40" name="TextBox 39">
              <a:extLst>
                <a:ext uri="{FF2B5EF4-FFF2-40B4-BE49-F238E27FC236}">
                  <a16:creationId xmlns:a16="http://schemas.microsoft.com/office/drawing/2014/main" id="{DAA3604C-E8C2-49B8-A0BC-31F568589A18}"/>
                </a:ext>
              </a:extLst>
            </p:cNvPr>
            <p:cNvSpPr txBox="1"/>
            <p:nvPr/>
          </p:nvSpPr>
          <p:spPr>
            <a:xfrm>
              <a:off x="2376824"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3</a:t>
              </a:r>
              <a:endParaRPr lang="en-US" sz="700">
                <a:solidFill>
                  <a:srgbClr val="575757"/>
                </a:solidFill>
              </a:endParaRPr>
            </a:p>
          </p:txBody>
        </p:sp>
        <p:sp>
          <p:nvSpPr>
            <p:cNvPr id="41" name="Isosceles Triangle 40">
              <a:extLst>
                <a:ext uri="{FF2B5EF4-FFF2-40B4-BE49-F238E27FC236}">
                  <a16:creationId xmlns:a16="http://schemas.microsoft.com/office/drawing/2014/main" id="{EEC3C295-D6A9-4B21-85CF-A0A9566D3AC3}"/>
                </a:ext>
              </a:extLst>
            </p:cNvPr>
            <p:cNvSpPr/>
            <p:nvPr/>
          </p:nvSpPr>
          <p:spPr>
            <a:xfrm rot="10800000" flipV="1">
              <a:off x="2278887" y="2488466"/>
              <a:ext cx="87844" cy="77941"/>
            </a:xfrm>
            <a:prstGeom prst="triangle">
              <a:avLst/>
            </a:prstGeom>
            <a:solidFill>
              <a:srgbClr val="37373A"/>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highlight>
                  <a:srgbClr val="000000"/>
                </a:highlight>
              </a:endParaRPr>
            </a:p>
          </p:txBody>
        </p:sp>
      </p:grpSp>
      <p:grpSp>
        <p:nvGrpSpPr>
          <p:cNvPr id="42" name="Group 41">
            <a:extLst>
              <a:ext uri="{FF2B5EF4-FFF2-40B4-BE49-F238E27FC236}">
                <a16:creationId xmlns:a16="http://schemas.microsoft.com/office/drawing/2014/main" id="{E6990D84-2758-48AC-87E1-E3AC2035CA7C}"/>
              </a:ext>
            </a:extLst>
          </p:cNvPr>
          <p:cNvGrpSpPr/>
          <p:nvPr/>
        </p:nvGrpSpPr>
        <p:grpSpPr>
          <a:xfrm>
            <a:off x="3510483" y="1979101"/>
            <a:ext cx="1087781" cy="208217"/>
            <a:chOff x="1698750" y="2371783"/>
            <a:chExt cx="1087781" cy="208217"/>
          </a:xfrm>
        </p:grpSpPr>
        <p:sp>
          <p:nvSpPr>
            <p:cNvPr id="43" name="Rectangle 42">
              <a:extLst>
                <a:ext uri="{FF2B5EF4-FFF2-40B4-BE49-F238E27FC236}">
                  <a16:creationId xmlns:a16="http://schemas.microsoft.com/office/drawing/2014/main" id="{8D09CDBE-06E6-4CC8-A321-699DD3F7C74D}"/>
                </a:ext>
              </a:extLst>
            </p:cNvPr>
            <p:cNvSpPr/>
            <p:nvPr/>
          </p:nvSpPr>
          <p:spPr>
            <a:xfrm>
              <a:off x="1698750" y="2489304"/>
              <a:ext cx="1087781" cy="90696"/>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44" name="TextBox 43">
              <a:extLst>
                <a:ext uri="{FF2B5EF4-FFF2-40B4-BE49-F238E27FC236}">
                  <a16:creationId xmlns:a16="http://schemas.microsoft.com/office/drawing/2014/main" id="{E3F4DE7C-7DBB-4C36-9FEA-1D190CC77AFB}"/>
                </a:ext>
              </a:extLst>
            </p:cNvPr>
            <p:cNvSpPr txBox="1"/>
            <p:nvPr/>
          </p:nvSpPr>
          <p:spPr>
            <a:xfrm>
              <a:off x="1720761"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1</a:t>
              </a:r>
              <a:endParaRPr lang="en-US" sz="700">
                <a:solidFill>
                  <a:srgbClr val="575757"/>
                </a:solidFill>
              </a:endParaRPr>
            </a:p>
          </p:txBody>
        </p:sp>
        <p:sp>
          <p:nvSpPr>
            <p:cNvPr id="45" name="TextBox 44">
              <a:extLst>
                <a:ext uri="{FF2B5EF4-FFF2-40B4-BE49-F238E27FC236}">
                  <a16:creationId xmlns:a16="http://schemas.microsoft.com/office/drawing/2014/main" id="{574F6315-8C2E-4ABF-AEA3-C006133A05AF}"/>
                </a:ext>
              </a:extLst>
            </p:cNvPr>
            <p:cNvSpPr txBox="1"/>
            <p:nvPr/>
          </p:nvSpPr>
          <p:spPr>
            <a:xfrm>
              <a:off x="2704855"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4</a:t>
              </a:r>
              <a:endParaRPr lang="en-US" sz="700">
                <a:solidFill>
                  <a:srgbClr val="575757"/>
                </a:solidFill>
              </a:endParaRPr>
            </a:p>
          </p:txBody>
        </p:sp>
        <p:sp>
          <p:nvSpPr>
            <p:cNvPr id="46" name="TextBox 45">
              <a:extLst>
                <a:ext uri="{FF2B5EF4-FFF2-40B4-BE49-F238E27FC236}">
                  <a16:creationId xmlns:a16="http://schemas.microsoft.com/office/drawing/2014/main" id="{F47D7572-87C0-4A8A-8CAD-91CE147D7267}"/>
                </a:ext>
              </a:extLst>
            </p:cNvPr>
            <p:cNvSpPr txBox="1"/>
            <p:nvPr/>
          </p:nvSpPr>
          <p:spPr>
            <a:xfrm>
              <a:off x="2048792"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2</a:t>
              </a:r>
              <a:endParaRPr lang="en-US" sz="700">
                <a:solidFill>
                  <a:srgbClr val="575757"/>
                </a:solidFill>
              </a:endParaRPr>
            </a:p>
          </p:txBody>
        </p:sp>
        <p:sp>
          <p:nvSpPr>
            <p:cNvPr id="47" name="TextBox 46">
              <a:extLst>
                <a:ext uri="{FF2B5EF4-FFF2-40B4-BE49-F238E27FC236}">
                  <a16:creationId xmlns:a16="http://schemas.microsoft.com/office/drawing/2014/main" id="{760E5E7C-8D5D-4942-BBA0-E1FD8F3D2CE2}"/>
                </a:ext>
              </a:extLst>
            </p:cNvPr>
            <p:cNvSpPr txBox="1"/>
            <p:nvPr/>
          </p:nvSpPr>
          <p:spPr>
            <a:xfrm>
              <a:off x="2376824"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3</a:t>
              </a:r>
              <a:endParaRPr lang="en-US" sz="700">
                <a:solidFill>
                  <a:srgbClr val="575757"/>
                </a:solidFill>
              </a:endParaRPr>
            </a:p>
          </p:txBody>
        </p:sp>
        <p:sp>
          <p:nvSpPr>
            <p:cNvPr id="48" name="Isosceles Triangle 47">
              <a:extLst>
                <a:ext uri="{FF2B5EF4-FFF2-40B4-BE49-F238E27FC236}">
                  <a16:creationId xmlns:a16="http://schemas.microsoft.com/office/drawing/2014/main" id="{A9C1C3EA-B2C1-4F86-BA92-CC716273D473}"/>
                </a:ext>
              </a:extLst>
            </p:cNvPr>
            <p:cNvSpPr/>
            <p:nvPr/>
          </p:nvSpPr>
          <p:spPr>
            <a:xfrm rot="10800000" flipV="1">
              <a:off x="1948682" y="2488466"/>
              <a:ext cx="87844" cy="77941"/>
            </a:xfrm>
            <a:prstGeom prst="triangle">
              <a:avLst/>
            </a:prstGeom>
            <a:solidFill>
              <a:srgbClr val="37373A"/>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highlight>
                  <a:srgbClr val="000000"/>
                </a:highlight>
              </a:endParaRPr>
            </a:p>
          </p:txBody>
        </p:sp>
      </p:grpSp>
      <p:grpSp>
        <p:nvGrpSpPr>
          <p:cNvPr id="49" name="Group 48">
            <a:extLst>
              <a:ext uri="{FF2B5EF4-FFF2-40B4-BE49-F238E27FC236}">
                <a16:creationId xmlns:a16="http://schemas.microsoft.com/office/drawing/2014/main" id="{A81C6F2C-F34D-4D4C-9B51-DB9C21CCAEC0}"/>
              </a:ext>
            </a:extLst>
          </p:cNvPr>
          <p:cNvGrpSpPr/>
          <p:nvPr/>
        </p:nvGrpSpPr>
        <p:grpSpPr>
          <a:xfrm>
            <a:off x="5504997" y="1979805"/>
            <a:ext cx="1087781" cy="208217"/>
            <a:chOff x="1698750" y="2371783"/>
            <a:chExt cx="1087781" cy="208217"/>
          </a:xfrm>
        </p:grpSpPr>
        <p:sp>
          <p:nvSpPr>
            <p:cNvPr id="50" name="Rectangle 49">
              <a:extLst>
                <a:ext uri="{FF2B5EF4-FFF2-40B4-BE49-F238E27FC236}">
                  <a16:creationId xmlns:a16="http://schemas.microsoft.com/office/drawing/2014/main" id="{5A9ED2DF-E276-43D2-93BF-1586268EAC9D}"/>
                </a:ext>
              </a:extLst>
            </p:cNvPr>
            <p:cNvSpPr/>
            <p:nvPr/>
          </p:nvSpPr>
          <p:spPr>
            <a:xfrm>
              <a:off x="1698750" y="2489304"/>
              <a:ext cx="1087781" cy="90696"/>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51" name="TextBox 50">
              <a:extLst>
                <a:ext uri="{FF2B5EF4-FFF2-40B4-BE49-F238E27FC236}">
                  <a16:creationId xmlns:a16="http://schemas.microsoft.com/office/drawing/2014/main" id="{E54F38AB-DA77-4927-8462-7091EC81E649}"/>
                </a:ext>
              </a:extLst>
            </p:cNvPr>
            <p:cNvSpPr txBox="1"/>
            <p:nvPr/>
          </p:nvSpPr>
          <p:spPr>
            <a:xfrm>
              <a:off x="1720761"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1</a:t>
              </a:r>
              <a:endParaRPr lang="en-US" sz="700">
                <a:solidFill>
                  <a:srgbClr val="575757"/>
                </a:solidFill>
              </a:endParaRPr>
            </a:p>
          </p:txBody>
        </p:sp>
        <p:sp>
          <p:nvSpPr>
            <p:cNvPr id="52" name="TextBox 51">
              <a:extLst>
                <a:ext uri="{FF2B5EF4-FFF2-40B4-BE49-F238E27FC236}">
                  <a16:creationId xmlns:a16="http://schemas.microsoft.com/office/drawing/2014/main" id="{8333CAFB-D0AC-4D2E-8437-2CF9EA788F46}"/>
                </a:ext>
              </a:extLst>
            </p:cNvPr>
            <p:cNvSpPr txBox="1"/>
            <p:nvPr/>
          </p:nvSpPr>
          <p:spPr>
            <a:xfrm>
              <a:off x="2704855"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4</a:t>
              </a:r>
              <a:endParaRPr lang="en-US" sz="700">
                <a:solidFill>
                  <a:srgbClr val="575757"/>
                </a:solidFill>
              </a:endParaRPr>
            </a:p>
          </p:txBody>
        </p:sp>
        <p:sp>
          <p:nvSpPr>
            <p:cNvPr id="53" name="TextBox 52">
              <a:extLst>
                <a:ext uri="{FF2B5EF4-FFF2-40B4-BE49-F238E27FC236}">
                  <a16:creationId xmlns:a16="http://schemas.microsoft.com/office/drawing/2014/main" id="{C00DA0C4-BD7E-4111-B0C8-3A4C70F48BF9}"/>
                </a:ext>
              </a:extLst>
            </p:cNvPr>
            <p:cNvSpPr txBox="1"/>
            <p:nvPr/>
          </p:nvSpPr>
          <p:spPr>
            <a:xfrm>
              <a:off x="2048792"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2</a:t>
              </a:r>
              <a:endParaRPr lang="en-US" sz="700">
                <a:solidFill>
                  <a:srgbClr val="575757"/>
                </a:solidFill>
              </a:endParaRPr>
            </a:p>
          </p:txBody>
        </p:sp>
        <p:sp>
          <p:nvSpPr>
            <p:cNvPr id="54" name="TextBox 53">
              <a:extLst>
                <a:ext uri="{FF2B5EF4-FFF2-40B4-BE49-F238E27FC236}">
                  <a16:creationId xmlns:a16="http://schemas.microsoft.com/office/drawing/2014/main" id="{0947C165-6B4D-415F-A29E-6DA78B29C5BE}"/>
                </a:ext>
              </a:extLst>
            </p:cNvPr>
            <p:cNvSpPr txBox="1"/>
            <p:nvPr/>
          </p:nvSpPr>
          <p:spPr>
            <a:xfrm>
              <a:off x="2376824"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3</a:t>
              </a:r>
              <a:endParaRPr lang="en-US" sz="700">
                <a:solidFill>
                  <a:srgbClr val="575757"/>
                </a:solidFill>
              </a:endParaRPr>
            </a:p>
          </p:txBody>
        </p:sp>
        <p:sp>
          <p:nvSpPr>
            <p:cNvPr id="55" name="Isosceles Triangle 54">
              <a:extLst>
                <a:ext uri="{FF2B5EF4-FFF2-40B4-BE49-F238E27FC236}">
                  <a16:creationId xmlns:a16="http://schemas.microsoft.com/office/drawing/2014/main" id="{EFA3CFF4-6033-488E-B4E5-60FEC091E56B}"/>
                </a:ext>
              </a:extLst>
            </p:cNvPr>
            <p:cNvSpPr/>
            <p:nvPr/>
          </p:nvSpPr>
          <p:spPr>
            <a:xfrm rot="10800000" flipV="1">
              <a:off x="2101082" y="2488466"/>
              <a:ext cx="87844" cy="77941"/>
            </a:xfrm>
            <a:prstGeom prst="triangle">
              <a:avLst/>
            </a:prstGeom>
            <a:solidFill>
              <a:srgbClr val="37373A"/>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highlight>
                  <a:srgbClr val="000000"/>
                </a:highlight>
              </a:endParaRPr>
            </a:p>
          </p:txBody>
        </p:sp>
      </p:grpSp>
      <p:grpSp>
        <p:nvGrpSpPr>
          <p:cNvPr id="56" name="Group 55">
            <a:extLst>
              <a:ext uri="{FF2B5EF4-FFF2-40B4-BE49-F238E27FC236}">
                <a16:creationId xmlns:a16="http://schemas.microsoft.com/office/drawing/2014/main" id="{E7F1FA42-0EBD-45DD-8DEA-4E1BEE240A37}"/>
              </a:ext>
            </a:extLst>
          </p:cNvPr>
          <p:cNvGrpSpPr/>
          <p:nvPr/>
        </p:nvGrpSpPr>
        <p:grpSpPr>
          <a:xfrm>
            <a:off x="7418076" y="1980384"/>
            <a:ext cx="1087781" cy="208217"/>
            <a:chOff x="1698750" y="2371783"/>
            <a:chExt cx="1087781" cy="208217"/>
          </a:xfrm>
        </p:grpSpPr>
        <p:sp>
          <p:nvSpPr>
            <p:cNvPr id="57" name="Rectangle 56">
              <a:extLst>
                <a:ext uri="{FF2B5EF4-FFF2-40B4-BE49-F238E27FC236}">
                  <a16:creationId xmlns:a16="http://schemas.microsoft.com/office/drawing/2014/main" id="{6CD149D4-F430-45D7-9E87-61B39D6B834E}"/>
                </a:ext>
              </a:extLst>
            </p:cNvPr>
            <p:cNvSpPr/>
            <p:nvPr/>
          </p:nvSpPr>
          <p:spPr>
            <a:xfrm>
              <a:off x="1698750" y="2489304"/>
              <a:ext cx="1087781" cy="90696"/>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58" name="TextBox 57">
              <a:extLst>
                <a:ext uri="{FF2B5EF4-FFF2-40B4-BE49-F238E27FC236}">
                  <a16:creationId xmlns:a16="http://schemas.microsoft.com/office/drawing/2014/main" id="{9D925106-60BA-43D2-BA62-A44D812185CD}"/>
                </a:ext>
              </a:extLst>
            </p:cNvPr>
            <p:cNvSpPr txBox="1"/>
            <p:nvPr/>
          </p:nvSpPr>
          <p:spPr>
            <a:xfrm>
              <a:off x="1720761"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1</a:t>
              </a:r>
              <a:endParaRPr lang="en-US" sz="700">
                <a:solidFill>
                  <a:srgbClr val="575757"/>
                </a:solidFill>
              </a:endParaRPr>
            </a:p>
          </p:txBody>
        </p:sp>
        <p:sp>
          <p:nvSpPr>
            <p:cNvPr id="59" name="TextBox 58">
              <a:extLst>
                <a:ext uri="{FF2B5EF4-FFF2-40B4-BE49-F238E27FC236}">
                  <a16:creationId xmlns:a16="http://schemas.microsoft.com/office/drawing/2014/main" id="{A677A5CE-11E1-4C14-9073-BE861AB9AE11}"/>
                </a:ext>
              </a:extLst>
            </p:cNvPr>
            <p:cNvSpPr txBox="1"/>
            <p:nvPr/>
          </p:nvSpPr>
          <p:spPr>
            <a:xfrm>
              <a:off x="2704855"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4</a:t>
              </a:r>
              <a:endParaRPr lang="en-US" sz="700">
                <a:solidFill>
                  <a:srgbClr val="575757"/>
                </a:solidFill>
              </a:endParaRPr>
            </a:p>
          </p:txBody>
        </p:sp>
        <p:sp>
          <p:nvSpPr>
            <p:cNvPr id="60" name="TextBox 59">
              <a:extLst>
                <a:ext uri="{FF2B5EF4-FFF2-40B4-BE49-F238E27FC236}">
                  <a16:creationId xmlns:a16="http://schemas.microsoft.com/office/drawing/2014/main" id="{D997AE25-C9C4-4F94-A57B-FBFB56A9F185}"/>
                </a:ext>
              </a:extLst>
            </p:cNvPr>
            <p:cNvSpPr txBox="1"/>
            <p:nvPr/>
          </p:nvSpPr>
          <p:spPr>
            <a:xfrm>
              <a:off x="2048792"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2</a:t>
              </a:r>
              <a:endParaRPr lang="en-US" sz="700">
                <a:solidFill>
                  <a:srgbClr val="575757"/>
                </a:solidFill>
              </a:endParaRPr>
            </a:p>
          </p:txBody>
        </p:sp>
        <p:sp>
          <p:nvSpPr>
            <p:cNvPr id="61" name="TextBox 60">
              <a:extLst>
                <a:ext uri="{FF2B5EF4-FFF2-40B4-BE49-F238E27FC236}">
                  <a16:creationId xmlns:a16="http://schemas.microsoft.com/office/drawing/2014/main" id="{94341DC7-C030-4429-B261-969132D688C4}"/>
                </a:ext>
              </a:extLst>
            </p:cNvPr>
            <p:cNvSpPr txBox="1"/>
            <p:nvPr/>
          </p:nvSpPr>
          <p:spPr>
            <a:xfrm>
              <a:off x="2376824"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3</a:t>
              </a:r>
              <a:endParaRPr lang="en-US" sz="700">
                <a:solidFill>
                  <a:srgbClr val="575757"/>
                </a:solidFill>
              </a:endParaRPr>
            </a:p>
          </p:txBody>
        </p:sp>
        <p:sp>
          <p:nvSpPr>
            <p:cNvPr id="62" name="Isosceles Triangle 61">
              <a:extLst>
                <a:ext uri="{FF2B5EF4-FFF2-40B4-BE49-F238E27FC236}">
                  <a16:creationId xmlns:a16="http://schemas.microsoft.com/office/drawing/2014/main" id="{183DE3FB-F2EB-4D39-A05F-348EB125E29A}"/>
                </a:ext>
              </a:extLst>
            </p:cNvPr>
            <p:cNvSpPr/>
            <p:nvPr/>
          </p:nvSpPr>
          <p:spPr>
            <a:xfrm rot="10800000" flipV="1">
              <a:off x="2253486" y="2488466"/>
              <a:ext cx="87844" cy="77941"/>
            </a:xfrm>
            <a:prstGeom prst="triangle">
              <a:avLst/>
            </a:prstGeom>
            <a:solidFill>
              <a:srgbClr val="37373A"/>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highlight>
                  <a:srgbClr val="000000"/>
                </a:highlight>
              </a:endParaRPr>
            </a:p>
          </p:txBody>
        </p:sp>
      </p:grpSp>
      <p:grpSp>
        <p:nvGrpSpPr>
          <p:cNvPr id="63" name="Group 62">
            <a:extLst>
              <a:ext uri="{FF2B5EF4-FFF2-40B4-BE49-F238E27FC236}">
                <a16:creationId xmlns:a16="http://schemas.microsoft.com/office/drawing/2014/main" id="{B3EF9EF5-BFC8-4F90-9FB1-638E26A8DD60}"/>
              </a:ext>
            </a:extLst>
          </p:cNvPr>
          <p:cNvGrpSpPr/>
          <p:nvPr/>
        </p:nvGrpSpPr>
        <p:grpSpPr>
          <a:xfrm>
            <a:off x="9346933" y="1979101"/>
            <a:ext cx="1087781" cy="208217"/>
            <a:chOff x="1698750" y="2371783"/>
            <a:chExt cx="1087781" cy="208217"/>
          </a:xfrm>
        </p:grpSpPr>
        <p:sp>
          <p:nvSpPr>
            <p:cNvPr id="64" name="Rectangle 63">
              <a:extLst>
                <a:ext uri="{FF2B5EF4-FFF2-40B4-BE49-F238E27FC236}">
                  <a16:creationId xmlns:a16="http://schemas.microsoft.com/office/drawing/2014/main" id="{3A4D9A99-092F-42D8-81C9-0B83A5F84A8A}"/>
                </a:ext>
              </a:extLst>
            </p:cNvPr>
            <p:cNvSpPr/>
            <p:nvPr/>
          </p:nvSpPr>
          <p:spPr>
            <a:xfrm>
              <a:off x="1698750" y="2489304"/>
              <a:ext cx="1087781" cy="90696"/>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65" name="TextBox 64">
              <a:extLst>
                <a:ext uri="{FF2B5EF4-FFF2-40B4-BE49-F238E27FC236}">
                  <a16:creationId xmlns:a16="http://schemas.microsoft.com/office/drawing/2014/main" id="{218F9242-966D-4CD2-AEAF-21EC3C376823}"/>
                </a:ext>
              </a:extLst>
            </p:cNvPr>
            <p:cNvSpPr txBox="1"/>
            <p:nvPr/>
          </p:nvSpPr>
          <p:spPr>
            <a:xfrm>
              <a:off x="1720761"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1</a:t>
              </a:r>
              <a:endParaRPr lang="en-US" sz="700">
                <a:solidFill>
                  <a:srgbClr val="575757"/>
                </a:solidFill>
              </a:endParaRPr>
            </a:p>
          </p:txBody>
        </p:sp>
        <p:sp>
          <p:nvSpPr>
            <p:cNvPr id="66" name="TextBox 65">
              <a:extLst>
                <a:ext uri="{FF2B5EF4-FFF2-40B4-BE49-F238E27FC236}">
                  <a16:creationId xmlns:a16="http://schemas.microsoft.com/office/drawing/2014/main" id="{A3157361-7070-4A06-A87B-E7BF7C344336}"/>
                </a:ext>
              </a:extLst>
            </p:cNvPr>
            <p:cNvSpPr txBox="1"/>
            <p:nvPr/>
          </p:nvSpPr>
          <p:spPr>
            <a:xfrm>
              <a:off x="2704855"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4</a:t>
              </a:r>
              <a:endParaRPr lang="en-US" sz="700">
                <a:solidFill>
                  <a:srgbClr val="575757"/>
                </a:solidFill>
              </a:endParaRPr>
            </a:p>
          </p:txBody>
        </p:sp>
        <p:sp>
          <p:nvSpPr>
            <p:cNvPr id="67" name="TextBox 66">
              <a:extLst>
                <a:ext uri="{FF2B5EF4-FFF2-40B4-BE49-F238E27FC236}">
                  <a16:creationId xmlns:a16="http://schemas.microsoft.com/office/drawing/2014/main" id="{6E859038-9322-472C-9F32-DC431F547096}"/>
                </a:ext>
              </a:extLst>
            </p:cNvPr>
            <p:cNvSpPr txBox="1"/>
            <p:nvPr/>
          </p:nvSpPr>
          <p:spPr>
            <a:xfrm>
              <a:off x="2048792"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2</a:t>
              </a:r>
              <a:endParaRPr lang="en-US" sz="700">
                <a:solidFill>
                  <a:srgbClr val="575757"/>
                </a:solidFill>
              </a:endParaRPr>
            </a:p>
          </p:txBody>
        </p:sp>
        <p:sp>
          <p:nvSpPr>
            <p:cNvPr id="68" name="TextBox 67">
              <a:extLst>
                <a:ext uri="{FF2B5EF4-FFF2-40B4-BE49-F238E27FC236}">
                  <a16:creationId xmlns:a16="http://schemas.microsoft.com/office/drawing/2014/main" id="{29CAF102-9F86-47A3-854B-6328C4592C28}"/>
                </a:ext>
              </a:extLst>
            </p:cNvPr>
            <p:cNvSpPr txBox="1"/>
            <p:nvPr/>
          </p:nvSpPr>
          <p:spPr>
            <a:xfrm>
              <a:off x="2376824"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3</a:t>
              </a:r>
              <a:endParaRPr lang="en-US" sz="700">
                <a:solidFill>
                  <a:srgbClr val="575757"/>
                </a:solidFill>
              </a:endParaRPr>
            </a:p>
          </p:txBody>
        </p:sp>
        <p:sp>
          <p:nvSpPr>
            <p:cNvPr id="69" name="Isosceles Triangle 68">
              <a:extLst>
                <a:ext uri="{FF2B5EF4-FFF2-40B4-BE49-F238E27FC236}">
                  <a16:creationId xmlns:a16="http://schemas.microsoft.com/office/drawing/2014/main" id="{5AFC4018-3766-409C-A804-5F381342279F}"/>
                </a:ext>
              </a:extLst>
            </p:cNvPr>
            <p:cNvSpPr/>
            <p:nvPr/>
          </p:nvSpPr>
          <p:spPr>
            <a:xfrm rot="10800000" flipV="1">
              <a:off x="2448221" y="2488466"/>
              <a:ext cx="87844" cy="77941"/>
            </a:xfrm>
            <a:prstGeom prst="triangle">
              <a:avLst/>
            </a:prstGeom>
            <a:solidFill>
              <a:srgbClr val="37373A"/>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highlight>
                  <a:srgbClr val="000000"/>
                </a:highlight>
              </a:endParaRPr>
            </a:p>
          </p:txBody>
        </p:sp>
      </p:grpSp>
      <p:grpSp>
        <p:nvGrpSpPr>
          <p:cNvPr id="70" name="Group 69">
            <a:extLst>
              <a:ext uri="{FF2B5EF4-FFF2-40B4-BE49-F238E27FC236}">
                <a16:creationId xmlns:a16="http://schemas.microsoft.com/office/drawing/2014/main" id="{E0A1878C-9EF1-4D71-AE13-78C42EFD763F}"/>
              </a:ext>
            </a:extLst>
          </p:cNvPr>
          <p:cNvGrpSpPr/>
          <p:nvPr/>
        </p:nvGrpSpPr>
        <p:grpSpPr>
          <a:xfrm>
            <a:off x="5096131" y="4231979"/>
            <a:ext cx="1087781" cy="208217"/>
            <a:chOff x="1698750" y="2371783"/>
            <a:chExt cx="1087781" cy="208217"/>
          </a:xfrm>
        </p:grpSpPr>
        <p:sp>
          <p:nvSpPr>
            <p:cNvPr id="71" name="Rectangle 70">
              <a:extLst>
                <a:ext uri="{FF2B5EF4-FFF2-40B4-BE49-F238E27FC236}">
                  <a16:creationId xmlns:a16="http://schemas.microsoft.com/office/drawing/2014/main" id="{D33BFCED-83D3-4132-9539-27B75467CC5B}"/>
                </a:ext>
              </a:extLst>
            </p:cNvPr>
            <p:cNvSpPr/>
            <p:nvPr/>
          </p:nvSpPr>
          <p:spPr>
            <a:xfrm>
              <a:off x="1698750" y="2489304"/>
              <a:ext cx="1087781" cy="90696"/>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72" name="TextBox 71">
              <a:extLst>
                <a:ext uri="{FF2B5EF4-FFF2-40B4-BE49-F238E27FC236}">
                  <a16:creationId xmlns:a16="http://schemas.microsoft.com/office/drawing/2014/main" id="{F8CC90EE-0131-4363-959B-32E058721893}"/>
                </a:ext>
              </a:extLst>
            </p:cNvPr>
            <p:cNvSpPr txBox="1"/>
            <p:nvPr/>
          </p:nvSpPr>
          <p:spPr>
            <a:xfrm>
              <a:off x="1720761"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1</a:t>
              </a:r>
              <a:endParaRPr lang="en-US" sz="700">
                <a:solidFill>
                  <a:srgbClr val="575757"/>
                </a:solidFill>
              </a:endParaRPr>
            </a:p>
          </p:txBody>
        </p:sp>
        <p:sp>
          <p:nvSpPr>
            <p:cNvPr id="73" name="TextBox 72">
              <a:extLst>
                <a:ext uri="{FF2B5EF4-FFF2-40B4-BE49-F238E27FC236}">
                  <a16:creationId xmlns:a16="http://schemas.microsoft.com/office/drawing/2014/main" id="{82CF5F37-A3E6-46F7-A839-33FFFC6DA9CC}"/>
                </a:ext>
              </a:extLst>
            </p:cNvPr>
            <p:cNvSpPr txBox="1"/>
            <p:nvPr/>
          </p:nvSpPr>
          <p:spPr>
            <a:xfrm>
              <a:off x="2704855"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4</a:t>
              </a:r>
              <a:endParaRPr lang="en-US" sz="700">
                <a:solidFill>
                  <a:srgbClr val="575757"/>
                </a:solidFill>
              </a:endParaRPr>
            </a:p>
          </p:txBody>
        </p:sp>
        <p:sp>
          <p:nvSpPr>
            <p:cNvPr id="74" name="TextBox 73">
              <a:extLst>
                <a:ext uri="{FF2B5EF4-FFF2-40B4-BE49-F238E27FC236}">
                  <a16:creationId xmlns:a16="http://schemas.microsoft.com/office/drawing/2014/main" id="{3BE853F2-5FEE-4502-BDC8-DA884CB85F45}"/>
                </a:ext>
              </a:extLst>
            </p:cNvPr>
            <p:cNvSpPr txBox="1"/>
            <p:nvPr/>
          </p:nvSpPr>
          <p:spPr>
            <a:xfrm>
              <a:off x="2048792"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2</a:t>
              </a:r>
              <a:endParaRPr lang="en-US" sz="700">
                <a:solidFill>
                  <a:srgbClr val="575757"/>
                </a:solidFill>
              </a:endParaRPr>
            </a:p>
          </p:txBody>
        </p:sp>
        <p:sp>
          <p:nvSpPr>
            <p:cNvPr id="75" name="TextBox 74">
              <a:extLst>
                <a:ext uri="{FF2B5EF4-FFF2-40B4-BE49-F238E27FC236}">
                  <a16:creationId xmlns:a16="http://schemas.microsoft.com/office/drawing/2014/main" id="{DC540E60-2E4A-488D-A1BF-DE701EFBCAC1}"/>
                </a:ext>
              </a:extLst>
            </p:cNvPr>
            <p:cNvSpPr txBox="1"/>
            <p:nvPr/>
          </p:nvSpPr>
          <p:spPr>
            <a:xfrm>
              <a:off x="2376824"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3</a:t>
              </a:r>
              <a:endParaRPr lang="en-US" sz="700">
                <a:solidFill>
                  <a:srgbClr val="575757"/>
                </a:solidFill>
              </a:endParaRPr>
            </a:p>
          </p:txBody>
        </p:sp>
        <p:sp>
          <p:nvSpPr>
            <p:cNvPr id="76" name="Isosceles Triangle 75">
              <a:extLst>
                <a:ext uri="{FF2B5EF4-FFF2-40B4-BE49-F238E27FC236}">
                  <a16:creationId xmlns:a16="http://schemas.microsoft.com/office/drawing/2014/main" id="{A4974720-9B38-4D6C-B93C-A3A1E055F090}"/>
                </a:ext>
              </a:extLst>
            </p:cNvPr>
            <p:cNvSpPr/>
            <p:nvPr/>
          </p:nvSpPr>
          <p:spPr>
            <a:xfrm rot="10800000" flipV="1">
              <a:off x="2211151" y="2488466"/>
              <a:ext cx="87844" cy="77941"/>
            </a:xfrm>
            <a:prstGeom prst="triangle">
              <a:avLst/>
            </a:prstGeom>
            <a:solidFill>
              <a:srgbClr val="37373A"/>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highlight>
                  <a:srgbClr val="000000"/>
                </a:highlight>
              </a:endParaRPr>
            </a:p>
          </p:txBody>
        </p:sp>
      </p:grpSp>
      <p:sp>
        <p:nvSpPr>
          <p:cNvPr id="77" name="TextBox 76">
            <a:extLst>
              <a:ext uri="{FF2B5EF4-FFF2-40B4-BE49-F238E27FC236}">
                <a16:creationId xmlns:a16="http://schemas.microsoft.com/office/drawing/2014/main" id="{D3C2C5F5-F6BE-4311-BB70-F142DFEE7941}"/>
              </a:ext>
            </a:extLst>
          </p:cNvPr>
          <p:cNvSpPr txBox="1"/>
          <p:nvPr/>
        </p:nvSpPr>
        <p:spPr>
          <a:xfrm>
            <a:off x="3682502" y="1462054"/>
            <a:ext cx="731289" cy="400110"/>
          </a:xfrm>
          <a:prstGeom prst="rect">
            <a:avLst/>
          </a:prstGeom>
          <a:noFill/>
          <a:ln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kern="0" dirty="0">
                <a:solidFill>
                  <a:srgbClr val="FF0000"/>
                </a:solidFill>
              </a:rPr>
              <a:t>1.86</a:t>
            </a:r>
            <a:endParaRPr lang="en-US" sz="2000" b="1" kern="0" dirty="0">
              <a:solidFill>
                <a:srgbClr val="575757"/>
              </a:solidFill>
            </a:endParaRPr>
          </a:p>
        </p:txBody>
      </p:sp>
      <p:sp>
        <p:nvSpPr>
          <p:cNvPr id="78" name="TextBox 77">
            <a:extLst>
              <a:ext uri="{FF2B5EF4-FFF2-40B4-BE49-F238E27FC236}">
                <a16:creationId xmlns:a16="http://schemas.microsoft.com/office/drawing/2014/main" id="{38A7A40D-EA6E-4E88-B2AD-71B6AD218C95}"/>
              </a:ext>
            </a:extLst>
          </p:cNvPr>
          <p:cNvSpPr txBox="1"/>
          <p:nvPr/>
        </p:nvSpPr>
        <p:spPr>
          <a:xfrm>
            <a:off x="5686871" y="1459118"/>
            <a:ext cx="731289" cy="400110"/>
          </a:xfrm>
          <a:prstGeom prst="rect">
            <a:avLst/>
          </a:prstGeom>
          <a:noFill/>
          <a:ln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rgbClr val="FF0000"/>
                </a:solidFill>
              </a:rPr>
              <a:t>1.63</a:t>
            </a:r>
          </a:p>
        </p:txBody>
      </p:sp>
      <p:sp>
        <p:nvSpPr>
          <p:cNvPr id="79" name="TextBox 78">
            <a:extLst>
              <a:ext uri="{FF2B5EF4-FFF2-40B4-BE49-F238E27FC236}">
                <a16:creationId xmlns:a16="http://schemas.microsoft.com/office/drawing/2014/main" id="{05EBBE3C-E415-41A1-9EA7-93279913F853}"/>
              </a:ext>
            </a:extLst>
          </p:cNvPr>
          <p:cNvSpPr txBox="1"/>
          <p:nvPr/>
        </p:nvSpPr>
        <p:spPr>
          <a:xfrm>
            <a:off x="7596321" y="1459118"/>
            <a:ext cx="731289" cy="400110"/>
          </a:xfrm>
          <a:prstGeom prst="rect">
            <a:avLst/>
          </a:prstGeom>
          <a:noFill/>
          <a:ln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rgbClr val="00FF00"/>
                </a:solidFill>
              </a:rPr>
              <a:t>2.90</a:t>
            </a:r>
          </a:p>
        </p:txBody>
      </p:sp>
      <p:sp>
        <p:nvSpPr>
          <p:cNvPr id="80" name="TextBox 79">
            <a:extLst>
              <a:ext uri="{FF2B5EF4-FFF2-40B4-BE49-F238E27FC236}">
                <a16:creationId xmlns:a16="http://schemas.microsoft.com/office/drawing/2014/main" id="{2A3B9B8C-9A0B-4C36-9BAF-D0A90ECD03E4}"/>
              </a:ext>
            </a:extLst>
          </p:cNvPr>
          <p:cNvSpPr txBox="1"/>
          <p:nvPr/>
        </p:nvSpPr>
        <p:spPr>
          <a:xfrm>
            <a:off x="9525178" y="1459118"/>
            <a:ext cx="731289" cy="400110"/>
          </a:xfrm>
          <a:prstGeom prst="rect">
            <a:avLst/>
          </a:prstGeom>
          <a:noFill/>
          <a:ln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rgbClr val="008000"/>
                </a:solidFill>
              </a:rPr>
              <a:t>3.28</a:t>
            </a:r>
          </a:p>
        </p:txBody>
      </p:sp>
      <p:sp>
        <p:nvSpPr>
          <p:cNvPr id="81" name="TextBox 80">
            <a:extLst>
              <a:ext uri="{FF2B5EF4-FFF2-40B4-BE49-F238E27FC236}">
                <a16:creationId xmlns:a16="http://schemas.microsoft.com/office/drawing/2014/main" id="{8E16FE61-35BF-471C-9D45-D3024A1DA9C9}"/>
              </a:ext>
            </a:extLst>
          </p:cNvPr>
          <p:cNvSpPr txBox="1"/>
          <p:nvPr/>
        </p:nvSpPr>
        <p:spPr>
          <a:xfrm>
            <a:off x="5280552" y="3665325"/>
            <a:ext cx="731289" cy="400110"/>
          </a:xfrm>
          <a:prstGeom prst="rect">
            <a:avLst/>
          </a:prstGeom>
          <a:noFill/>
          <a:ln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rgbClr val="00FF00"/>
                </a:solidFill>
              </a:rPr>
              <a:t>2.50</a:t>
            </a:r>
          </a:p>
        </p:txBody>
      </p:sp>
      <p:sp>
        <p:nvSpPr>
          <p:cNvPr id="82" name="TextBox 81">
            <a:extLst>
              <a:ext uri="{FF2B5EF4-FFF2-40B4-BE49-F238E27FC236}">
                <a16:creationId xmlns:a16="http://schemas.microsoft.com/office/drawing/2014/main" id="{7217AC15-16F9-47CD-B1EA-6552B4EBD01F}"/>
              </a:ext>
            </a:extLst>
          </p:cNvPr>
          <p:cNvSpPr txBox="1"/>
          <p:nvPr/>
        </p:nvSpPr>
        <p:spPr>
          <a:xfrm>
            <a:off x="250065" y="640822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endParaRPr lang="en-US" b="0" dirty="0">
              <a:solidFill>
                <a:srgbClr val="D4D4D4"/>
              </a:solidFill>
              <a:effectLst/>
              <a:latin typeface="Consolas" panose="020B0609020204030204" pitchFamily="49" charset="0"/>
            </a:endParaRPr>
          </a:p>
        </p:txBody>
      </p:sp>
    </p:spTree>
    <p:extLst>
      <p:ext uri="{BB962C8B-B14F-4D97-AF65-F5344CB8AC3E}">
        <p14:creationId xmlns:p14="http://schemas.microsoft.com/office/powerpoint/2010/main" val="3993575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app1_sizing_pie_chart" descr="GRAPH;GENERIC_GRAPH;ROW1=TECHNOLOGIES,COL1=METRICS,TECHNOLOGIES=ALL,METRICS=10151">
            <a:extLst>
              <a:ext uri="{FF2B5EF4-FFF2-40B4-BE49-F238E27FC236}">
                <a16:creationId xmlns:a16="http://schemas.microsoft.com/office/drawing/2014/main" id="{D55BBF1E-FA20-46EB-BBE3-B34CE16E1125}"/>
              </a:ext>
            </a:extLst>
          </p:cNvPr>
          <p:cNvGraphicFramePr/>
          <p:nvPr>
            <p:extLst>
              <p:ext uri="{D42A27DB-BD31-4B8C-83A1-F6EECF244321}">
                <p14:modId xmlns:p14="http://schemas.microsoft.com/office/powerpoint/2010/main" val="3864591711"/>
              </p:ext>
            </p:extLst>
          </p:nvPr>
        </p:nvGraphicFramePr>
        <p:xfrm>
          <a:off x="1422309" y="757791"/>
          <a:ext cx="2507880" cy="2628646"/>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idx="4294967295"/>
          </p:nvPr>
        </p:nvSpPr>
        <p:spPr>
          <a:xfrm>
            <a:off x="190500" y="117835"/>
            <a:ext cx="11441113" cy="665162"/>
          </a:xfrm>
        </p:spPr>
        <p:txBody>
          <a:bodyPr/>
          <a:lstStyle/>
          <a:p>
            <a:r>
              <a:rPr lang="en-US" dirty="0">
                <a:solidFill>
                  <a:schemeClr val="accent3"/>
                </a:solidFill>
              </a:rPr>
              <a:t>Application details: Accela application technical overview and key takeaways</a:t>
            </a:r>
          </a:p>
        </p:txBody>
      </p:sp>
      <p:sp>
        <p:nvSpPr>
          <p:cNvPr id="7" name="TextBox 6">
            <a:extLst>
              <a:ext uri="{FF2B5EF4-FFF2-40B4-BE49-F238E27FC236}">
                <a16:creationId xmlns:a16="http://schemas.microsoft.com/office/drawing/2014/main" id="{B633BA49-44C2-41E0-8A5F-10881248D9C0}"/>
              </a:ext>
            </a:extLst>
          </p:cNvPr>
          <p:cNvSpPr txBox="1"/>
          <p:nvPr/>
        </p:nvSpPr>
        <p:spPr>
          <a:xfrm>
            <a:off x="5132538" y="3986820"/>
            <a:ext cx="6609860" cy="2185380"/>
          </a:xfrm>
          <a:prstGeom prst="rect">
            <a:avLst/>
          </a:prstGeom>
          <a:noFill/>
        </p:spPr>
        <p:txBody>
          <a:bodyPr wrap="square" lIns="0" tIns="0" rIns="0" bIns="0" rtlCol="0" anchor="t">
            <a:noAutofit/>
          </a:bodyPr>
          <a:lstStyle/>
          <a:p>
            <a:pPr marL="323850" lvl="1" indent="-215900">
              <a:lnSpc>
                <a:spcPct val="90000"/>
              </a:lnSpc>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a:rPr>
              <a:t>The overall application has medium risk, TQI 2.50 out of 4, with 328 critical violations. Security, Efficiency is high </a:t>
            </a:r>
            <a:r>
              <a:rPr lang="en-US" sz="1200">
                <a:solidFill>
                  <a:schemeClr val="tx1">
                    <a:lumMod val="100000"/>
                  </a:schemeClr>
                </a:solidFill>
                <a:latin typeface="Trebuchet MS"/>
              </a:rPr>
              <a:t>in risk. </a:t>
            </a:r>
            <a:r>
              <a:rPr lang="en-US" sz="1200" dirty="0">
                <a:solidFill>
                  <a:schemeClr val="tx1">
                    <a:lumMod val="100000"/>
                  </a:schemeClr>
                </a:solidFill>
                <a:latin typeface="Trebuchet MS"/>
              </a:rPr>
              <a:t>The remediation plan must be focused on violations targeting these areas of high risk. Also, critical violations for security should be addressed asap. Following in priority, remediating  robustness and security violations in the code should be part of the near-term remediation plan. </a:t>
            </a:r>
          </a:p>
          <a:p>
            <a:pPr marL="323850" lvl="1" indent="-215900">
              <a:lnSpc>
                <a:spcPct val="90000"/>
              </a:lnSpc>
              <a:buClr>
                <a:schemeClr val="tx2">
                  <a:lumMod val="100000"/>
                </a:schemeClr>
              </a:buClr>
              <a:buSzPct val="100000"/>
              <a:buFont typeface="Trebuchet MS" panose="020B0603020202020204" pitchFamily="34" charset="0"/>
              <a:buChar char="•"/>
            </a:pPr>
            <a:endParaRPr lang="en-US" sz="1200" dirty="0">
              <a:solidFill>
                <a:schemeClr val="tx1">
                  <a:lumMod val="100000"/>
                </a:schemeClr>
              </a:solidFill>
              <a:latin typeface="Trebuchet MS"/>
            </a:endParaRPr>
          </a:p>
          <a:p>
            <a:pPr marL="323850" lvl="1" indent="-215900">
              <a:lnSpc>
                <a:spcPct val="90000"/>
              </a:lnSpc>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a:rPr>
              <a:t>Looking at technology split, </a:t>
            </a:r>
            <a:r>
              <a:rPr lang="en-US" sz="1200" dirty="0">
                <a:solidFill>
                  <a:schemeClr val="tx1">
                    <a:lumMod val="100000"/>
                  </a:schemeClr>
                </a:solidFill>
                <a:highlight>
                  <a:srgbClr val="00FF00"/>
                </a:highlight>
                <a:latin typeface="Trebuchet MS"/>
              </a:rPr>
              <a:t>JEE</a:t>
            </a:r>
            <a:r>
              <a:rPr lang="en-US" sz="1200" dirty="0">
                <a:solidFill>
                  <a:schemeClr val="tx1">
                    <a:lumMod val="100000"/>
                  </a:schemeClr>
                </a:solidFill>
                <a:latin typeface="Trebuchet MS"/>
              </a:rPr>
              <a:t> shows lower efficiency grade hence start there first. </a:t>
            </a:r>
            <a:r>
              <a:rPr lang="en-US" sz="1200" dirty="0">
                <a:solidFill>
                  <a:schemeClr val="tx1">
                    <a:lumMod val="100000"/>
                  </a:schemeClr>
                </a:solidFill>
                <a:highlight>
                  <a:srgbClr val="00FF00"/>
                </a:highlight>
                <a:latin typeface="Trebuchet MS"/>
              </a:rPr>
              <a:t>The efficiency issues of HTML5/JavaScript module must also be fixed, as well as JEE security. </a:t>
            </a:r>
          </a:p>
          <a:p>
            <a:pPr marL="323850" lvl="1" indent="-215900">
              <a:lnSpc>
                <a:spcPct val="90000"/>
              </a:lnSpc>
              <a:buClr>
                <a:schemeClr val="tx2">
                  <a:lumMod val="100000"/>
                </a:schemeClr>
              </a:buClr>
              <a:buSzPct val="100000"/>
              <a:buFont typeface="Trebuchet MS" panose="020B0603020202020204" pitchFamily="34" charset="0"/>
              <a:buChar char="•"/>
            </a:pPr>
            <a:endParaRPr lang="en-US" sz="1200" dirty="0">
              <a:solidFill>
                <a:schemeClr val="tx1">
                  <a:lumMod val="100000"/>
                </a:schemeClr>
              </a:solidFill>
              <a:latin typeface="Trebuchet MS"/>
            </a:endParaRPr>
          </a:p>
          <a:p>
            <a:pPr marL="323850" lvl="1" indent="-215900">
              <a:lnSpc>
                <a:spcPct val="90000"/>
              </a:lnSpc>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a:rPr>
              <a:t>Most violations are in </a:t>
            </a:r>
            <a:r>
              <a:rPr lang="en-US" sz="1200" dirty="0">
                <a:solidFill>
                  <a:schemeClr val="tx1">
                    <a:lumMod val="100000"/>
                  </a:schemeClr>
                </a:solidFill>
                <a:highlight>
                  <a:srgbClr val="00FF00"/>
                </a:highlight>
                <a:latin typeface="Trebuchet MS"/>
              </a:rPr>
              <a:t>JEE too (&gt; 77%), </a:t>
            </a:r>
            <a:r>
              <a:rPr lang="en-US" sz="1200" dirty="0">
                <a:solidFill>
                  <a:schemeClr val="tx1">
                    <a:lumMod val="100000"/>
                  </a:schemeClr>
                </a:solidFill>
                <a:latin typeface="Trebuchet MS"/>
              </a:rPr>
              <a:t>hence can be addressed in near term for improving application health significantly.</a:t>
            </a:r>
          </a:p>
          <a:p>
            <a:pPr marL="323850" lvl="1" indent="-215900">
              <a:lnSpc>
                <a:spcPct val="90000"/>
              </a:lnSpc>
              <a:buClr>
                <a:schemeClr val="tx2">
                  <a:lumMod val="100000"/>
                </a:schemeClr>
              </a:buClr>
              <a:buSzPct val="100000"/>
              <a:buFont typeface="Trebuchet MS" panose="020B0603020202020204" pitchFamily="34" charset="0"/>
              <a:buChar char="•"/>
            </a:pPr>
            <a:endParaRPr lang="en-US" sz="1200" dirty="0">
              <a:solidFill>
                <a:schemeClr val="tx1">
                  <a:lumMod val="100000"/>
                </a:schemeClr>
              </a:solidFill>
              <a:highlight>
                <a:srgbClr val="FFFF00"/>
              </a:highlight>
              <a:latin typeface="Trebuchet MS"/>
            </a:endParaRPr>
          </a:p>
          <a:p>
            <a:pPr marL="107950" lvl="1">
              <a:lnSpc>
                <a:spcPct val="90000"/>
              </a:lnSpc>
              <a:buClr>
                <a:schemeClr val="tx2">
                  <a:lumMod val="100000"/>
                </a:schemeClr>
              </a:buClr>
              <a:buSzPct val="100000"/>
            </a:pPr>
            <a:endParaRPr lang="en-US" sz="1200" dirty="0">
              <a:solidFill>
                <a:schemeClr val="tx1">
                  <a:lumMod val="100000"/>
                </a:schemeClr>
              </a:solidFill>
              <a:highlight>
                <a:srgbClr val="FFFF00"/>
              </a:highlight>
              <a:latin typeface="Trebuchet MS" panose="020B0603020202020204" pitchFamily="34" charset="0"/>
            </a:endParaRPr>
          </a:p>
        </p:txBody>
      </p:sp>
      <p:sp>
        <p:nvSpPr>
          <p:cNvPr id="9" name="TextBox 8"/>
          <p:cNvSpPr txBox="1"/>
          <p:nvPr/>
        </p:nvSpPr>
        <p:spPr>
          <a:xfrm>
            <a:off x="621269" y="4552326"/>
            <a:ext cx="4483671"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a:solidFill>
                  <a:schemeClr val="accent3"/>
                </a:solidFill>
              </a:rPr>
              <a:t>Top critical rules violated (by number of violations)</a:t>
            </a:r>
          </a:p>
        </p:txBody>
      </p:sp>
      <p:sp>
        <p:nvSpPr>
          <p:cNvPr id="11" name="TextBox 10"/>
          <p:cNvSpPr txBox="1"/>
          <p:nvPr/>
        </p:nvSpPr>
        <p:spPr>
          <a:xfrm>
            <a:off x="1540358" y="3043692"/>
            <a:ext cx="1948822"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a:solidFill>
                  <a:schemeClr val="accent3"/>
                </a:solidFill>
              </a:rPr>
              <a:t>Lines of code by technology</a:t>
            </a:r>
          </a:p>
        </p:txBody>
      </p:sp>
      <p:cxnSp>
        <p:nvCxnSpPr>
          <p:cNvPr id="12" name="Straight Connector 11"/>
          <p:cNvCxnSpPr/>
          <p:nvPr/>
        </p:nvCxnSpPr>
        <p:spPr>
          <a:xfrm>
            <a:off x="590463" y="927548"/>
            <a:ext cx="4114801"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468752" y="831008"/>
            <a:ext cx="2414995" cy="166504"/>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dirty="0">
                <a:solidFill>
                  <a:srgbClr val="575757"/>
                </a:solidFill>
              </a:rPr>
              <a:t>Accela  Application</a:t>
            </a:r>
          </a:p>
        </p:txBody>
      </p:sp>
      <p:cxnSp>
        <p:nvCxnSpPr>
          <p:cNvPr id="14" name="Straight Connector 13"/>
          <p:cNvCxnSpPr/>
          <p:nvPr/>
        </p:nvCxnSpPr>
        <p:spPr>
          <a:xfrm>
            <a:off x="5230983" y="927548"/>
            <a:ext cx="6331017"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6367004" y="805887"/>
            <a:ext cx="4226447" cy="251655"/>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295E7E"/>
                </a:solidFill>
              </a:rPr>
              <a:t>Split by Business Module or Technology Group</a:t>
            </a:r>
            <a:endParaRPr lang="en-US" sz="1600">
              <a:solidFill>
                <a:srgbClr val="575757"/>
              </a:solidFill>
            </a:endParaRPr>
          </a:p>
        </p:txBody>
      </p:sp>
      <p:graphicFrame>
        <p:nvGraphicFramePr>
          <p:cNvPr id="23" name="app1_grade_by_tech_table"/>
          <p:cNvGraphicFramePr>
            <a:graphicFrameLocks noGrp="1"/>
          </p:cNvGraphicFramePr>
          <p:nvPr>
            <p:extLst>
              <p:ext uri="{D42A27DB-BD31-4B8C-83A1-F6EECF244321}">
                <p14:modId xmlns:p14="http://schemas.microsoft.com/office/powerpoint/2010/main" val="2118848999"/>
              </p:ext>
            </p:extLst>
          </p:nvPr>
        </p:nvGraphicFramePr>
        <p:xfrm>
          <a:off x="5132538" y="1117557"/>
          <a:ext cx="6645070" cy="2658923"/>
        </p:xfrm>
        <a:graphic>
          <a:graphicData uri="http://schemas.openxmlformats.org/drawingml/2006/table">
            <a:tbl>
              <a:tblPr/>
              <a:tblGrid>
                <a:gridCol w="867919">
                  <a:extLst>
                    <a:ext uri="{9D8B030D-6E8A-4147-A177-3AD203B41FA5}">
                      <a16:colId xmlns:a16="http://schemas.microsoft.com/office/drawing/2014/main" val="20000"/>
                    </a:ext>
                  </a:extLst>
                </a:gridCol>
                <a:gridCol w="681931">
                  <a:extLst>
                    <a:ext uri="{9D8B030D-6E8A-4147-A177-3AD203B41FA5}">
                      <a16:colId xmlns:a16="http://schemas.microsoft.com/office/drawing/2014/main" val="20001"/>
                    </a:ext>
                  </a:extLst>
                </a:gridCol>
                <a:gridCol w="445082">
                  <a:extLst>
                    <a:ext uri="{9D8B030D-6E8A-4147-A177-3AD203B41FA5}">
                      <a16:colId xmlns:a16="http://schemas.microsoft.com/office/drawing/2014/main" val="20002"/>
                    </a:ext>
                  </a:extLst>
                </a:gridCol>
                <a:gridCol w="749995">
                  <a:extLst>
                    <a:ext uri="{9D8B030D-6E8A-4147-A177-3AD203B41FA5}">
                      <a16:colId xmlns:a16="http://schemas.microsoft.com/office/drawing/2014/main" val="20003"/>
                    </a:ext>
                  </a:extLst>
                </a:gridCol>
                <a:gridCol w="659574">
                  <a:extLst>
                    <a:ext uri="{9D8B030D-6E8A-4147-A177-3AD203B41FA5}">
                      <a16:colId xmlns:a16="http://schemas.microsoft.com/office/drawing/2014/main" val="20004"/>
                    </a:ext>
                  </a:extLst>
                </a:gridCol>
                <a:gridCol w="640473">
                  <a:extLst>
                    <a:ext uri="{9D8B030D-6E8A-4147-A177-3AD203B41FA5}">
                      <a16:colId xmlns:a16="http://schemas.microsoft.com/office/drawing/2014/main" val="20005"/>
                    </a:ext>
                  </a:extLst>
                </a:gridCol>
                <a:gridCol w="650024">
                  <a:extLst>
                    <a:ext uri="{9D8B030D-6E8A-4147-A177-3AD203B41FA5}">
                      <a16:colId xmlns:a16="http://schemas.microsoft.com/office/drawing/2014/main" val="20006"/>
                    </a:ext>
                  </a:extLst>
                </a:gridCol>
                <a:gridCol w="650024">
                  <a:extLst>
                    <a:ext uri="{9D8B030D-6E8A-4147-A177-3AD203B41FA5}">
                      <a16:colId xmlns:a16="http://schemas.microsoft.com/office/drawing/2014/main" val="20007"/>
                    </a:ext>
                  </a:extLst>
                </a:gridCol>
                <a:gridCol w="650024">
                  <a:extLst>
                    <a:ext uri="{9D8B030D-6E8A-4147-A177-3AD203B41FA5}">
                      <a16:colId xmlns:a16="http://schemas.microsoft.com/office/drawing/2014/main" val="2402769151"/>
                    </a:ext>
                  </a:extLst>
                </a:gridCol>
                <a:gridCol w="650024">
                  <a:extLst>
                    <a:ext uri="{9D8B030D-6E8A-4147-A177-3AD203B41FA5}">
                      <a16:colId xmlns:a16="http://schemas.microsoft.com/office/drawing/2014/main" val="20008"/>
                    </a:ext>
                  </a:extLst>
                </a:gridCol>
              </a:tblGrid>
              <a:tr h="0">
                <a:tc>
                  <a:txBody>
                    <a:bodyPr/>
                    <a:lstStyle/>
                    <a:p>
                      <a:pPr marL="0" marR="0" lvl="0" indent="0" algn="ctr" rtl="0" eaLnBrk="1" fontAlgn="base" latinLnBrk="0" hangingPunct="1">
                        <a:lnSpc>
                          <a:spcPct val="115000"/>
                        </a:lnSpc>
                        <a:spcBef>
                          <a:spcPts val="0"/>
                        </a:spcBef>
                        <a:spcAft>
                          <a:spcPts val="0"/>
                        </a:spcAft>
                        <a:buClrTx/>
                        <a:buSzTx/>
                        <a:buFontTx/>
                        <a:buNone/>
                      </a:pPr>
                      <a:r>
                        <a:rPr lang="en-US" sz="1100" b="0" kern="1200" dirty="0">
                          <a:solidFill>
                            <a:srgbClr val="295E7E"/>
                          </a:solidFill>
                          <a:latin typeface="+mn-lt"/>
                          <a:ea typeface="+mn-ea"/>
                          <a:cs typeface="+mn-cs"/>
                        </a:rPr>
                        <a:t>Module Name</a:t>
                      </a:r>
                      <a:endParaRPr lang="en-US" sz="1100" b="0" kern="1200" dirty="0">
                        <a:solidFill>
                          <a:srgbClr val="295E7E"/>
                        </a:solidFill>
                        <a:latin typeface="+mn-lt"/>
                        <a:ea typeface="+mn-ea"/>
                        <a:cs typeface="+mn-cs"/>
                        <a:sym typeface="Trebuchet MS" panose="020B0603020202020204" pitchFamily="34" charset="0"/>
                      </a:endParaRP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100" b="0" kern="1200" dirty="0">
                          <a:solidFill>
                            <a:srgbClr val="295E7E"/>
                          </a:solidFill>
                          <a:latin typeface="+mn-lt"/>
                          <a:ea typeface="+mn-ea"/>
                          <a:cs typeface="+mn-cs"/>
                          <a:sym typeface="Trebuchet MS" panose="020B0603020202020204" pitchFamily="34" charset="0"/>
                        </a:rPr>
                        <a:t>LoC</a:t>
                      </a:r>
                    </a:p>
                  </a:txBody>
                  <a:tcPr marL="0" marR="0" marT="54000" marB="54000" anchor="ctr" horzOverflow="overflow">
                    <a:lnL>
                      <a:noFill/>
                    </a:lnL>
                    <a:lnR>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100" b="0" kern="1200" dirty="0">
                          <a:solidFill>
                            <a:srgbClr val="295E7E"/>
                          </a:solidFill>
                          <a:latin typeface="+mn-lt"/>
                          <a:ea typeface="+mn-ea"/>
                          <a:cs typeface="+mn-cs"/>
                          <a:sym typeface="Trebuchet MS" panose="020B0603020202020204" pitchFamily="34" charset="0"/>
                        </a:rPr>
                        <a:t>TQI</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100" b="0" kern="1200" dirty="0">
                          <a:solidFill>
                            <a:srgbClr val="295E7E"/>
                          </a:solidFill>
                          <a:latin typeface="+mn-lt"/>
                          <a:ea typeface="+mn-ea"/>
                          <a:cs typeface="+mn-cs"/>
                          <a:sym typeface="Trebuchet MS" panose="020B0603020202020204" pitchFamily="34" charset="0"/>
                        </a:rPr>
                        <a:t>Robustness</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100" b="0" kern="1200" dirty="0">
                          <a:solidFill>
                            <a:srgbClr val="295E7E"/>
                          </a:solidFill>
                          <a:latin typeface="+mn-lt"/>
                          <a:ea typeface="+mn-ea"/>
                          <a:cs typeface="+mn-cs"/>
                          <a:sym typeface="Trebuchet MS" panose="020B0603020202020204" pitchFamily="34" charset="0"/>
                        </a:rPr>
                        <a:t>Efficienc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100" b="0" kern="1200" dirty="0">
                          <a:solidFill>
                            <a:srgbClr val="295E7E"/>
                          </a:solidFill>
                          <a:latin typeface="+mn-lt"/>
                          <a:ea typeface="+mn-ea"/>
                          <a:cs typeface="+mn-cs"/>
                          <a:sym typeface="Trebuchet MS" panose="020B0603020202020204" pitchFamily="34" charset="0"/>
                        </a:rPr>
                        <a:t>Secur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defRPr/>
                      </a:pPr>
                      <a:r>
                        <a:rPr lang="en-US" sz="1100" b="0" kern="1200" dirty="0">
                          <a:solidFill>
                            <a:srgbClr val="295E7E"/>
                          </a:solidFill>
                          <a:latin typeface="+mn-lt"/>
                          <a:ea typeface="+mn-ea"/>
                          <a:cs typeface="+mn-cs"/>
                          <a:sym typeface="Trebuchet MS" panose="020B0603020202020204" pitchFamily="34" charset="0"/>
                        </a:rPr>
                        <a:t>Transfer-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100" b="0" kern="1200" dirty="0">
                          <a:solidFill>
                            <a:srgbClr val="295E7E"/>
                          </a:solidFill>
                          <a:latin typeface="+mn-lt"/>
                          <a:ea typeface="+mn-ea"/>
                          <a:cs typeface="+mn-cs"/>
                          <a:sym typeface="Trebuchet MS" panose="020B0603020202020204" pitchFamily="34" charset="0"/>
                        </a:rPr>
                        <a:t>Change- ability</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100" b="0" kern="1200" dirty="0">
                          <a:solidFill>
                            <a:srgbClr val="295E7E"/>
                          </a:solidFill>
                          <a:latin typeface="+mn-lt"/>
                          <a:ea typeface="+mn-ea"/>
                          <a:cs typeface="+mn-cs"/>
                          <a:sym typeface="Trebuchet MS" panose="020B0603020202020204" pitchFamily="34" charset="0"/>
                        </a:rPr>
                        <a:t>SEI</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100" b="0" kern="1200" dirty="0">
                          <a:solidFill>
                            <a:srgbClr val="295E7E"/>
                          </a:solidFill>
                          <a:latin typeface="+mn-lt"/>
                          <a:ea typeface="+mn-ea"/>
                          <a:cs typeface="+mn-cs"/>
                          <a:sym typeface="Trebuchet MS" panose="020B0603020202020204" pitchFamily="34" charset="0"/>
                        </a:rPr>
                        <a:t>Critical violations</a:t>
                      </a:r>
                    </a:p>
                  </a:txBody>
                  <a:tcPr marL="0" marR="0" marT="54000" marB="54000" anchor="ctr" horzOverflow="overflow">
                    <a:lnL>
                      <a:noFill/>
                    </a:lnL>
                    <a:lnR cap="flat">
                      <a:noFill/>
                    </a:lnR>
                    <a:lnT w="9525" cap="flat" cmpd="sng" algn="ctr">
                      <a:no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NET</a:t>
                      </a:r>
                      <a:endParaRPr kumimoji="0" lang="en-US" sz="11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dirty="0">
                          <a:ln>
                            <a:noFill/>
                          </a:ln>
                          <a:solidFill>
                            <a:schemeClr val="tx1"/>
                          </a:solidFill>
                          <a:effectLst/>
                          <a:latin typeface="+mn-lt"/>
                          <a:ea typeface="+mn-ea"/>
                          <a:cs typeface="Arial"/>
                        </a:rPr>
                        <a:t>5,162</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24</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31</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dirty="0">
                          <a:ln>
                            <a:noFill/>
                          </a:ln>
                          <a:solidFill>
                            <a:schemeClr val="tx1"/>
                          </a:solidFill>
                          <a:effectLst/>
                          <a:latin typeface="+mn-lt"/>
                          <a:ea typeface="+mn-ea"/>
                          <a:cs typeface="Arial"/>
                        </a:rPr>
                        <a:t>3.10</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2.94</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89</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12</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61</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a:ln>
                            <a:noFill/>
                          </a:ln>
                          <a:solidFill>
                            <a:schemeClr val="tx1"/>
                          </a:solidFill>
                          <a:effectLst/>
                          <a:latin typeface="+mn-lt"/>
                          <a:ea typeface="+mn-ea"/>
                          <a:cs typeface="Arial"/>
                          <a:sym typeface="Trebuchet MS" panose="020B0603020202020204" pitchFamily="34" charset="0"/>
                        </a:rPr>
                        <a:t>14</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HTML5</a:t>
                      </a:r>
                      <a:endParaRPr kumimoji="0" lang="en-US" sz="11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dirty="0">
                          <a:ln>
                            <a:noFill/>
                          </a:ln>
                          <a:solidFill>
                            <a:schemeClr val="tx1"/>
                          </a:solidFill>
                          <a:effectLst/>
                          <a:latin typeface="+mn-lt"/>
                          <a:ea typeface="+mn-ea"/>
                          <a:cs typeface="Arial"/>
                        </a:rPr>
                        <a:t>166,592</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15</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26</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dirty="0">
                          <a:ln>
                            <a:noFill/>
                          </a:ln>
                          <a:solidFill>
                            <a:schemeClr val="tx1"/>
                          </a:solidFill>
                          <a:effectLst/>
                          <a:latin typeface="+mn-lt"/>
                          <a:ea typeface="+mn-ea"/>
                          <a:cs typeface="Arial"/>
                        </a:rPr>
                        <a:t>2.61</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2.64</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40</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59</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25</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a:ln>
                            <a:noFill/>
                          </a:ln>
                          <a:solidFill>
                            <a:schemeClr val="tx1"/>
                          </a:solidFill>
                          <a:effectLst/>
                          <a:latin typeface="+mn-lt"/>
                          <a:ea typeface="+mn-ea"/>
                          <a:cs typeface="Arial"/>
                          <a:sym typeface="Trebuchet MS" panose="020B0603020202020204" pitchFamily="34" charset="0"/>
                        </a:rPr>
                        <a:t>72</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86029345"/>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JEE</a:t>
                      </a:r>
                      <a:endParaRPr kumimoji="0" lang="en-US" sz="11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dirty="0">
                          <a:ln>
                            <a:noFill/>
                          </a:ln>
                          <a:solidFill>
                            <a:schemeClr val="tx1"/>
                          </a:solidFill>
                          <a:effectLst/>
                          <a:latin typeface="+mn-lt"/>
                          <a:ea typeface="+mn-ea"/>
                          <a:cs typeface="Arial"/>
                        </a:rPr>
                        <a:t>29,729</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2.66</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2.54</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dirty="0">
                          <a:ln>
                            <a:noFill/>
                          </a:ln>
                          <a:solidFill>
                            <a:schemeClr val="tx1"/>
                          </a:solidFill>
                          <a:effectLst/>
                          <a:latin typeface="+mn-lt"/>
                          <a:ea typeface="+mn-ea"/>
                          <a:cs typeface="Arial"/>
                        </a:rPr>
                        <a:t>2.30</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2.58</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01</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2.61</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62</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a:ln>
                            <a:noFill/>
                          </a:ln>
                          <a:solidFill>
                            <a:schemeClr val="tx1"/>
                          </a:solidFill>
                          <a:effectLst/>
                          <a:latin typeface="+mn-lt"/>
                          <a:ea typeface="+mn-ea"/>
                          <a:cs typeface="Arial"/>
                          <a:sym typeface="Trebuchet MS" panose="020B0603020202020204" pitchFamily="34" charset="0"/>
                        </a:rPr>
                        <a:t>205</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60323358"/>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Objective-C</a:t>
                      </a:r>
                      <a:endParaRPr kumimoji="0" lang="en-US" sz="11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dirty="0">
                          <a:ln>
                            <a:noFill/>
                          </a:ln>
                          <a:solidFill>
                            <a:schemeClr val="tx1"/>
                          </a:solidFill>
                          <a:effectLst/>
                          <a:latin typeface="+mn-lt"/>
                          <a:ea typeface="+mn-ea"/>
                          <a:cs typeface="Arial"/>
                        </a:rPr>
                        <a:t>5,822</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83</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54</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dirty="0">
                          <a:ln>
                            <a:noFill/>
                          </a:ln>
                          <a:solidFill>
                            <a:schemeClr val="tx1"/>
                          </a:solidFill>
                          <a:effectLst/>
                          <a:latin typeface="+mn-lt"/>
                          <a:ea typeface="+mn-ea"/>
                          <a:cs typeface="Arial"/>
                        </a:rPr>
                        <a:t>4.00</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4.00</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88</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54</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51</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a:ln>
                            <a:noFill/>
                          </a:ln>
                          <a:solidFill>
                            <a:schemeClr val="tx1"/>
                          </a:solidFill>
                          <a:effectLst/>
                          <a:latin typeface="+mn-lt"/>
                          <a:ea typeface="+mn-ea"/>
                          <a:cs typeface="Arial"/>
                          <a:sym typeface="Trebuchet MS" panose="020B0603020202020204" pitchFamily="34" charset="0"/>
                        </a:rPr>
                        <a:t>21</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03935594"/>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PHP</a:t>
                      </a:r>
                      <a:endParaRPr kumimoji="0" lang="en-US" sz="11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dirty="0">
                          <a:ln>
                            <a:noFill/>
                          </a:ln>
                          <a:solidFill>
                            <a:schemeClr val="tx1"/>
                          </a:solidFill>
                          <a:effectLst/>
                          <a:latin typeface="+mn-lt"/>
                          <a:ea typeface="+mn-ea"/>
                          <a:cs typeface="Arial"/>
                        </a:rPr>
                        <a:t>2,251</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73</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79</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dirty="0">
                          <a:ln>
                            <a:noFill/>
                          </a:ln>
                          <a:solidFill>
                            <a:schemeClr val="tx1"/>
                          </a:solidFill>
                          <a:effectLst/>
                          <a:latin typeface="+mn-lt"/>
                          <a:ea typeface="+mn-ea"/>
                          <a:cs typeface="Arial"/>
                        </a:rPr>
                        <a:t>4.00</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4.00</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38</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65</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47</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a:ln>
                            <a:noFill/>
                          </a:ln>
                          <a:solidFill>
                            <a:schemeClr val="tx1"/>
                          </a:solidFill>
                          <a:effectLst/>
                          <a:latin typeface="+mn-lt"/>
                          <a:ea typeface="+mn-ea"/>
                          <a:cs typeface="Arial"/>
                          <a:sym typeface="Trebuchet MS" panose="020B0603020202020204" pitchFamily="34" charset="0"/>
                        </a:rPr>
                        <a:t>0</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80723183"/>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Python</a:t>
                      </a:r>
                      <a:endParaRPr kumimoji="0" lang="en-US" sz="11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dirty="0">
                          <a:ln>
                            <a:noFill/>
                          </a:ln>
                          <a:solidFill>
                            <a:schemeClr val="tx1"/>
                          </a:solidFill>
                          <a:effectLst/>
                          <a:latin typeface="+mn-lt"/>
                          <a:ea typeface="+mn-ea"/>
                          <a:cs typeface="Arial"/>
                        </a:rPr>
                        <a:t>3,935</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53</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47</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dirty="0">
                          <a:ln>
                            <a:noFill/>
                          </a:ln>
                          <a:solidFill>
                            <a:schemeClr val="tx1"/>
                          </a:solidFill>
                          <a:effectLst/>
                          <a:latin typeface="+mn-lt"/>
                          <a:ea typeface="+mn-ea"/>
                          <a:cs typeface="Arial"/>
                        </a:rPr>
                        <a:t>2.86</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96</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43</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29</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48</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a:ln>
                            <a:noFill/>
                          </a:ln>
                          <a:solidFill>
                            <a:schemeClr val="tx1"/>
                          </a:solidFill>
                          <a:effectLst/>
                          <a:latin typeface="+mn-lt"/>
                          <a:ea typeface="+mn-ea"/>
                          <a:cs typeface="Arial"/>
                          <a:sym typeface="Trebuchet MS" panose="020B0603020202020204" pitchFamily="34" charset="0"/>
                        </a:rPr>
                        <a:t>5</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638536742"/>
                  </a:ext>
                </a:extLst>
              </a:tr>
              <a:tr h="27432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SQL</a:t>
                      </a:r>
                      <a:endParaRPr kumimoji="0" lang="en-US" sz="11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fr-FR" sz="1100" b="0" i="0" u="none" strike="noStrike" kern="1200" cap="none" normalizeH="0" baseline="0" dirty="0">
                          <a:ln>
                            <a:noFill/>
                          </a:ln>
                          <a:solidFill>
                            <a:schemeClr val="tx1"/>
                          </a:solidFill>
                          <a:effectLst/>
                          <a:latin typeface="+mn-lt"/>
                          <a:ea typeface="+mn-ea"/>
                          <a:cs typeface="Arial"/>
                        </a:rPr>
                        <a:t>3,121</a:t>
                      </a:r>
                    </a:p>
                  </a:txBody>
                  <a:tcPr marL="54000" marR="54000" marT="72000" marB="72000" anchor="ctr"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algn="ctr">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42</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62</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kumimoji="0" lang="fr-FR" sz="1100" b="0" i="0" u="none" strike="noStrike" kern="1200" cap="none" normalizeH="0" baseline="0" dirty="0">
                          <a:ln>
                            <a:noFill/>
                          </a:ln>
                          <a:solidFill>
                            <a:schemeClr val="tx1"/>
                          </a:solidFill>
                          <a:effectLst/>
                          <a:latin typeface="+mn-lt"/>
                          <a:ea typeface="+mn-ea"/>
                          <a:cs typeface="Arial"/>
                        </a:rPr>
                        <a:t>2.88</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4.00</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18</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28</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latinLnBrk="0" hangingPunct="1">
                        <a:lnSpc>
                          <a:spcPct val="115000"/>
                        </a:lnSpc>
                        <a:spcAft>
                          <a:spcPts val="0"/>
                        </a:spcAft>
                      </a:pPr>
                      <a:r>
                        <a:rPr kumimoji="0" lang="fr-FR" sz="1100" b="0" i="0" u="none" strike="noStrike" kern="1200" cap="none" normalizeH="0" baseline="0" dirty="0">
                          <a:ln>
                            <a:noFill/>
                          </a:ln>
                          <a:solidFill>
                            <a:schemeClr val="tx1"/>
                          </a:solidFill>
                          <a:effectLst/>
                          <a:latin typeface="+mn-lt"/>
                          <a:ea typeface="+mn-ea"/>
                          <a:cs typeface="Arial"/>
                        </a:rPr>
                        <a:t>3.60</a:t>
                      </a:r>
                    </a:p>
                  </a:txBody>
                  <a:tcPr marL="68580" marR="6858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100" b="0" i="0" u="none" strike="noStrike" kern="1200" cap="none" normalizeH="0" baseline="0" dirty="0">
                          <a:ln>
                            <a:noFill/>
                          </a:ln>
                          <a:solidFill>
                            <a:schemeClr val="tx1"/>
                          </a:solidFill>
                          <a:effectLst/>
                          <a:latin typeface="+mn-lt"/>
                          <a:ea typeface="+mn-ea"/>
                          <a:cs typeface="Arial"/>
                          <a:sym typeface="Trebuchet MS" panose="020B0603020202020204" pitchFamily="34" charset="0"/>
                        </a:rPr>
                        <a:t>11</a:t>
                      </a:r>
                    </a:p>
                  </a:txBody>
                  <a:tcPr marL="54000" marR="54000" marT="72000" marB="72000" anchor="ctr"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91500168"/>
                  </a:ext>
                </a:extLst>
              </a:tr>
            </a:tbl>
          </a:graphicData>
        </a:graphic>
      </p:graphicFrame>
      <p:sp>
        <p:nvSpPr>
          <p:cNvPr id="24" name="TextBox 23"/>
          <p:cNvSpPr txBox="1"/>
          <p:nvPr/>
        </p:nvSpPr>
        <p:spPr>
          <a:xfrm>
            <a:off x="598413" y="3236484"/>
            <a:ext cx="1609725"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dirty="0">
                <a:solidFill>
                  <a:schemeClr val="accent3"/>
                </a:solidFill>
              </a:rPr>
              <a:t>Technical size</a:t>
            </a:r>
          </a:p>
        </p:txBody>
      </p:sp>
      <p:sp>
        <p:nvSpPr>
          <p:cNvPr id="25" name="TextBox 24"/>
          <p:cNvSpPr txBox="1"/>
          <p:nvPr/>
        </p:nvSpPr>
        <p:spPr>
          <a:xfrm>
            <a:off x="2993968" y="3213613"/>
            <a:ext cx="1852560" cy="2699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a:solidFill>
                  <a:schemeClr val="accent3"/>
                </a:solidFill>
              </a:rPr>
              <a:t>Violations of Critical Rules</a:t>
            </a:r>
          </a:p>
        </p:txBody>
      </p:sp>
      <p:graphicFrame>
        <p:nvGraphicFramePr>
          <p:cNvPr id="20" name="app1_tech_sizing">
            <a:extLst>
              <a:ext uri="{FF2B5EF4-FFF2-40B4-BE49-F238E27FC236}">
                <a16:creationId xmlns:a16="http://schemas.microsoft.com/office/drawing/2014/main" id="{C706CF1C-16BE-40AB-AD10-3D3B1B2FD25F}"/>
              </a:ext>
            </a:extLst>
          </p:cNvPr>
          <p:cNvGraphicFramePr>
            <a:graphicFrameLocks noGrp="1"/>
          </p:cNvGraphicFramePr>
          <p:nvPr>
            <p:extLst>
              <p:ext uri="{D42A27DB-BD31-4B8C-83A1-F6EECF244321}">
                <p14:modId xmlns:p14="http://schemas.microsoft.com/office/powerpoint/2010/main" val="2465441338"/>
              </p:ext>
            </p:extLst>
          </p:nvPr>
        </p:nvGraphicFramePr>
        <p:xfrm>
          <a:off x="621269" y="3490711"/>
          <a:ext cx="1838178" cy="1080000"/>
        </p:xfrm>
        <a:graphic>
          <a:graphicData uri="http://schemas.openxmlformats.org/drawingml/2006/table">
            <a:tbl>
              <a:tblPr firstRow="1" bandRow="1">
                <a:tableStyleId>{2D5ABB26-0587-4C30-8999-92F81FD0307C}</a:tableStyleId>
              </a:tblPr>
              <a:tblGrid>
                <a:gridCol w="1025770">
                  <a:extLst>
                    <a:ext uri="{9D8B030D-6E8A-4147-A177-3AD203B41FA5}">
                      <a16:colId xmlns:a16="http://schemas.microsoft.com/office/drawing/2014/main" val="20000"/>
                    </a:ext>
                  </a:extLst>
                </a:gridCol>
                <a:gridCol w="812408">
                  <a:extLst>
                    <a:ext uri="{9D8B030D-6E8A-4147-A177-3AD203B41FA5}">
                      <a16:colId xmlns:a16="http://schemas.microsoft.com/office/drawing/2014/main" val="20001"/>
                    </a:ext>
                  </a:extLst>
                </a:gridCol>
              </a:tblGrid>
              <a:tr h="180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lnSpc>
                          <a:spcPct val="115000"/>
                        </a:lnSpc>
                        <a:spcAft>
                          <a:spcPts val="0"/>
                        </a:spcAft>
                      </a:pPr>
                      <a:r>
                        <a:rPr lang="en-GB" sz="1000" i="0" u="none" kern="1200" spc="0" dirty="0">
                          <a:solidFill>
                            <a:schemeClr val="tx1">
                              <a:lumMod val="100000"/>
                            </a:schemeClr>
                          </a:solidFill>
                          <a:latin typeface="+mn-lt"/>
                          <a:ea typeface="+mn-ea"/>
                          <a:cs typeface="+mn-cs"/>
                        </a:rPr>
                        <a:t>Name</a:t>
                      </a:r>
                      <a:endParaRPr lang="fr-FR" sz="1000" i="0" u="none" kern="1200" spc="0" dirty="0">
                        <a:solidFill>
                          <a:schemeClr val="tx1">
                            <a:lumMod val="100000"/>
                          </a:schemeClr>
                        </a:solidFill>
                        <a:latin typeface="+mn-lt"/>
                        <a:ea typeface="+mn-ea"/>
                        <a:cs typeface="+mn-cs"/>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i="0" u="none" kern="1200" spc="0">
                          <a:solidFill>
                            <a:schemeClr val="tx1">
                              <a:lumMod val="100000"/>
                            </a:schemeClr>
                          </a:solidFill>
                          <a:latin typeface="+mn-lt"/>
                          <a:ea typeface="+mn-ea"/>
                          <a:cs typeface="+mn-cs"/>
                        </a:rPr>
                        <a:t>Value</a:t>
                      </a:r>
                      <a:endParaRPr lang="fr-FR" sz="1000" i="0" u="none" kern="1200" spc="0">
                        <a:solidFill>
                          <a:schemeClr val="tx1">
                            <a:lumMod val="100000"/>
                          </a:schemeClr>
                        </a:solidFill>
                        <a:latin typeface="+mn-lt"/>
                        <a:ea typeface="+mn-ea"/>
                        <a:cs typeface="+mn-cs"/>
                      </a:endParaRPr>
                    </a:p>
                  </a:txBody>
                  <a:tcPr marL="0" marR="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en-GB" sz="1000" i="0" u="none" kern="1200" spc="0" dirty="0">
                          <a:solidFill>
                            <a:schemeClr val="tx1">
                              <a:lumMod val="100000"/>
                            </a:schemeClr>
                          </a:solidFill>
                          <a:latin typeface="+mn-lt"/>
                        </a:rPr>
                        <a:t>LoC</a:t>
                      </a:r>
                      <a:endParaRPr lang="fr-FR" sz="1000" i="0" u="none" kern="1200" spc="0" dirty="0">
                        <a:solidFill>
                          <a:schemeClr val="tx1">
                            <a:lumMod val="100000"/>
                          </a:schemeClr>
                        </a:solidFill>
                        <a:latin typeface="+mn-lt"/>
                        <a:ea typeface="Calibri"/>
                        <a:cs typeface="Times New Roman"/>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marL="0" marR="0" algn="r">
                        <a:lnSpc>
                          <a:spcPct val="115000"/>
                        </a:lnSpc>
                        <a:spcBef>
                          <a:spcPts val="0"/>
                        </a:spcBef>
                        <a:spcAft>
                          <a:spcPts val="0"/>
                        </a:spcAft>
                      </a:pPr>
                      <a:r>
                        <a:rPr lang="en-GB" sz="1000" i="0" u="none" kern="1200" spc="0" dirty="0">
                          <a:solidFill>
                            <a:schemeClr val="tx1">
                              <a:lumMod val="100000"/>
                            </a:schemeClr>
                          </a:solidFill>
                          <a:latin typeface="+mn-lt"/>
                          <a:ea typeface="+mn-ea"/>
                          <a:cs typeface="+mn-cs"/>
                        </a:rPr>
                        <a:t>217 K</a:t>
                      </a:r>
                      <a:endParaRPr lang="en-US" sz="1000" i="0" u="none" kern="1200" spc="0" dirty="0">
                        <a:solidFill>
                          <a:schemeClr val="tx1">
                            <a:lumMod val="100000"/>
                          </a:schemeClr>
                        </a:solidFill>
                        <a:latin typeface="+mn-lt"/>
                        <a:ea typeface="+mn-ea"/>
                        <a:cs typeface="+mn-cs"/>
                      </a:endParaRPr>
                    </a:p>
                  </a:txBody>
                  <a:tcPr marL="68580" marR="68580"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en-GB" sz="1000" i="0" u="none" kern="1200" spc="0">
                          <a:solidFill>
                            <a:schemeClr val="tx1">
                              <a:lumMod val="100000"/>
                            </a:schemeClr>
                          </a:solidFill>
                          <a:latin typeface="+mn-lt"/>
                          <a:ea typeface="+mn-ea"/>
                          <a:cs typeface="+mn-cs"/>
                        </a:rPr>
                        <a:t>Files</a:t>
                      </a:r>
                      <a:endParaRPr lang="fr-FR" sz="1000" i="0" u="none" kern="1200" spc="0">
                        <a:solidFill>
                          <a:schemeClr val="tx1">
                            <a:lumMod val="100000"/>
                          </a:schemeClr>
                        </a:solidFill>
                        <a:latin typeface="+mn-lt"/>
                        <a:ea typeface="+mn-ea"/>
                        <a:cs typeface="+mn-cs"/>
                      </a:endParaRPr>
                    </a:p>
                  </a:txBody>
                  <a:tcPr marL="0" marR="0" marT="0" marB="0">
                    <a:lnT>
                      <a:noFill/>
                    </a:lnT>
                    <a:lnB>
                      <a:noFill/>
                    </a:lnB>
                  </a:tcPr>
                </a:tc>
                <a:tc>
                  <a:txBody>
                    <a:bodyPr/>
                    <a:lstStyle/>
                    <a:p>
                      <a:pPr marL="0" marR="0" algn="r">
                        <a:lnSpc>
                          <a:spcPct val="115000"/>
                        </a:lnSpc>
                        <a:spcBef>
                          <a:spcPts val="0"/>
                        </a:spcBef>
                        <a:spcAft>
                          <a:spcPts val="0"/>
                        </a:spcAft>
                      </a:pPr>
                      <a:r>
                        <a:rPr lang="en-GB" sz="1000" i="0" u="none" kern="1200" spc="0" dirty="0">
                          <a:solidFill>
                            <a:schemeClr val="tx1">
                              <a:lumMod val="100000"/>
                            </a:schemeClr>
                          </a:solidFill>
                          <a:latin typeface="+mn-lt"/>
                          <a:ea typeface="+mn-ea"/>
                          <a:cs typeface="+mn-cs"/>
                        </a:rPr>
                        <a:t>3552</a:t>
                      </a:r>
                      <a:endParaRPr lang="en-US" sz="1000" i="0" u="none" kern="1200" spc="0" dirty="0">
                        <a:solidFill>
                          <a:schemeClr val="tx1">
                            <a:lumMod val="100000"/>
                          </a:schemeClr>
                        </a:solidFill>
                        <a:latin typeface="+mn-lt"/>
                        <a:ea typeface="+mn-ea"/>
                        <a:cs typeface="+mn-cs"/>
                      </a:endParaRPr>
                    </a:p>
                  </a:txBody>
                  <a:tcPr marL="68580" marR="68580"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en-GB" sz="1000" i="0" u="none" kern="1200" spc="0">
                          <a:solidFill>
                            <a:schemeClr val="tx1">
                              <a:lumMod val="100000"/>
                            </a:schemeClr>
                          </a:solidFill>
                          <a:latin typeface="+mn-lt"/>
                          <a:ea typeface="+mn-ea"/>
                          <a:cs typeface="+mn-cs"/>
                        </a:rPr>
                        <a:t>Classes</a:t>
                      </a:r>
                      <a:endParaRPr lang="fr-FR" sz="1000" i="0" u="none" kern="1200" spc="0">
                        <a:solidFill>
                          <a:schemeClr val="tx1">
                            <a:lumMod val="100000"/>
                          </a:schemeClr>
                        </a:solidFill>
                        <a:latin typeface="+mn-lt"/>
                        <a:ea typeface="+mn-ea"/>
                        <a:cs typeface="+mn-cs"/>
                      </a:endParaRPr>
                    </a:p>
                  </a:txBody>
                  <a:tcPr marL="0" marR="0" marT="0" marB="0">
                    <a:lnT>
                      <a:noFill/>
                    </a:lnT>
                    <a:lnB>
                      <a:noFill/>
                    </a:lnB>
                  </a:tcPr>
                </a:tc>
                <a:tc>
                  <a:txBody>
                    <a:bodyPr/>
                    <a:lstStyle/>
                    <a:p>
                      <a:pPr marL="0" marR="0" algn="r">
                        <a:lnSpc>
                          <a:spcPct val="115000"/>
                        </a:lnSpc>
                        <a:spcBef>
                          <a:spcPts val="0"/>
                        </a:spcBef>
                        <a:spcAft>
                          <a:spcPts val="0"/>
                        </a:spcAft>
                      </a:pPr>
                      <a:r>
                        <a:rPr lang="en-GB" sz="1000" i="0" u="none" kern="1200" spc="0" dirty="0">
                          <a:solidFill>
                            <a:schemeClr val="tx1">
                              <a:lumMod val="100000"/>
                            </a:schemeClr>
                          </a:solidFill>
                          <a:latin typeface="+mn-lt"/>
                          <a:ea typeface="+mn-ea"/>
                          <a:cs typeface="+mn-cs"/>
                        </a:rPr>
                        <a:t>763</a:t>
                      </a:r>
                      <a:endParaRPr lang="en-US" sz="1000" i="0" u="none" kern="1200" spc="0" dirty="0">
                        <a:solidFill>
                          <a:schemeClr val="tx1">
                            <a:lumMod val="100000"/>
                          </a:schemeClr>
                        </a:solidFill>
                        <a:latin typeface="+mn-lt"/>
                        <a:ea typeface="+mn-ea"/>
                        <a:cs typeface="+mn-cs"/>
                      </a:endParaRPr>
                    </a:p>
                  </a:txBody>
                  <a:tcPr marL="68580" marR="68580"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fr-FR" sz="1000" i="0" u="none" kern="1200" spc="0">
                          <a:solidFill>
                            <a:schemeClr val="tx1">
                              <a:lumMod val="100000"/>
                            </a:schemeClr>
                          </a:solidFill>
                          <a:latin typeface="+mn-lt"/>
                          <a:ea typeface="Calibri"/>
                          <a:cs typeface="Times New Roman"/>
                        </a:rPr>
                        <a:t>SQL Artifacts</a:t>
                      </a:r>
                    </a:p>
                  </a:txBody>
                  <a:tcPr marL="0" marR="0" marT="0" marB="0">
                    <a:lnT>
                      <a:noFill/>
                    </a:lnT>
                    <a:lnB>
                      <a:noFill/>
                    </a:lnB>
                  </a:tcPr>
                </a:tc>
                <a:tc>
                  <a:txBody>
                    <a:bodyPr/>
                    <a:lstStyle/>
                    <a:p>
                      <a:pPr marL="0" marR="0" algn="r">
                        <a:lnSpc>
                          <a:spcPct val="115000"/>
                        </a:lnSpc>
                        <a:spcBef>
                          <a:spcPts val="0"/>
                        </a:spcBef>
                        <a:spcAft>
                          <a:spcPts val="0"/>
                        </a:spcAft>
                      </a:pPr>
                      <a:r>
                        <a:rPr lang="en-GB" sz="1000" i="0" u="none" kern="1200" spc="0" dirty="0">
                          <a:solidFill>
                            <a:schemeClr val="tx1">
                              <a:lumMod val="100000"/>
                            </a:schemeClr>
                          </a:solidFill>
                          <a:latin typeface="+mn-lt"/>
                          <a:ea typeface="+mn-ea"/>
                          <a:cs typeface="+mn-cs"/>
                        </a:rPr>
                        <a:t>47</a:t>
                      </a:r>
                      <a:endParaRPr lang="en-US" sz="1000" i="0" u="none" kern="1200" spc="0" dirty="0">
                        <a:solidFill>
                          <a:schemeClr val="tx1">
                            <a:lumMod val="100000"/>
                          </a:schemeClr>
                        </a:solidFill>
                        <a:latin typeface="+mn-lt"/>
                        <a:ea typeface="+mn-ea"/>
                        <a:cs typeface="+mn-cs"/>
                      </a:endParaRPr>
                    </a:p>
                  </a:txBody>
                  <a:tcPr marL="68580" marR="68580"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fr-FR" sz="1000" i="0" u="none" kern="1200" spc="0" dirty="0">
                          <a:solidFill>
                            <a:schemeClr val="tx1">
                              <a:lumMod val="100000"/>
                            </a:schemeClr>
                          </a:solidFill>
                          <a:latin typeface="+mn-lt"/>
                          <a:ea typeface="+mn-ea"/>
                          <a:cs typeface="+mn-cs"/>
                        </a:rPr>
                        <a:t>Tables</a:t>
                      </a:r>
                    </a:p>
                  </a:txBody>
                  <a:tcPr marL="0" marR="0" marT="0" marB="0">
                    <a:lnT>
                      <a:noFill/>
                    </a:lnT>
                  </a:tcPr>
                </a:tc>
                <a:tc>
                  <a:txBody>
                    <a:bodyPr/>
                    <a:lstStyle/>
                    <a:p>
                      <a:pPr marL="0" marR="0" algn="r">
                        <a:lnSpc>
                          <a:spcPct val="115000"/>
                        </a:lnSpc>
                        <a:spcBef>
                          <a:spcPts val="0"/>
                        </a:spcBef>
                        <a:spcAft>
                          <a:spcPts val="0"/>
                        </a:spcAft>
                      </a:pPr>
                      <a:r>
                        <a:rPr lang="en-GB" sz="1000" i="0" u="none" kern="1200" spc="0" dirty="0">
                          <a:solidFill>
                            <a:schemeClr val="tx1">
                              <a:lumMod val="100000"/>
                            </a:schemeClr>
                          </a:solidFill>
                          <a:latin typeface="+mn-lt"/>
                          <a:ea typeface="+mn-ea"/>
                          <a:cs typeface="+mn-cs"/>
                        </a:rPr>
                        <a:t>116</a:t>
                      </a:r>
                      <a:endParaRPr lang="en-US" sz="1000" i="0" u="none" kern="1200" spc="0" dirty="0">
                        <a:solidFill>
                          <a:schemeClr val="tx1">
                            <a:lumMod val="100000"/>
                          </a:schemeClr>
                        </a:solidFill>
                        <a:latin typeface="+mn-lt"/>
                        <a:ea typeface="+mn-ea"/>
                        <a:cs typeface="+mn-cs"/>
                      </a:endParaRPr>
                    </a:p>
                  </a:txBody>
                  <a:tcPr marL="68580" marR="68580" marT="0" marB="0">
                    <a:lnT>
                      <a:noFill/>
                    </a:lnT>
                  </a:tcPr>
                </a:tc>
                <a:extLst>
                  <a:ext uri="{0D108BD9-81ED-4DB2-BD59-A6C34878D82A}">
                    <a16:rowId xmlns:a16="http://schemas.microsoft.com/office/drawing/2014/main" val="10005"/>
                  </a:ext>
                </a:extLst>
              </a:tr>
            </a:tbl>
          </a:graphicData>
        </a:graphic>
      </p:graphicFrame>
      <p:graphicFrame>
        <p:nvGraphicFramePr>
          <p:cNvPr id="22" name="app1_violation_sizing">
            <a:extLst>
              <a:ext uri="{FF2B5EF4-FFF2-40B4-BE49-F238E27FC236}">
                <a16:creationId xmlns:a16="http://schemas.microsoft.com/office/drawing/2014/main" id="{25ADC611-E4BA-4F2F-9BF9-A6228171DDE2}"/>
              </a:ext>
            </a:extLst>
          </p:cNvPr>
          <p:cNvGraphicFramePr>
            <a:graphicFrameLocks noGrp="1"/>
          </p:cNvGraphicFramePr>
          <p:nvPr>
            <p:extLst>
              <p:ext uri="{D42A27DB-BD31-4B8C-83A1-F6EECF244321}">
                <p14:modId xmlns:p14="http://schemas.microsoft.com/office/powerpoint/2010/main" val="3975227942"/>
              </p:ext>
            </p:extLst>
          </p:nvPr>
        </p:nvGraphicFramePr>
        <p:xfrm>
          <a:off x="3011100" y="3407932"/>
          <a:ext cx="1838178" cy="1157777"/>
        </p:xfrm>
        <a:graphic>
          <a:graphicData uri="http://schemas.openxmlformats.org/drawingml/2006/table">
            <a:tbl>
              <a:tblPr firstRow="1" bandRow="1">
                <a:tableStyleId>{2D5ABB26-0587-4C30-8999-92F81FD0307C}</a:tableStyleId>
              </a:tblPr>
              <a:tblGrid>
                <a:gridCol w="1311743">
                  <a:extLst>
                    <a:ext uri="{9D8B030D-6E8A-4147-A177-3AD203B41FA5}">
                      <a16:colId xmlns:a16="http://schemas.microsoft.com/office/drawing/2014/main" val="20000"/>
                    </a:ext>
                  </a:extLst>
                </a:gridCol>
                <a:gridCol w="526435">
                  <a:extLst>
                    <a:ext uri="{9D8B030D-6E8A-4147-A177-3AD203B41FA5}">
                      <a16:colId xmlns:a16="http://schemas.microsoft.com/office/drawing/2014/main" val="20001"/>
                    </a:ext>
                  </a:extLst>
                </a:gridCol>
              </a:tblGrid>
              <a:tr h="25777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nSpc>
                          <a:spcPct val="115000"/>
                        </a:lnSpc>
                        <a:spcAft>
                          <a:spcPts val="0"/>
                        </a:spcAft>
                      </a:pPr>
                      <a:r>
                        <a:rPr lang="en-GB" sz="1000" kern="1200">
                          <a:solidFill>
                            <a:schemeClr val="dk1"/>
                          </a:solidFill>
                          <a:latin typeface="+mn-lt"/>
                          <a:ea typeface="+mn-ea"/>
                          <a:cs typeface="+mn-cs"/>
                        </a:rPr>
                        <a:t>Name</a:t>
                      </a:r>
                      <a:endParaRPr lang="fr-FR" sz="1000" kern="1200">
                        <a:solidFill>
                          <a:schemeClr val="dk1"/>
                        </a:solidFill>
                        <a:latin typeface="+mn-lt"/>
                        <a:ea typeface="+mn-ea"/>
                        <a:cs typeface="+mn-cs"/>
                      </a:endParaRPr>
                    </a:p>
                  </a:txBody>
                  <a:tcPr marL="0" marR="0" marT="0" marB="0" anchor="b">
                    <a:lnT>
                      <a:noFill/>
                    </a:lnT>
                    <a:lnB w="12700" cap="flat" cmpd="sng" algn="ctr">
                      <a:solidFill>
                        <a:srgbClr val="9A9A9A"/>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15000"/>
                        </a:lnSpc>
                        <a:spcAft>
                          <a:spcPts val="0"/>
                        </a:spcAft>
                      </a:pPr>
                      <a:r>
                        <a:rPr lang="en-GB" sz="1000" kern="1200">
                          <a:solidFill>
                            <a:schemeClr val="dk1"/>
                          </a:solidFill>
                          <a:latin typeface="+mn-lt"/>
                          <a:ea typeface="+mn-ea"/>
                          <a:cs typeface="+mn-cs"/>
                        </a:rPr>
                        <a:t>Value</a:t>
                      </a:r>
                      <a:endParaRPr lang="fr-FR" sz="1000" kern="1200">
                        <a:solidFill>
                          <a:schemeClr val="dk1"/>
                        </a:solidFill>
                        <a:latin typeface="+mn-lt"/>
                        <a:ea typeface="+mn-ea"/>
                        <a:cs typeface="+mn-cs"/>
                      </a:endParaRPr>
                    </a:p>
                  </a:txBody>
                  <a:tcPr marL="68580" marR="68580" marT="0" marB="0" anchor="b">
                    <a:lnT>
                      <a:noFill/>
                    </a:lnT>
                    <a:lnB w="12700"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0000"/>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dirty="0">
                          <a:latin typeface="+mn-lt"/>
                        </a:rPr>
                        <a:t>Violation Count</a:t>
                      </a:r>
                      <a:endParaRPr lang="fr-FR" sz="1000" dirty="0">
                        <a:solidFill>
                          <a:schemeClr val="accent3">
                            <a:lumMod val="50000"/>
                          </a:schemeClr>
                        </a:solidFill>
                        <a:latin typeface="+mn-lt"/>
                        <a:ea typeface="Calibri"/>
                        <a:cs typeface="Times New Roman"/>
                      </a:endParaRPr>
                    </a:p>
                  </a:txBody>
                  <a:tcPr marL="0" marR="0" marT="0" marB="0">
                    <a:lnT w="12700" cap="flat" cmpd="sng" algn="ctr">
                      <a:solidFill>
                        <a:srgbClr val="9A9A9A"/>
                      </a:solidFill>
                      <a:prstDash val="solid"/>
                      <a:round/>
                      <a:headEnd type="none" w="med" len="med"/>
                      <a:tailEnd type="none" w="med" len="med"/>
                    </a:lnT>
                    <a:lnB>
                      <a:noFill/>
                    </a:lnB>
                  </a:tcPr>
                </a:tc>
                <a:tc>
                  <a:txBody>
                    <a:bodyPr/>
                    <a:lstStyle/>
                    <a:p>
                      <a:pPr marL="0" marR="0" algn="r">
                        <a:lnSpc>
                          <a:spcPct val="115000"/>
                        </a:lnSpc>
                        <a:spcBef>
                          <a:spcPts val="0"/>
                        </a:spcBef>
                        <a:spcAft>
                          <a:spcPts val="0"/>
                        </a:spcAft>
                      </a:pPr>
                      <a:r>
                        <a:rPr lang="en-US" sz="1000" kern="1200" dirty="0">
                          <a:solidFill>
                            <a:schemeClr val="dk1"/>
                          </a:solidFill>
                          <a:latin typeface="+mn-lt"/>
                          <a:ea typeface="+mn-ea"/>
                          <a:cs typeface="+mn-cs"/>
                        </a:rPr>
                        <a:t>328</a:t>
                      </a:r>
                    </a:p>
                  </a:txBody>
                  <a:tcPr marL="68580" marR="68580" marT="0" marB="0">
                    <a:lnT w="12700" cap="flat" cmpd="sng" algn="ctr">
                      <a:solidFill>
                        <a:srgbClr val="9A9A9A"/>
                      </a:solidFill>
                      <a:prstDash val="solid"/>
                      <a:round/>
                      <a:headEnd type="none" w="med" len="med"/>
                      <a:tailEnd type="none" w="med" len="med"/>
                    </a:lnT>
                    <a:lnB>
                      <a:noFill/>
                    </a:lnB>
                  </a:tcPr>
                </a:tc>
                <a:extLst>
                  <a:ext uri="{0D108BD9-81ED-4DB2-BD59-A6C34878D82A}">
                    <a16:rowId xmlns:a16="http://schemas.microsoft.com/office/drawing/2014/main" val="10001"/>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3850" lvl="1" indent="-2159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mn-lt"/>
                        </a:rPr>
                        <a:t> per file</a:t>
                      </a:r>
                      <a:endParaRPr lang="fr-FR" sz="1000" i="0" u="none" kern="1200" spc="0">
                        <a:solidFill>
                          <a:schemeClr val="tx1">
                            <a:lumMod val="100000"/>
                          </a:schemeClr>
                        </a:solidFill>
                        <a:latin typeface="+mn-lt"/>
                        <a:ea typeface="Calibri"/>
                        <a:cs typeface="Times New Roman"/>
                      </a:endParaRPr>
                    </a:p>
                  </a:txBody>
                  <a:tcPr marL="0" marR="0" marT="0" marB="0">
                    <a:lnT>
                      <a:noFill/>
                    </a:lnT>
                    <a:lnB>
                      <a:noFill/>
                    </a:lnB>
                  </a:tcPr>
                </a:tc>
                <a:tc>
                  <a:txBody>
                    <a:bodyPr/>
                    <a:lstStyle/>
                    <a:p>
                      <a:pPr marL="0" marR="0" algn="r">
                        <a:lnSpc>
                          <a:spcPct val="115000"/>
                        </a:lnSpc>
                        <a:spcBef>
                          <a:spcPts val="0"/>
                        </a:spcBef>
                        <a:spcAft>
                          <a:spcPts val="0"/>
                        </a:spcAft>
                      </a:pPr>
                      <a:r>
                        <a:rPr lang="en-GB" sz="1000" kern="1200" dirty="0">
                          <a:solidFill>
                            <a:schemeClr val="dk1"/>
                          </a:solidFill>
                          <a:latin typeface="+mn-lt"/>
                          <a:ea typeface="+mn-ea"/>
                          <a:cs typeface="+mn-cs"/>
                        </a:rPr>
                        <a:t>0.09</a:t>
                      </a:r>
                      <a:endParaRPr lang="en-US" sz="1000" kern="1200" dirty="0">
                        <a:solidFill>
                          <a:schemeClr val="dk1"/>
                        </a:solidFill>
                        <a:latin typeface="+mn-lt"/>
                        <a:ea typeface="+mn-ea"/>
                        <a:cs typeface="+mn-cs"/>
                      </a:endParaRPr>
                    </a:p>
                  </a:txBody>
                  <a:tcPr marL="68580" marR="68580" marT="0" marB="0">
                    <a:lnT>
                      <a:noFill/>
                    </a:lnT>
                    <a:lnB>
                      <a:noFill/>
                    </a:lnB>
                  </a:tcPr>
                </a:tc>
                <a:extLst>
                  <a:ext uri="{0D108BD9-81ED-4DB2-BD59-A6C34878D82A}">
                    <a16:rowId xmlns:a16="http://schemas.microsoft.com/office/drawing/2014/main" val="10002"/>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3850" lvl="1" indent="-2159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a:solidFill>
                            <a:schemeClr val="tx1">
                              <a:lumMod val="100000"/>
                            </a:schemeClr>
                          </a:solidFill>
                          <a:latin typeface="+mn-lt"/>
                        </a:rPr>
                        <a:t> per kLoC</a:t>
                      </a:r>
                      <a:endParaRPr lang="fr-FR" sz="1000" i="0" u="none" kern="1200" spc="0" err="1">
                        <a:solidFill>
                          <a:schemeClr val="tx1">
                            <a:lumMod val="100000"/>
                          </a:schemeClr>
                        </a:solidFill>
                        <a:latin typeface="+mn-lt"/>
                        <a:ea typeface="Calibri"/>
                        <a:cs typeface="Times New Roman"/>
                      </a:endParaRPr>
                    </a:p>
                  </a:txBody>
                  <a:tcPr marL="0" marR="0" marT="0" marB="0">
                    <a:lnT>
                      <a:noFill/>
                    </a:lnT>
                    <a:lnB>
                      <a:noFill/>
                    </a:lnB>
                  </a:tcPr>
                </a:tc>
                <a:tc>
                  <a:txBody>
                    <a:bodyPr/>
                    <a:lstStyle/>
                    <a:p>
                      <a:pPr marL="0" marR="0" algn="r">
                        <a:lnSpc>
                          <a:spcPct val="115000"/>
                        </a:lnSpc>
                        <a:spcBef>
                          <a:spcPts val="0"/>
                        </a:spcBef>
                        <a:spcAft>
                          <a:spcPts val="0"/>
                        </a:spcAft>
                      </a:pPr>
                      <a:r>
                        <a:rPr lang="en-GB" sz="1000" kern="1200" dirty="0">
                          <a:solidFill>
                            <a:schemeClr val="dk1"/>
                          </a:solidFill>
                          <a:latin typeface="+mn-lt"/>
                          <a:ea typeface="+mn-ea"/>
                          <a:cs typeface="+mn-cs"/>
                        </a:rPr>
                        <a:t>1.51</a:t>
                      </a:r>
                      <a:endParaRPr lang="en-US" sz="1000" kern="1200" dirty="0">
                        <a:solidFill>
                          <a:schemeClr val="dk1"/>
                        </a:solidFill>
                        <a:latin typeface="+mn-lt"/>
                        <a:ea typeface="+mn-ea"/>
                        <a:cs typeface="+mn-cs"/>
                      </a:endParaRPr>
                    </a:p>
                  </a:txBody>
                  <a:tcPr marL="68580" marR="68580" marT="0" marB="0">
                    <a:lnT>
                      <a:noFill/>
                    </a:lnT>
                    <a:lnB>
                      <a:noFill/>
                    </a:lnB>
                  </a:tcPr>
                </a:tc>
                <a:extLst>
                  <a:ext uri="{0D108BD9-81ED-4DB2-BD59-A6C34878D82A}">
                    <a16:rowId xmlns:a16="http://schemas.microsoft.com/office/drawing/2014/main" val="10003"/>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15000"/>
                        </a:lnSpc>
                        <a:spcAft>
                          <a:spcPts val="0"/>
                        </a:spcAft>
                      </a:pPr>
                      <a:r>
                        <a:rPr lang="en-GB" sz="1000" dirty="0">
                          <a:latin typeface="+mn-lt"/>
                        </a:rPr>
                        <a:t>Complex objects</a:t>
                      </a:r>
                      <a:endParaRPr lang="fr-FR" sz="1000" dirty="0">
                        <a:solidFill>
                          <a:schemeClr val="accent3">
                            <a:lumMod val="50000"/>
                          </a:schemeClr>
                        </a:solidFill>
                        <a:latin typeface="+mn-lt"/>
                        <a:ea typeface="Calibri"/>
                        <a:cs typeface="Times New Roman"/>
                      </a:endParaRPr>
                    </a:p>
                  </a:txBody>
                  <a:tcPr marL="0" marR="0" marT="0" marB="0">
                    <a:lnT>
                      <a:noFill/>
                    </a:lnT>
                    <a:lnB>
                      <a:noFill/>
                    </a:lnB>
                  </a:tcPr>
                </a:tc>
                <a:tc>
                  <a:txBody>
                    <a:bodyPr/>
                    <a:lstStyle/>
                    <a:p>
                      <a:pPr marL="0" marR="0" algn="r">
                        <a:lnSpc>
                          <a:spcPct val="115000"/>
                        </a:lnSpc>
                        <a:spcBef>
                          <a:spcPts val="0"/>
                        </a:spcBef>
                        <a:spcAft>
                          <a:spcPts val="0"/>
                        </a:spcAft>
                      </a:pPr>
                      <a:r>
                        <a:rPr lang="en-US" sz="1000" kern="1200" dirty="0">
                          <a:solidFill>
                            <a:schemeClr val="dk1"/>
                          </a:solidFill>
                          <a:latin typeface="+mn-lt"/>
                          <a:ea typeface="+mn-ea"/>
                          <a:cs typeface="+mn-cs"/>
                        </a:rPr>
                        <a:t>81</a:t>
                      </a:r>
                    </a:p>
                  </a:txBody>
                  <a:tcPr marL="68580" marR="68580" marT="0" marB="0">
                    <a:lnT>
                      <a:noFill/>
                    </a:lnT>
                    <a:lnB>
                      <a:noFill/>
                    </a:lnB>
                  </a:tcPr>
                </a:tc>
                <a:extLst>
                  <a:ext uri="{0D108BD9-81ED-4DB2-BD59-A6C34878D82A}">
                    <a16:rowId xmlns:a16="http://schemas.microsoft.com/office/drawing/2014/main" val="10004"/>
                  </a:ext>
                </a:extLst>
              </a:tr>
              <a:tr h="180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23850" lvl="1" indent="-2159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GB" sz="1000" i="0" u="none" kern="1200" spc="0" dirty="0">
                          <a:solidFill>
                            <a:schemeClr val="tx1">
                              <a:lumMod val="100000"/>
                            </a:schemeClr>
                          </a:solidFill>
                          <a:latin typeface="+mn-lt"/>
                        </a:rPr>
                        <a:t> With violations</a:t>
                      </a:r>
                      <a:endParaRPr lang="fr-FR" sz="1000" i="0" u="none" kern="1200" spc="0" dirty="0">
                        <a:solidFill>
                          <a:schemeClr val="tx1">
                            <a:lumMod val="100000"/>
                          </a:schemeClr>
                        </a:solidFill>
                        <a:latin typeface="+mn-lt"/>
                        <a:ea typeface="Calibri"/>
                        <a:cs typeface="Times New Roman"/>
                      </a:endParaRPr>
                    </a:p>
                  </a:txBody>
                  <a:tcPr marL="0" marR="0" marT="0" marB="0">
                    <a:lnT>
                      <a:noFill/>
                    </a:lnT>
                  </a:tcPr>
                </a:tc>
                <a:tc>
                  <a:txBody>
                    <a:bodyPr/>
                    <a:lstStyle/>
                    <a:p>
                      <a:pPr marL="0" marR="0" algn="r">
                        <a:lnSpc>
                          <a:spcPct val="115000"/>
                        </a:lnSpc>
                        <a:spcBef>
                          <a:spcPts val="0"/>
                        </a:spcBef>
                        <a:spcAft>
                          <a:spcPts val="0"/>
                        </a:spcAft>
                      </a:pPr>
                      <a:r>
                        <a:rPr lang="en-US" sz="1000" kern="1200" dirty="0">
                          <a:solidFill>
                            <a:schemeClr val="dk1"/>
                          </a:solidFill>
                          <a:latin typeface="+mn-lt"/>
                          <a:ea typeface="+mn-ea"/>
                          <a:cs typeface="+mn-cs"/>
                        </a:rPr>
                        <a:t>15</a:t>
                      </a:r>
                    </a:p>
                  </a:txBody>
                  <a:tcPr marL="68580" marR="68580" marT="0" marB="0">
                    <a:lnT>
                      <a:noFill/>
                    </a:lnT>
                  </a:tcPr>
                </a:tc>
                <a:extLst>
                  <a:ext uri="{0D108BD9-81ED-4DB2-BD59-A6C34878D82A}">
                    <a16:rowId xmlns:a16="http://schemas.microsoft.com/office/drawing/2014/main" val="10005"/>
                  </a:ext>
                </a:extLst>
              </a:tr>
            </a:tbl>
          </a:graphicData>
        </a:graphic>
      </p:graphicFrame>
      <p:graphicFrame>
        <p:nvGraphicFramePr>
          <p:cNvPr id="26" name="app1_top_violations">
            <a:extLst>
              <a:ext uri="{FF2B5EF4-FFF2-40B4-BE49-F238E27FC236}">
                <a16:creationId xmlns:a16="http://schemas.microsoft.com/office/drawing/2014/main" id="{A088A704-3458-4A85-A10E-CBFB205EDF51}"/>
              </a:ext>
            </a:extLst>
          </p:cNvPr>
          <p:cNvGraphicFramePr>
            <a:graphicFrameLocks noGrp="1"/>
          </p:cNvGraphicFramePr>
          <p:nvPr>
            <p:extLst>
              <p:ext uri="{D42A27DB-BD31-4B8C-83A1-F6EECF244321}">
                <p14:modId xmlns:p14="http://schemas.microsoft.com/office/powerpoint/2010/main" val="1749269997"/>
              </p:ext>
            </p:extLst>
          </p:nvPr>
        </p:nvGraphicFramePr>
        <p:xfrm>
          <a:off x="491843" y="4839152"/>
          <a:ext cx="4483671" cy="1905259"/>
        </p:xfrm>
        <a:graphic>
          <a:graphicData uri="http://schemas.openxmlformats.org/drawingml/2006/table">
            <a:tbl>
              <a:tblPr firstRow="1">
                <a:tableStyleId>{9D7B26C5-4107-4FEC-AEDC-1716B250A1EF}</a:tableStyleId>
              </a:tblPr>
              <a:tblGrid>
                <a:gridCol w="3714516">
                  <a:extLst>
                    <a:ext uri="{9D8B030D-6E8A-4147-A177-3AD203B41FA5}">
                      <a16:colId xmlns:a16="http://schemas.microsoft.com/office/drawing/2014/main" val="1459625848"/>
                    </a:ext>
                  </a:extLst>
                </a:gridCol>
                <a:gridCol w="769155">
                  <a:extLst>
                    <a:ext uri="{9D8B030D-6E8A-4147-A177-3AD203B41FA5}">
                      <a16:colId xmlns:a16="http://schemas.microsoft.com/office/drawing/2014/main" val="85577481"/>
                    </a:ext>
                  </a:extLst>
                </a:gridCol>
              </a:tblGrid>
              <a:tr h="172085">
                <a:tc>
                  <a:txBody>
                    <a:bodyPr/>
                    <a:lstStyle/>
                    <a:p>
                      <a:pPr marL="0" marR="0">
                        <a:lnSpc>
                          <a:spcPct val="115000"/>
                        </a:lnSpc>
                        <a:spcBef>
                          <a:spcPts val="0"/>
                        </a:spcBef>
                        <a:spcAft>
                          <a:spcPts val="0"/>
                        </a:spcAft>
                      </a:pPr>
                      <a:r>
                        <a:rPr lang="en-GB" sz="900" dirty="0">
                          <a:effectLst/>
                        </a:rPr>
                        <a:t>Rule Name</a:t>
                      </a:r>
                      <a:endParaRPr lang="en-US" sz="900" dirty="0">
                        <a:solidFill>
                          <a:srgbClr val="943634"/>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900">
                          <a:effectLst/>
                        </a:rPr>
                        <a:t># Violations</a:t>
                      </a:r>
                      <a:endParaRPr lang="en-US" sz="900">
                        <a:solidFill>
                          <a:srgbClr val="943634"/>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269669174"/>
                  </a:ext>
                </a:extLst>
              </a:tr>
              <a:tr h="0">
                <a:tc>
                  <a:txBody>
                    <a:bodyPr/>
                    <a:lstStyle/>
                    <a:p>
                      <a:pPr>
                        <a:lnSpc>
                          <a:spcPct val="115000"/>
                        </a:lnSpc>
                        <a:spcAft>
                          <a:spcPts val="0"/>
                        </a:spcAft>
                      </a:pPr>
                      <a:r>
                        <a:rPr lang="en-GB" sz="800" dirty="0" err="1"/>
                        <a:t>Avoid using '==' and '!=' to compare objects</a:t>
                      </a:r>
                      <a:endParaRPr lang="fr-FR" sz="800" dirty="0">
                        <a:solidFill>
                          <a:schemeClr val="accent3">
                            <a:lumMod val="50000"/>
                          </a:schemeClr>
                        </a:solidFill>
                        <a:latin typeface="Calibri"/>
                        <a:ea typeface="Calibri"/>
                        <a:cs typeface="Times New Roman"/>
                      </a:endParaRPr>
                    </a:p>
                  </a:txBody>
                  <a:tcPr marL="68580" marR="68580" marT="0" marB="0">
                    <a:noFill/>
                  </a:tcPr>
                </a:tc>
                <a:tc>
                  <a:txBody>
                    <a:bodyPr/>
                    <a:lstStyle/>
                    <a:p>
                      <a:pPr algn="ctr">
                        <a:lnSpc>
                          <a:spcPct val="115000"/>
                        </a:lnSpc>
                        <a:spcAft>
                          <a:spcPts val="0"/>
                        </a:spcAft>
                      </a:pPr>
                      <a:r>
                        <a:rPr lang="en-GB" sz="800" dirty="0"/>
                        <a:t>44</a:t>
                      </a:r>
                      <a:endParaRPr lang="fr-FR" sz="8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471183024"/>
                  </a:ext>
                </a:extLst>
              </a:tr>
              <a:tr h="0">
                <a:tc>
                  <a:txBody>
                    <a:bodyPr/>
                    <a:lstStyle/>
                    <a:p>
                      <a:pPr>
                        <a:lnSpc>
                          <a:spcPct val="115000"/>
                        </a:lnSpc>
                        <a:spcAft>
                          <a:spcPts val="0"/>
                        </a:spcAft>
                      </a:pPr>
                      <a:r>
                        <a:rPr lang="en-GB" sz="800" dirty="0" err="1"/>
                        <a:t>Avoid using Fields (non static final) from other Classes</a:t>
                      </a:r>
                      <a:endParaRPr lang="fr-FR" sz="800" dirty="0">
                        <a:solidFill>
                          <a:schemeClr val="accent3">
                            <a:lumMod val="50000"/>
                          </a:schemeClr>
                        </a:solidFill>
                        <a:latin typeface="Calibri"/>
                        <a:ea typeface="Calibri"/>
                        <a:cs typeface="Times New Roman"/>
                      </a:endParaRPr>
                    </a:p>
                  </a:txBody>
                  <a:tcPr marL="68580" marR="68580" marT="0" marB="0">
                    <a:no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GB" sz="800" dirty="0"/>
                        <a:t>40</a:t>
                      </a:r>
                      <a:endParaRPr lang="fr-FR" sz="8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2814673756"/>
                  </a:ext>
                </a:extLst>
              </a:tr>
              <a:tr h="0">
                <a:tc>
                  <a:txBody>
                    <a:bodyPr/>
                    <a:lstStyle/>
                    <a:p>
                      <a:pPr>
                        <a:lnSpc>
                          <a:spcPct val="115000"/>
                        </a:lnSpc>
                        <a:spcAft>
                          <a:spcPts val="0"/>
                        </a:spcAft>
                      </a:pPr>
                      <a:r>
                        <a:rPr lang="en-GB" sz="800" dirty="0" err="1"/>
                        <a:t>Avoid using incompatible mutation</a:t>
                      </a:r>
                      <a:endParaRPr lang="fr-FR" sz="800" dirty="0">
                        <a:solidFill>
                          <a:schemeClr val="accent3">
                            <a:lumMod val="50000"/>
                          </a:schemeClr>
                        </a:solidFill>
                        <a:latin typeface="Calibri"/>
                        <a:ea typeface="Calibri"/>
                        <a:cs typeface="Times New Roman"/>
                      </a:endParaRPr>
                    </a:p>
                  </a:txBody>
                  <a:tcPr marL="68580" marR="68580" marT="0" marB="0">
                    <a:noFill/>
                  </a:tcPr>
                </a:tc>
                <a:tc>
                  <a:txBody>
                    <a:bodyPr/>
                    <a:lstStyle/>
                    <a:p>
                      <a:pPr algn="ctr">
                        <a:lnSpc>
                          <a:spcPct val="115000"/>
                        </a:lnSpc>
                        <a:spcAft>
                          <a:spcPts val="0"/>
                        </a:spcAft>
                      </a:pPr>
                      <a:r>
                        <a:rPr lang="en-GB" sz="800" dirty="0"/>
                        <a:t>32</a:t>
                      </a:r>
                      <a:endParaRPr lang="fr-FR" sz="8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2839597732"/>
                  </a:ext>
                </a:extLst>
              </a:tr>
              <a:tr h="0">
                <a:tc>
                  <a:txBody>
                    <a:bodyPr/>
                    <a:lstStyle/>
                    <a:p>
                      <a:pPr>
                        <a:lnSpc>
                          <a:spcPct val="115000"/>
                        </a:lnSpc>
                        <a:spcAft>
                          <a:spcPts val="0"/>
                        </a:spcAft>
                      </a:pPr>
                      <a:r>
                        <a:rPr lang="en-GB" sz="800" dirty="0" err="1"/>
                        <a:t>Avoid empty catch blocks</a:t>
                      </a:r>
                      <a:endParaRPr lang="fr-FR" sz="800" dirty="0">
                        <a:solidFill>
                          <a:schemeClr val="accent3">
                            <a:lumMod val="50000"/>
                          </a:schemeClr>
                        </a:solidFill>
                        <a:latin typeface="Calibri"/>
                        <a:ea typeface="Calibri"/>
                        <a:cs typeface="Times New Roman"/>
                      </a:endParaRPr>
                    </a:p>
                  </a:txBody>
                  <a:tcPr marL="68580" marR="68580" marT="0" marB="0">
                    <a:no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GB" sz="800" dirty="0"/>
                        <a:t>27</a:t>
                      </a:r>
                      <a:endParaRPr lang="fr-FR" sz="8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2950881714"/>
                  </a:ext>
                </a:extLst>
              </a:tr>
              <a:tr h="0">
                <a:tc>
                  <a:txBody>
                    <a:bodyPr/>
                    <a:lstStyle/>
                    <a:p>
                      <a:pPr>
                        <a:lnSpc>
                          <a:spcPct val="115000"/>
                        </a:lnSpc>
                        <a:spcAft>
                          <a:spcPts val="0"/>
                        </a:spcAft>
                      </a:pPr>
                      <a:r>
                        <a:rPr lang="en-GB" sz="800" dirty="0" err="1"/>
                        <a:t>Always implement the success/error/complete or done/fail/always callbacks when using jQuery ajax call</a:t>
                      </a:r>
                      <a:endParaRPr lang="fr-FR" sz="800" dirty="0">
                        <a:solidFill>
                          <a:schemeClr val="accent3">
                            <a:lumMod val="50000"/>
                          </a:schemeClr>
                        </a:solidFill>
                        <a:latin typeface="Calibri"/>
                        <a:ea typeface="Calibri"/>
                        <a:cs typeface="Times New Roman"/>
                      </a:endParaRPr>
                    </a:p>
                  </a:txBody>
                  <a:tcPr marL="68580" marR="68580" marT="0" marB="0">
                    <a:noFill/>
                  </a:tcPr>
                </a:tc>
                <a:tc>
                  <a:txBody>
                    <a:bodyPr/>
                    <a:lstStyle/>
                    <a:p>
                      <a:pPr algn="ctr">
                        <a:lnSpc>
                          <a:spcPct val="115000"/>
                        </a:lnSpc>
                        <a:spcAft>
                          <a:spcPts val="0"/>
                        </a:spcAft>
                      </a:pPr>
                      <a:r>
                        <a:rPr lang="en-GB" sz="800" dirty="0" err="1"/>
                        <a:t>17</a:t>
                      </a:r>
                      <a:endParaRPr lang="fr-FR" sz="8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22645810"/>
                  </a:ext>
                </a:extLst>
              </a:tr>
              <a:tr h="0">
                <a:tc>
                  <a:txBody>
                    <a:bodyPr/>
                    <a:lstStyle/>
                    <a:p>
                      <a:pPr>
                        <a:lnSpc>
                          <a:spcPct val="115000"/>
                        </a:lnSpc>
                        <a:spcAft>
                          <a:spcPts val="0"/>
                        </a:spcAft>
                      </a:pPr>
                      <a:r>
                        <a:rPr lang="en-GB" sz="800" dirty="0" err="1"/>
                        <a:t>Avoid using Ajax method without dataType with jQuery version older than 3.0.0</a:t>
                      </a:r>
                      <a:endParaRPr lang="fr-FR" sz="800" dirty="0">
                        <a:solidFill>
                          <a:schemeClr val="accent3">
                            <a:lumMod val="50000"/>
                          </a:schemeClr>
                        </a:solidFill>
                        <a:latin typeface="Calibri"/>
                        <a:ea typeface="Calibri"/>
                        <a:cs typeface="Times New Roman"/>
                      </a:endParaRPr>
                    </a:p>
                  </a:txBody>
                  <a:tcPr marL="68580" marR="68580" marT="0" marB="0">
                    <a:no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GB" sz="800" dirty="0" err="1"/>
                        <a:t>17</a:t>
                      </a:r>
                      <a:endParaRPr lang="fr-FR" sz="8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211831506"/>
                  </a:ext>
                </a:extLst>
              </a:tr>
              <a:tr h="0">
                <a:tc>
                  <a:txBody>
                    <a:bodyPr/>
                    <a:lstStyle/>
                    <a:p>
                      <a:pPr>
                        <a:lnSpc>
                          <a:spcPct val="115000"/>
                        </a:lnSpc>
                        <a:spcAft>
                          <a:spcPts val="0"/>
                        </a:spcAft>
                      </a:pPr>
                      <a:r>
                        <a:rPr lang="en-GB" sz="800" dirty="0" err="1"/>
                        <a:t>Avoid instantiations inside loops</a:t>
                      </a:r>
                      <a:endParaRPr lang="fr-FR" sz="800" dirty="0">
                        <a:solidFill>
                          <a:schemeClr val="accent3">
                            <a:lumMod val="50000"/>
                          </a:schemeClr>
                        </a:solidFill>
                        <a:latin typeface="Calibri"/>
                        <a:ea typeface="Calibri"/>
                        <a:cs typeface="Times New Roman"/>
                      </a:endParaRPr>
                    </a:p>
                  </a:txBody>
                  <a:tcPr marL="68580" marR="68580" marT="0" marB="0">
                    <a:noFill/>
                  </a:tcPr>
                </a:tc>
                <a:tc>
                  <a:txBody>
                    <a:bodyPr/>
                    <a:lstStyle/>
                    <a:p>
                      <a:pPr algn="ctr">
                        <a:lnSpc>
                          <a:spcPct val="115000"/>
                        </a:lnSpc>
                        <a:spcAft>
                          <a:spcPts val="0"/>
                        </a:spcAft>
                      </a:pPr>
                      <a:r>
                        <a:rPr lang="en-GB" sz="800" dirty="0" err="1"/>
                        <a:t>14</a:t>
                      </a:r>
                      <a:endParaRPr lang="fr-FR" sz="8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2225952280"/>
                  </a:ext>
                </a:extLst>
              </a:tr>
              <a:tr h="0">
                <a:tc>
                  <a:txBody>
                    <a:bodyPr/>
                    <a:lstStyle/>
                    <a:p>
                      <a:pPr>
                        <a:lnSpc>
                          <a:spcPct val="115000"/>
                        </a:lnSpc>
                        <a:spcAft>
                          <a:spcPts val="0"/>
                        </a:spcAft>
                      </a:pPr>
                      <a:r>
                        <a:rPr lang="en-GB" sz="800" dirty="0" err="1"/>
                        <a:t>Avoid to use this within Constructor in multi-thread environment</a:t>
                      </a:r>
                      <a:endParaRPr lang="fr-FR" sz="800" dirty="0">
                        <a:solidFill>
                          <a:schemeClr val="accent3">
                            <a:lumMod val="50000"/>
                          </a:schemeClr>
                        </a:solidFill>
                        <a:latin typeface="Calibri"/>
                        <a:ea typeface="Calibri"/>
                        <a:cs typeface="Times New Roman"/>
                      </a:endParaRPr>
                    </a:p>
                  </a:txBody>
                  <a:tcPr marL="68580" marR="68580" marT="0" marB="0">
                    <a:no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GB" sz="800" dirty="0"/>
                        <a:t>13</a:t>
                      </a:r>
                      <a:endParaRPr lang="fr-FR" sz="8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2591001592"/>
                  </a:ext>
                </a:extLst>
              </a:tr>
              <a:tr h="0">
                <a:tc>
                  <a:txBody>
                    <a:bodyPr/>
                    <a:lstStyle/>
                    <a:p>
                      <a:pPr>
                        <a:lnSpc>
                          <a:spcPct val="115000"/>
                        </a:lnSpc>
                        <a:spcAft>
                          <a:spcPts val="0"/>
                        </a:spcAft>
                      </a:pPr>
                      <a:r>
                        <a:rPr lang="en-GB" sz="800" dirty="0" err="1"/>
                        <a:t>Avoid having suspicious similar method names or signatures in an inheritance tree</a:t>
                      </a:r>
                      <a:endParaRPr lang="fr-FR" sz="800" dirty="0">
                        <a:solidFill>
                          <a:schemeClr val="accent3">
                            <a:lumMod val="50000"/>
                          </a:schemeClr>
                        </a:solidFill>
                        <a:latin typeface="Calibri"/>
                        <a:ea typeface="Calibri"/>
                        <a:cs typeface="Times New Roman"/>
                      </a:endParaRPr>
                    </a:p>
                  </a:txBody>
                  <a:tcPr marL="68580" marR="68580" marT="0" marB="0">
                    <a:noFill/>
                  </a:tcPr>
                </a:tc>
                <a:tc>
                  <a:txBody>
                    <a:bodyPr/>
                    <a:lstStyle/>
                    <a:p>
                      <a:pPr algn="ctr">
                        <a:lnSpc>
                          <a:spcPct val="115000"/>
                        </a:lnSpc>
                        <a:spcAft>
                          <a:spcPts val="0"/>
                        </a:spcAft>
                      </a:pPr>
                      <a:r>
                        <a:rPr lang="en-GB" sz="800" dirty="0"/>
                        <a:t>12</a:t>
                      </a:r>
                      <a:endParaRPr lang="fr-FR" sz="8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247004410"/>
                  </a:ext>
                </a:extLst>
              </a:tr>
              <a:tr h="0">
                <a:tc>
                  <a:txBody>
                    <a:bodyPr/>
                    <a:lstStyle/>
                    <a:p>
                      <a:pPr>
                        <a:lnSpc>
                          <a:spcPct val="115000"/>
                        </a:lnSpc>
                        <a:spcAft>
                          <a:spcPts val="0"/>
                        </a:spcAft>
                      </a:pPr>
                      <a:r>
                        <a:rPr lang="en-GB" sz="800" dirty="0" err="1"/>
                        <a:t>Avoid cyclical calls and inheritances between packages</a:t>
                      </a:r>
                      <a:endParaRPr lang="fr-FR" sz="800" dirty="0">
                        <a:solidFill>
                          <a:schemeClr val="accent3">
                            <a:lumMod val="50000"/>
                          </a:schemeClr>
                        </a:solidFill>
                        <a:latin typeface="Calibri"/>
                        <a:ea typeface="Calibri"/>
                        <a:cs typeface="Times New Roman"/>
                      </a:endParaRPr>
                    </a:p>
                  </a:txBody>
                  <a:tcPr marL="68580" marR="68580" marT="0" marB="0">
                    <a:no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GB" sz="800" dirty="0"/>
                        <a:t>12</a:t>
                      </a:r>
                      <a:endParaRPr lang="fr-FR" sz="8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457061045"/>
                  </a:ext>
                </a:extLst>
              </a:tr>
            </a:tbl>
          </a:graphicData>
        </a:graphic>
      </p:graphicFrame>
      <p:sp>
        <p:nvSpPr>
          <p:cNvPr id="18" name="TextBox 17">
            <a:extLst>
              <a:ext uri="{FF2B5EF4-FFF2-40B4-BE49-F238E27FC236}">
                <a16:creationId xmlns:a16="http://schemas.microsoft.com/office/drawing/2014/main" id="{17B51FCC-2B59-42B0-A50D-A1AC19AF449C}"/>
              </a:ext>
            </a:extLst>
          </p:cNvPr>
          <p:cNvSpPr txBox="1"/>
          <p:nvPr/>
        </p:nvSpPr>
        <p:spPr>
          <a:xfrm>
            <a:off x="9350477" y="423475"/>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endParaRPr lang="en-US" b="0" dirty="0">
              <a:solidFill>
                <a:srgbClr val="D4D4D4"/>
              </a:solidFill>
              <a:effectLst/>
              <a:latin typeface="Consolas" panose="020B0609020204030204" pitchFamily="49" charset="0"/>
            </a:endParaRPr>
          </a:p>
        </p:txBody>
      </p:sp>
    </p:spTree>
    <p:custDataLst>
      <p:tags r:id="rId1"/>
    </p:custDataLst>
    <p:extLst>
      <p:ext uri="{BB962C8B-B14F-4D97-AF65-F5344CB8AC3E}">
        <p14:creationId xmlns:p14="http://schemas.microsoft.com/office/powerpoint/2010/main" val="396418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E110ADFF-FFC7-4EDC-AA76-DC8EC21D8374}"/>
              </a:ext>
            </a:extLst>
          </p:cNvPr>
          <p:cNvPicPr>
            <a:picLocks noChangeAspect="1"/>
          </p:cNvPicPr>
          <p:nvPr/>
        </p:nvPicPr>
        <p:blipFill>
          <a:blip r:embed="rId4"/>
          <a:stretch>
            <a:fillRect/>
          </a:stretch>
        </p:blipFill>
        <p:spPr>
          <a:xfrm>
            <a:off x="1479797" y="1643580"/>
            <a:ext cx="7487125" cy="3853667"/>
          </a:xfrm>
          <a:prstGeom prst="rect">
            <a:avLst/>
          </a:prstGeom>
        </p:spPr>
      </p:pic>
      <p:sp>
        <p:nvSpPr>
          <p:cNvPr id="2" name="Title 1"/>
          <p:cNvSpPr>
            <a:spLocks noGrp="1"/>
          </p:cNvSpPr>
          <p:nvPr>
            <p:ph type="title"/>
          </p:nvPr>
        </p:nvSpPr>
        <p:spPr>
          <a:xfrm>
            <a:off x="630000" y="622800"/>
            <a:ext cx="10933350" cy="664797"/>
          </a:xfrm>
        </p:spPr>
        <p:txBody>
          <a:bodyPr/>
          <a:lstStyle/>
          <a:p>
            <a:r>
              <a:rPr lang="en-US" dirty="0">
                <a:solidFill>
                  <a:schemeClr val="accent3"/>
                </a:solidFill>
              </a:rPr>
              <a:t>Application details: Accela technical strengths and improvement areas for Overall health (TQI)</a:t>
            </a:r>
          </a:p>
        </p:txBody>
      </p:sp>
      <p:sp>
        <p:nvSpPr>
          <p:cNvPr id="80" name="TextBox 79">
            <a:extLst>
              <a:ext uri="{FF2B5EF4-FFF2-40B4-BE49-F238E27FC236}">
                <a16:creationId xmlns:a16="http://schemas.microsoft.com/office/drawing/2014/main" id="{6F5A7825-C260-4831-9B48-001AB9DF90D5}"/>
              </a:ext>
            </a:extLst>
          </p:cNvPr>
          <p:cNvSpPr txBox="1"/>
          <p:nvPr/>
        </p:nvSpPr>
        <p:spPr>
          <a:xfrm>
            <a:off x="9134358" y="1694951"/>
            <a:ext cx="2428992" cy="3523527"/>
          </a:xfrm>
          <a:prstGeom prst="rect">
            <a:avLst/>
          </a:prstGeom>
          <a:noFill/>
        </p:spPr>
        <p:txBody>
          <a:bodyPr wrap="square" lIns="0" tIns="0" rIns="0" bIns="0" rtlCol="0" anchor="t">
            <a:noAutofit/>
          </a:bodyPr>
          <a:lstStyle/>
          <a:p>
            <a:pPr>
              <a:lnSpc>
                <a:spcPct val="150000"/>
              </a:lnSpc>
            </a:pPr>
            <a:r>
              <a:rPr lang="en-US" sz="950" b="1"/>
              <a:t>Strengths</a:t>
            </a:r>
            <a:endParaRPr lang="en-US" sz="950"/>
          </a:p>
          <a:p>
            <a:pPr>
              <a:lnSpc>
                <a:spcPct val="150000"/>
              </a:lnSpc>
            </a:pPr>
            <a:r>
              <a:rPr lang="en-US" sz="950">
                <a:highlight>
                  <a:srgbClr val="00FF00"/>
                </a:highlight>
              </a:rPr>
              <a:t>Secure coding showed 27 violations, but no hardcoded passwords, unsecured cookies or weak encryption algorithms detected which is good. </a:t>
            </a:r>
          </a:p>
          <a:p>
            <a:pPr>
              <a:lnSpc>
                <a:spcPct val="150000"/>
              </a:lnSpc>
            </a:pPr>
            <a:endParaRPr lang="en-US" sz="950"/>
          </a:p>
          <a:p>
            <a:pPr>
              <a:lnSpc>
                <a:spcPct val="150000"/>
              </a:lnSpc>
            </a:pPr>
            <a:r>
              <a:rPr lang="en-US" sz="950" b="1"/>
              <a:t>Improvement Areas</a:t>
            </a:r>
          </a:p>
          <a:p>
            <a:pPr>
              <a:lnSpc>
                <a:spcPct val="150000"/>
              </a:lnSpc>
            </a:pPr>
            <a:r>
              <a:rPr lang="en-US" sz="950">
                <a:highlight>
                  <a:srgbClr val="00FF00"/>
                </a:highlight>
              </a:rPr>
              <a:t>Efficiency issues mostly concern unreleased streams and expensive calls in loops. Security issues are mostly related to input validation. There are also some architecture issues like cyclical calls between packages, as well as issues related to programming practices: exception handling or encapsulation.</a:t>
            </a:r>
          </a:p>
        </p:txBody>
      </p:sp>
      <p:sp>
        <p:nvSpPr>
          <p:cNvPr id="14" name="ee4pHeader2">
            <a:extLst>
              <a:ext uri="{FF2B5EF4-FFF2-40B4-BE49-F238E27FC236}">
                <a16:creationId xmlns:a16="http://schemas.microsoft.com/office/drawing/2014/main" id="{1503C336-06AF-4E2D-8A12-85F05A83BD35}"/>
              </a:ext>
            </a:extLst>
          </p:cNvPr>
          <p:cNvSpPr txBox="1"/>
          <p:nvPr/>
        </p:nvSpPr>
        <p:spPr>
          <a:xfrm>
            <a:off x="9153899" y="1487279"/>
            <a:ext cx="2033272" cy="198279"/>
          </a:xfrm>
          <a:prstGeom prst="rect">
            <a:avLst/>
          </a:prstGeom>
          <a:noFill/>
          <a:ln cap="rnd">
            <a:noFill/>
          </a:ln>
        </p:spPr>
        <p:txBody>
          <a:bodyPr wrap="square" lIns="0" tIns="0" rIns="0" bIns="0" rtlCol="0" anchor="b" anchorCtr="0">
            <a:noAutofit/>
          </a:bodyPr>
          <a:lstStyle/>
          <a:p>
            <a:pPr marL="0" lvl="3"/>
            <a:r>
              <a:rPr lang="en-US" sz="1400">
                <a:solidFill>
                  <a:schemeClr val="accent3"/>
                </a:solidFill>
              </a:rPr>
              <a:t>Explanation</a:t>
            </a:r>
          </a:p>
        </p:txBody>
      </p:sp>
      <p:sp>
        <p:nvSpPr>
          <p:cNvPr id="19" name="TextBox 18">
            <a:extLst>
              <a:ext uri="{FF2B5EF4-FFF2-40B4-BE49-F238E27FC236}">
                <a16:creationId xmlns:a16="http://schemas.microsoft.com/office/drawing/2014/main" id="{8D9A2195-E46A-4A5C-BD11-87B61401C498}"/>
              </a:ext>
            </a:extLst>
          </p:cNvPr>
          <p:cNvSpPr txBox="1"/>
          <p:nvPr/>
        </p:nvSpPr>
        <p:spPr>
          <a:xfrm>
            <a:off x="7946126" y="5567806"/>
            <a:ext cx="2233562"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rgbClr val="575757"/>
                </a:solidFill>
              </a:rPr>
              <a:t>TQI of </a:t>
            </a:r>
            <a:r>
              <a:rPr lang="en-US" sz="1200">
                <a:solidFill>
                  <a:srgbClr val="575757"/>
                </a:solidFill>
                <a:highlight>
                  <a:srgbClr val="00FF00"/>
                </a:highlight>
              </a:rPr>
              <a:t>App1</a:t>
            </a:r>
          </a:p>
        </p:txBody>
      </p:sp>
      <p:grpSp>
        <p:nvGrpSpPr>
          <p:cNvPr id="20" name="Group 19">
            <a:extLst>
              <a:ext uri="{FF2B5EF4-FFF2-40B4-BE49-F238E27FC236}">
                <a16:creationId xmlns:a16="http://schemas.microsoft.com/office/drawing/2014/main" id="{F8AB4BEE-7B3E-4E86-8050-ED2B58EB7558}"/>
              </a:ext>
            </a:extLst>
          </p:cNvPr>
          <p:cNvGrpSpPr/>
          <p:nvPr/>
        </p:nvGrpSpPr>
        <p:grpSpPr>
          <a:xfrm>
            <a:off x="6906349" y="5630264"/>
            <a:ext cx="4456017" cy="548673"/>
            <a:chOff x="7297312" y="5684879"/>
            <a:chExt cx="4456017" cy="548673"/>
          </a:xfrm>
        </p:grpSpPr>
        <p:grpSp>
          <p:nvGrpSpPr>
            <p:cNvPr id="21" name="Group 20">
              <a:extLst>
                <a:ext uri="{FF2B5EF4-FFF2-40B4-BE49-F238E27FC236}">
                  <a16:creationId xmlns:a16="http://schemas.microsoft.com/office/drawing/2014/main" id="{3088A8FB-95CE-43C9-9AA7-B889D16D6DE2}"/>
                </a:ext>
              </a:extLst>
            </p:cNvPr>
            <p:cNvGrpSpPr/>
            <p:nvPr/>
          </p:nvGrpSpPr>
          <p:grpSpPr>
            <a:xfrm>
              <a:off x="7297312" y="6046424"/>
              <a:ext cx="1214233" cy="187128"/>
              <a:chOff x="6717312" y="6299200"/>
              <a:chExt cx="1214233" cy="187128"/>
            </a:xfrm>
          </p:grpSpPr>
          <p:sp>
            <p:nvSpPr>
              <p:cNvPr id="39" name="Rectangle 38">
                <a:extLst>
                  <a:ext uri="{FF2B5EF4-FFF2-40B4-BE49-F238E27FC236}">
                    <a16:creationId xmlns:a16="http://schemas.microsoft.com/office/drawing/2014/main" id="{F3FA9F9E-7426-4D4D-8DD2-B95B2244335A}"/>
                  </a:ext>
                </a:extLst>
              </p:cNvPr>
              <p:cNvSpPr/>
              <p:nvPr/>
            </p:nvSpPr>
            <p:spPr>
              <a:xfrm>
                <a:off x="6717312" y="6299200"/>
                <a:ext cx="205841" cy="187128"/>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200">
                    <a:solidFill>
                      <a:srgbClr val="FFFFFF"/>
                    </a:solidFill>
                  </a:rPr>
                  <a:t>1</a:t>
                </a:r>
                <a:endParaRPr lang="en-US" sz="1200">
                  <a:solidFill>
                    <a:srgbClr val="FFFFFF"/>
                  </a:solidFill>
                </a:endParaRPr>
              </a:p>
            </p:txBody>
          </p:sp>
          <p:sp>
            <p:nvSpPr>
              <p:cNvPr id="40" name="TextBox 39">
                <a:extLst>
                  <a:ext uri="{FF2B5EF4-FFF2-40B4-BE49-F238E27FC236}">
                    <a16:creationId xmlns:a16="http://schemas.microsoft.com/office/drawing/2014/main" id="{CE212A2F-0A41-4011-8ABF-1E9F958E1802}"/>
                  </a:ext>
                </a:extLst>
              </p:cNvPr>
              <p:cNvSpPr txBox="1"/>
              <p:nvPr/>
            </p:nvSpPr>
            <p:spPr>
              <a:xfrm>
                <a:off x="6978428" y="6300431"/>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rPr>
                  <a:t>Very high risk</a:t>
                </a:r>
              </a:p>
            </p:txBody>
          </p:sp>
        </p:grpSp>
        <p:grpSp>
          <p:nvGrpSpPr>
            <p:cNvPr id="22" name="Group 21">
              <a:extLst>
                <a:ext uri="{FF2B5EF4-FFF2-40B4-BE49-F238E27FC236}">
                  <a16:creationId xmlns:a16="http://schemas.microsoft.com/office/drawing/2014/main" id="{AC1DF0C1-CF3A-41DE-8600-C4C3C1A52752}"/>
                </a:ext>
              </a:extLst>
            </p:cNvPr>
            <p:cNvGrpSpPr/>
            <p:nvPr/>
          </p:nvGrpSpPr>
          <p:grpSpPr>
            <a:xfrm>
              <a:off x="8532049" y="6046424"/>
              <a:ext cx="1010039" cy="187128"/>
              <a:chOff x="6717312" y="6492282"/>
              <a:chExt cx="1010039" cy="187128"/>
            </a:xfrm>
          </p:grpSpPr>
          <p:sp>
            <p:nvSpPr>
              <p:cNvPr id="34" name="Rectangle 33">
                <a:extLst>
                  <a:ext uri="{FF2B5EF4-FFF2-40B4-BE49-F238E27FC236}">
                    <a16:creationId xmlns:a16="http://schemas.microsoft.com/office/drawing/2014/main" id="{5B398716-4B7D-419A-8E6E-DFD4F24B94CE}"/>
                  </a:ext>
                </a:extLst>
              </p:cNvPr>
              <p:cNvSpPr/>
              <p:nvPr/>
            </p:nvSpPr>
            <p:spPr>
              <a:xfrm>
                <a:off x="6717312" y="6492282"/>
                <a:ext cx="205841" cy="187128"/>
              </a:xfrm>
              <a:prstGeom prst="rect">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2</a:t>
                </a:r>
              </a:p>
            </p:txBody>
          </p:sp>
          <p:sp>
            <p:nvSpPr>
              <p:cNvPr id="35" name="TextBox 34">
                <a:extLst>
                  <a:ext uri="{FF2B5EF4-FFF2-40B4-BE49-F238E27FC236}">
                    <a16:creationId xmlns:a16="http://schemas.microsoft.com/office/drawing/2014/main" id="{3BDDC1DB-C18D-4527-B41C-3B641DEE2480}"/>
                  </a:ext>
                </a:extLst>
              </p:cNvPr>
              <p:cNvSpPr txBox="1"/>
              <p:nvPr/>
            </p:nvSpPr>
            <p:spPr>
              <a:xfrm>
                <a:off x="6978428" y="6493513"/>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GB" sz="1200">
                    <a:solidFill>
                      <a:srgbClr val="575757"/>
                    </a:solidFill>
                  </a:rPr>
                  <a:t>High risk</a:t>
                </a:r>
                <a:endParaRPr lang="en-US" sz="1200">
                  <a:solidFill>
                    <a:srgbClr val="575757"/>
                  </a:solidFill>
                </a:endParaRPr>
              </a:p>
            </p:txBody>
          </p:sp>
        </p:grpSp>
        <p:grpSp>
          <p:nvGrpSpPr>
            <p:cNvPr id="23" name="Group 22">
              <a:extLst>
                <a:ext uri="{FF2B5EF4-FFF2-40B4-BE49-F238E27FC236}">
                  <a16:creationId xmlns:a16="http://schemas.microsoft.com/office/drawing/2014/main" id="{135C15FE-C9A1-48AB-906A-DAD730C4DFF4}"/>
                </a:ext>
              </a:extLst>
            </p:cNvPr>
            <p:cNvGrpSpPr/>
            <p:nvPr/>
          </p:nvGrpSpPr>
          <p:grpSpPr>
            <a:xfrm>
              <a:off x="9453870" y="6046424"/>
              <a:ext cx="1214233" cy="187128"/>
              <a:chOff x="6670526" y="6693151"/>
              <a:chExt cx="1214233" cy="187128"/>
            </a:xfrm>
          </p:grpSpPr>
          <p:sp>
            <p:nvSpPr>
              <p:cNvPr id="32" name="Rectangle 31">
                <a:extLst>
                  <a:ext uri="{FF2B5EF4-FFF2-40B4-BE49-F238E27FC236}">
                    <a16:creationId xmlns:a16="http://schemas.microsoft.com/office/drawing/2014/main" id="{962800FD-A0F9-4E87-A188-0277A4964C7A}"/>
                  </a:ext>
                </a:extLst>
              </p:cNvPr>
              <p:cNvSpPr/>
              <p:nvPr/>
            </p:nvSpPr>
            <p:spPr>
              <a:xfrm>
                <a:off x="6670526" y="6693151"/>
                <a:ext cx="205841" cy="18712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3</a:t>
                </a:r>
              </a:p>
            </p:txBody>
          </p:sp>
          <p:sp>
            <p:nvSpPr>
              <p:cNvPr id="33" name="TextBox 32">
                <a:extLst>
                  <a:ext uri="{FF2B5EF4-FFF2-40B4-BE49-F238E27FC236}">
                    <a16:creationId xmlns:a16="http://schemas.microsoft.com/office/drawing/2014/main" id="{7E419731-076B-4D82-8967-EC2E7DAF53F2}"/>
                  </a:ext>
                </a:extLst>
              </p:cNvPr>
              <p:cNvSpPr txBox="1"/>
              <p:nvPr/>
            </p:nvSpPr>
            <p:spPr>
              <a:xfrm>
                <a:off x="6931642" y="6694382"/>
                <a:ext cx="95311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rPr>
                  <a:t>Medium risk</a:t>
                </a:r>
              </a:p>
            </p:txBody>
          </p:sp>
        </p:grpSp>
        <p:grpSp>
          <p:nvGrpSpPr>
            <p:cNvPr id="24" name="Group 23">
              <a:extLst>
                <a:ext uri="{FF2B5EF4-FFF2-40B4-BE49-F238E27FC236}">
                  <a16:creationId xmlns:a16="http://schemas.microsoft.com/office/drawing/2014/main" id="{2F3E4CA8-AB99-443F-91EB-26DEC74F77C6}"/>
                </a:ext>
              </a:extLst>
            </p:cNvPr>
            <p:cNvGrpSpPr/>
            <p:nvPr/>
          </p:nvGrpSpPr>
          <p:grpSpPr>
            <a:xfrm>
              <a:off x="10743290" y="6046424"/>
              <a:ext cx="1010039" cy="187128"/>
              <a:chOff x="6717312" y="6915774"/>
              <a:chExt cx="1010039" cy="187128"/>
            </a:xfrm>
          </p:grpSpPr>
          <p:sp>
            <p:nvSpPr>
              <p:cNvPr id="30" name="Rectangle 29">
                <a:extLst>
                  <a:ext uri="{FF2B5EF4-FFF2-40B4-BE49-F238E27FC236}">
                    <a16:creationId xmlns:a16="http://schemas.microsoft.com/office/drawing/2014/main" id="{DAECB560-4CB0-425C-8D29-0EF7EB7EDD7E}"/>
                  </a:ext>
                </a:extLst>
              </p:cNvPr>
              <p:cNvSpPr/>
              <p:nvPr/>
            </p:nvSpPr>
            <p:spPr>
              <a:xfrm>
                <a:off x="6717312" y="6915774"/>
                <a:ext cx="205841" cy="187128"/>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4</a:t>
                </a:r>
              </a:p>
            </p:txBody>
          </p:sp>
          <p:sp>
            <p:nvSpPr>
              <p:cNvPr id="31" name="TextBox 30">
                <a:extLst>
                  <a:ext uri="{FF2B5EF4-FFF2-40B4-BE49-F238E27FC236}">
                    <a16:creationId xmlns:a16="http://schemas.microsoft.com/office/drawing/2014/main" id="{0B437BE3-47F5-4A21-8640-7057B4E32173}"/>
                  </a:ext>
                </a:extLst>
              </p:cNvPr>
              <p:cNvSpPr txBox="1"/>
              <p:nvPr/>
            </p:nvSpPr>
            <p:spPr>
              <a:xfrm>
                <a:off x="6978428" y="6917005"/>
                <a:ext cx="74892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a:solidFill>
                      <a:srgbClr val="575757"/>
                    </a:solidFill>
                  </a:rPr>
                  <a:t>Low risk</a:t>
                </a:r>
              </a:p>
            </p:txBody>
          </p:sp>
        </p:grpSp>
        <p:sp>
          <p:nvSpPr>
            <p:cNvPr id="25" name="Rectangle 24">
              <a:extLst>
                <a:ext uri="{FF2B5EF4-FFF2-40B4-BE49-F238E27FC236}">
                  <a16:creationId xmlns:a16="http://schemas.microsoft.com/office/drawing/2014/main" id="{98479E5B-F689-4D6D-8521-A1EFDC70BB3F}"/>
                </a:ext>
              </a:extLst>
            </p:cNvPr>
            <p:cNvSpPr/>
            <p:nvPr/>
          </p:nvSpPr>
          <p:spPr>
            <a:xfrm>
              <a:off x="7297312" y="5869545"/>
              <a:ext cx="4261838" cy="99260"/>
            </a:xfrm>
            <a:prstGeom prst="rect">
              <a:avLst/>
            </a:prstGeom>
            <a:gradFill flip="none" rotWithShape="1">
              <a:gsLst>
                <a:gs pos="35000">
                  <a:srgbClr val="FFFF00"/>
                </a:gs>
                <a:gs pos="70000">
                  <a:srgbClr val="FFC000"/>
                </a:gs>
                <a:gs pos="100000">
                  <a:srgbClr val="FF0000"/>
                </a:gs>
                <a:gs pos="0">
                  <a:schemeClr val="tx2"/>
                </a:gs>
              </a:gsLst>
              <a:path path="circle">
                <a:fillToRect l="100000" t="100000"/>
              </a:path>
              <a:tileRect r="-100000" b="-100000"/>
            </a:gra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26" name="TextBox 25">
              <a:extLst>
                <a:ext uri="{FF2B5EF4-FFF2-40B4-BE49-F238E27FC236}">
                  <a16:creationId xmlns:a16="http://schemas.microsoft.com/office/drawing/2014/main" id="{39CFE997-FD88-4FED-83C1-A184442AC49E}"/>
                </a:ext>
              </a:extLst>
            </p:cNvPr>
            <p:cNvSpPr txBox="1"/>
            <p:nvPr/>
          </p:nvSpPr>
          <p:spPr>
            <a:xfrm>
              <a:off x="7297312"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1</a:t>
              </a:r>
              <a:endParaRPr lang="en-US" sz="1200">
                <a:solidFill>
                  <a:srgbClr val="575757"/>
                </a:solidFill>
              </a:endParaRPr>
            </a:p>
          </p:txBody>
        </p:sp>
        <p:sp>
          <p:nvSpPr>
            <p:cNvPr id="27" name="TextBox 26">
              <a:extLst>
                <a:ext uri="{FF2B5EF4-FFF2-40B4-BE49-F238E27FC236}">
                  <a16:creationId xmlns:a16="http://schemas.microsoft.com/office/drawing/2014/main" id="{5075653B-22EA-4D3C-933E-5DF42BF39DA4}"/>
                </a:ext>
              </a:extLst>
            </p:cNvPr>
            <p:cNvSpPr txBox="1"/>
            <p:nvPr/>
          </p:nvSpPr>
          <p:spPr>
            <a:xfrm>
              <a:off x="11479000"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4</a:t>
              </a:r>
              <a:endParaRPr lang="en-US" sz="1200">
                <a:solidFill>
                  <a:srgbClr val="575757"/>
                </a:solidFill>
              </a:endParaRPr>
            </a:p>
          </p:txBody>
        </p:sp>
        <p:sp>
          <p:nvSpPr>
            <p:cNvPr id="28" name="TextBox 27">
              <a:extLst>
                <a:ext uri="{FF2B5EF4-FFF2-40B4-BE49-F238E27FC236}">
                  <a16:creationId xmlns:a16="http://schemas.microsoft.com/office/drawing/2014/main" id="{BEF2D58E-A318-49D7-8DEC-8DFEB2196FC5}"/>
                </a:ext>
              </a:extLst>
            </p:cNvPr>
            <p:cNvSpPr txBox="1"/>
            <p:nvPr/>
          </p:nvSpPr>
          <p:spPr>
            <a:xfrm>
              <a:off x="8691208"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2</a:t>
              </a:r>
              <a:endParaRPr lang="en-US" sz="1200">
                <a:solidFill>
                  <a:srgbClr val="575757"/>
                </a:solidFill>
              </a:endParaRPr>
            </a:p>
          </p:txBody>
        </p:sp>
        <p:sp>
          <p:nvSpPr>
            <p:cNvPr id="29" name="TextBox 28">
              <a:extLst>
                <a:ext uri="{FF2B5EF4-FFF2-40B4-BE49-F238E27FC236}">
                  <a16:creationId xmlns:a16="http://schemas.microsoft.com/office/drawing/2014/main" id="{2B06981D-646D-4D1E-B329-DC226CDAD844}"/>
                </a:ext>
              </a:extLst>
            </p:cNvPr>
            <p:cNvSpPr txBox="1"/>
            <p:nvPr/>
          </p:nvSpPr>
          <p:spPr>
            <a:xfrm>
              <a:off x="10085104" y="5684879"/>
              <a:ext cx="8015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1200">
                  <a:solidFill>
                    <a:srgbClr val="575757"/>
                  </a:solidFill>
                </a:rPr>
                <a:t>3</a:t>
              </a:r>
              <a:endParaRPr lang="en-US" sz="1200">
                <a:solidFill>
                  <a:srgbClr val="575757"/>
                </a:solidFill>
              </a:endParaRPr>
            </a:p>
          </p:txBody>
        </p:sp>
      </p:grpSp>
      <p:sp>
        <p:nvSpPr>
          <p:cNvPr id="48" name="Isosceles Triangle 47">
            <a:extLst>
              <a:ext uri="{FF2B5EF4-FFF2-40B4-BE49-F238E27FC236}">
                <a16:creationId xmlns:a16="http://schemas.microsoft.com/office/drawing/2014/main" id="{550B5241-A055-4A97-AFA6-0C804F2553E0}"/>
              </a:ext>
            </a:extLst>
          </p:cNvPr>
          <p:cNvSpPr/>
          <p:nvPr/>
        </p:nvSpPr>
        <p:spPr>
          <a:xfrm rot="10800000" flipV="1">
            <a:off x="8967627" y="5806339"/>
            <a:ext cx="156198" cy="104785"/>
          </a:xfrm>
          <a:prstGeom prst="triangle">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8" name="Rectangle 7">
            <a:extLst>
              <a:ext uri="{FF2B5EF4-FFF2-40B4-BE49-F238E27FC236}">
                <a16:creationId xmlns:a16="http://schemas.microsoft.com/office/drawing/2014/main" id="{0F250931-7AE3-41E3-A718-D4E1AD2BB6FC}"/>
              </a:ext>
            </a:extLst>
          </p:cNvPr>
          <p:cNvSpPr/>
          <p:nvPr/>
        </p:nvSpPr>
        <p:spPr>
          <a:xfrm>
            <a:off x="8675070" y="1920929"/>
            <a:ext cx="275790" cy="2170324"/>
          </a:xfrm>
          <a:prstGeom prst="rect">
            <a:avLst/>
          </a:prstGeom>
          <a:solidFill>
            <a:srgbClr val="FF0000">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5109CF6C-4157-403A-8F06-2DA5CB32E773}"/>
              </a:ext>
            </a:extLst>
          </p:cNvPr>
          <p:cNvSpPr/>
          <p:nvPr/>
        </p:nvSpPr>
        <p:spPr>
          <a:xfrm>
            <a:off x="8675070" y="4091254"/>
            <a:ext cx="275790" cy="1384986"/>
          </a:xfrm>
          <a:prstGeom prst="rect">
            <a:avLst/>
          </a:prstGeom>
          <a:solidFill>
            <a:srgbClr val="00B050">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ZoneTexte 11">
            <a:extLst>
              <a:ext uri="{FF2B5EF4-FFF2-40B4-BE49-F238E27FC236}">
                <a16:creationId xmlns:a16="http://schemas.microsoft.com/office/drawing/2014/main" id="{08C9F056-3EBD-4921-852B-9A35A05AA960}"/>
              </a:ext>
            </a:extLst>
          </p:cNvPr>
          <p:cNvSpPr txBox="1"/>
          <p:nvPr/>
        </p:nvSpPr>
        <p:spPr>
          <a:xfrm>
            <a:off x="0" y="-32723"/>
            <a:ext cx="4255806" cy="258356"/>
          </a:xfrm>
          <a:prstGeom prst="rect">
            <a:avLst/>
          </a:prstGeom>
          <a:solidFill>
            <a:schemeClr val="accent3">
              <a:lumMod val="60000"/>
              <a:lumOff val="4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a:solidFill>
                  <a:srgbClr val="575757"/>
                </a:solidFill>
              </a:rPr>
              <a:t>Template content – replace with actuals</a:t>
            </a:r>
            <a:endParaRPr lang="fr-FR" sz="1600">
              <a:solidFill>
                <a:srgbClr val="575757"/>
              </a:solidFill>
            </a:endParaRPr>
          </a:p>
        </p:txBody>
      </p:sp>
      <p:sp>
        <p:nvSpPr>
          <p:cNvPr id="4" name="TextBox 3">
            <a:extLst>
              <a:ext uri="{FF2B5EF4-FFF2-40B4-BE49-F238E27FC236}">
                <a16:creationId xmlns:a16="http://schemas.microsoft.com/office/drawing/2014/main" id="{BB4086DE-FCE4-4AFB-B76A-9F4D429956A8}"/>
              </a:ext>
            </a:extLst>
          </p:cNvPr>
          <p:cNvSpPr txBox="1"/>
          <p:nvPr/>
        </p:nvSpPr>
        <p:spPr>
          <a:xfrm>
            <a:off x="1542422" y="5894696"/>
            <a:ext cx="2945769" cy="2769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a:solidFill>
                  <a:srgbClr val="293C47"/>
                </a:solidFill>
              </a:rPr>
              <a:t>Best Practices for Low Risk Applications</a:t>
            </a:r>
          </a:p>
        </p:txBody>
      </p:sp>
      <p:sp>
        <p:nvSpPr>
          <p:cNvPr id="6" name="TextBox 5">
            <a:extLst>
              <a:ext uri="{FF2B5EF4-FFF2-40B4-BE49-F238E27FC236}">
                <a16:creationId xmlns:a16="http://schemas.microsoft.com/office/drawing/2014/main" id="{1BFDA3F8-560D-4C34-980C-28C91C68D5B1}"/>
              </a:ext>
            </a:extLst>
          </p:cNvPr>
          <p:cNvSpPr txBox="1"/>
          <p:nvPr/>
        </p:nvSpPr>
        <p:spPr>
          <a:xfrm>
            <a:off x="1542422" y="6221269"/>
            <a:ext cx="3251211" cy="2769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1200">
                <a:solidFill>
                  <a:srgbClr val="FF0000"/>
                </a:solidFill>
              </a:rPr>
              <a:t>http://technologies.castsoftware.com/rules</a:t>
            </a:r>
          </a:p>
        </p:txBody>
      </p:sp>
      <p:sp>
        <p:nvSpPr>
          <p:cNvPr id="43" name="TextBox 42">
            <a:extLst>
              <a:ext uri="{FF2B5EF4-FFF2-40B4-BE49-F238E27FC236}">
                <a16:creationId xmlns:a16="http://schemas.microsoft.com/office/drawing/2014/main" id="{992474A3-F147-4EB9-B7BE-0DCDCDFE4A49}"/>
              </a:ext>
            </a:extLst>
          </p:cNvPr>
          <p:cNvSpPr txBox="1"/>
          <p:nvPr/>
        </p:nvSpPr>
        <p:spPr>
          <a:xfrm>
            <a:off x="8603226" y="19101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endParaRPr lang="en-US" b="0" dirty="0">
              <a:solidFill>
                <a:srgbClr val="D4D4D4"/>
              </a:solidFill>
              <a:effectLst/>
              <a:latin typeface="Consolas" panose="020B0609020204030204" pitchFamily="49" charset="0"/>
            </a:endParaRPr>
          </a:p>
        </p:txBody>
      </p:sp>
      <p:sp>
        <p:nvSpPr>
          <p:cNvPr id="61" name="Rectangle 60">
            <a:extLst>
              <a:ext uri="{FF2B5EF4-FFF2-40B4-BE49-F238E27FC236}">
                <a16:creationId xmlns:a16="http://schemas.microsoft.com/office/drawing/2014/main" id="{C5624262-1E0B-49E4-AD0C-1C2B7E05608E}"/>
              </a:ext>
            </a:extLst>
          </p:cNvPr>
          <p:cNvSpPr/>
          <p:nvPr/>
        </p:nvSpPr>
        <p:spPr>
          <a:xfrm>
            <a:off x="224259" y="1643580"/>
            <a:ext cx="1162050" cy="1162050"/>
          </a:xfrm>
          <a:prstGeom prst="rect">
            <a:avLst/>
          </a:prstGeom>
          <a:grpFill/>
          <a:ln w="3810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lstStyle/>
          <a:p>
            <a:pPr algn="ctr">
              <a:lnSpc>
                <a:spcPct val="95000"/>
              </a:lnSpc>
            </a:pPr>
            <a:r>
              <a:rPr lang="en-GB" sz="1200" b="1" kern="0">
                <a:solidFill>
                  <a:srgbClr val="575757"/>
                </a:solidFill>
              </a:rPr>
              <a:t>TQI</a:t>
            </a:r>
            <a:endParaRPr lang="en-US" sz="1200" b="1" kern="0">
              <a:solidFill>
                <a:srgbClr val="575757"/>
              </a:solidFill>
            </a:endParaRPr>
          </a:p>
        </p:txBody>
      </p:sp>
      <p:grpSp>
        <p:nvGrpSpPr>
          <p:cNvPr id="62" name="Group 61">
            <a:extLst>
              <a:ext uri="{FF2B5EF4-FFF2-40B4-BE49-F238E27FC236}">
                <a16:creationId xmlns:a16="http://schemas.microsoft.com/office/drawing/2014/main" id="{1E467D7D-0A3B-4998-84FB-546B6F4D01D6}"/>
              </a:ext>
            </a:extLst>
          </p:cNvPr>
          <p:cNvGrpSpPr/>
          <p:nvPr/>
        </p:nvGrpSpPr>
        <p:grpSpPr>
          <a:xfrm>
            <a:off x="261392" y="2556387"/>
            <a:ext cx="1087781" cy="208217"/>
            <a:chOff x="1698750" y="2371783"/>
            <a:chExt cx="1087781" cy="208217"/>
          </a:xfrm>
        </p:grpSpPr>
        <p:sp>
          <p:nvSpPr>
            <p:cNvPr id="63" name="Rectangle 62">
              <a:extLst>
                <a:ext uri="{FF2B5EF4-FFF2-40B4-BE49-F238E27FC236}">
                  <a16:creationId xmlns:a16="http://schemas.microsoft.com/office/drawing/2014/main" id="{0F97224A-EFEF-4866-8C35-60E952B07431}"/>
                </a:ext>
              </a:extLst>
            </p:cNvPr>
            <p:cNvSpPr/>
            <p:nvPr/>
          </p:nvSpPr>
          <p:spPr>
            <a:xfrm>
              <a:off x="1698750" y="2489304"/>
              <a:ext cx="1087781" cy="90696"/>
            </a:xfrm>
            <a:prstGeom prst="rect">
              <a:avLst/>
            </a:prstGeom>
            <a:solidFill>
              <a:schemeClr val="bg1">
                <a:lumMod val="8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sp>
          <p:nvSpPr>
            <p:cNvPr id="64" name="TextBox 63">
              <a:extLst>
                <a:ext uri="{FF2B5EF4-FFF2-40B4-BE49-F238E27FC236}">
                  <a16:creationId xmlns:a16="http://schemas.microsoft.com/office/drawing/2014/main" id="{5D5170A0-B295-4BCB-A9E8-90D6D6423544}"/>
                </a:ext>
              </a:extLst>
            </p:cNvPr>
            <p:cNvSpPr txBox="1"/>
            <p:nvPr/>
          </p:nvSpPr>
          <p:spPr>
            <a:xfrm>
              <a:off x="1720761"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1</a:t>
              </a:r>
              <a:endParaRPr lang="en-US" sz="700">
                <a:solidFill>
                  <a:srgbClr val="575757"/>
                </a:solidFill>
              </a:endParaRPr>
            </a:p>
          </p:txBody>
        </p:sp>
        <p:sp>
          <p:nvSpPr>
            <p:cNvPr id="65" name="TextBox 64">
              <a:extLst>
                <a:ext uri="{FF2B5EF4-FFF2-40B4-BE49-F238E27FC236}">
                  <a16:creationId xmlns:a16="http://schemas.microsoft.com/office/drawing/2014/main" id="{1E8552B3-BA5F-4954-946B-8F4FA0EBD2B4}"/>
                </a:ext>
              </a:extLst>
            </p:cNvPr>
            <p:cNvSpPr txBox="1"/>
            <p:nvPr/>
          </p:nvSpPr>
          <p:spPr>
            <a:xfrm>
              <a:off x="2704855"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4</a:t>
              </a:r>
              <a:endParaRPr lang="en-US" sz="700">
                <a:solidFill>
                  <a:srgbClr val="575757"/>
                </a:solidFill>
              </a:endParaRPr>
            </a:p>
          </p:txBody>
        </p:sp>
        <p:sp>
          <p:nvSpPr>
            <p:cNvPr id="66" name="TextBox 65">
              <a:extLst>
                <a:ext uri="{FF2B5EF4-FFF2-40B4-BE49-F238E27FC236}">
                  <a16:creationId xmlns:a16="http://schemas.microsoft.com/office/drawing/2014/main" id="{1E7D5154-F796-4631-8281-C1248F1381C4}"/>
                </a:ext>
              </a:extLst>
            </p:cNvPr>
            <p:cNvSpPr txBox="1"/>
            <p:nvPr/>
          </p:nvSpPr>
          <p:spPr>
            <a:xfrm>
              <a:off x="2048792"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2</a:t>
              </a:r>
              <a:endParaRPr lang="en-US" sz="700">
                <a:solidFill>
                  <a:srgbClr val="575757"/>
                </a:solidFill>
              </a:endParaRPr>
            </a:p>
          </p:txBody>
        </p:sp>
        <p:sp>
          <p:nvSpPr>
            <p:cNvPr id="67" name="TextBox 66">
              <a:extLst>
                <a:ext uri="{FF2B5EF4-FFF2-40B4-BE49-F238E27FC236}">
                  <a16:creationId xmlns:a16="http://schemas.microsoft.com/office/drawing/2014/main" id="{131EAC30-F022-4E86-B7F3-F6C082BC0B47}"/>
                </a:ext>
              </a:extLst>
            </p:cNvPr>
            <p:cNvSpPr txBox="1"/>
            <p:nvPr/>
          </p:nvSpPr>
          <p:spPr>
            <a:xfrm>
              <a:off x="2376824" y="2371783"/>
              <a:ext cx="46488" cy="107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GB" sz="700">
                  <a:solidFill>
                    <a:srgbClr val="575757"/>
                  </a:solidFill>
                </a:rPr>
                <a:t>3</a:t>
              </a:r>
              <a:endParaRPr lang="en-US" sz="700">
                <a:solidFill>
                  <a:srgbClr val="575757"/>
                </a:solidFill>
              </a:endParaRPr>
            </a:p>
          </p:txBody>
        </p:sp>
        <p:sp>
          <p:nvSpPr>
            <p:cNvPr id="68" name="Isosceles Triangle 67">
              <a:extLst>
                <a:ext uri="{FF2B5EF4-FFF2-40B4-BE49-F238E27FC236}">
                  <a16:creationId xmlns:a16="http://schemas.microsoft.com/office/drawing/2014/main" id="{8839D1E0-9AE6-40FA-A322-DA1EBA87B85B}"/>
                </a:ext>
              </a:extLst>
            </p:cNvPr>
            <p:cNvSpPr/>
            <p:nvPr/>
          </p:nvSpPr>
          <p:spPr>
            <a:xfrm rot="10800000" flipV="1">
              <a:off x="2211151" y="2488466"/>
              <a:ext cx="87844" cy="77941"/>
            </a:xfrm>
            <a:prstGeom prst="triangle">
              <a:avLst/>
            </a:prstGeom>
            <a:solidFill>
              <a:srgbClr val="37373A"/>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highlight>
                  <a:srgbClr val="000000"/>
                </a:highlight>
              </a:endParaRPr>
            </a:p>
          </p:txBody>
        </p:sp>
      </p:grpSp>
      <p:sp>
        <p:nvSpPr>
          <p:cNvPr id="69" name="TextBox 68">
            <a:extLst>
              <a:ext uri="{FF2B5EF4-FFF2-40B4-BE49-F238E27FC236}">
                <a16:creationId xmlns:a16="http://schemas.microsoft.com/office/drawing/2014/main" id="{03F6CB32-7F23-4EF0-B289-08B1FB9FEDBF}"/>
              </a:ext>
            </a:extLst>
          </p:cNvPr>
          <p:cNvSpPr txBox="1"/>
          <p:nvPr/>
        </p:nvSpPr>
        <p:spPr>
          <a:xfrm>
            <a:off x="445813" y="1989733"/>
            <a:ext cx="731289" cy="400110"/>
          </a:xfrm>
          <a:prstGeom prst="rect">
            <a:avLst/>
          </a:prstGeom>
          <a:noFill/>
          <a:ln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1440" rIns="91440" bIns="45720" numCol="1" spcCol="0" rtlCol="0" fromWordArt="0" anchor="ctr" anchorCtr="0" forceAA="0" compatLnSpc="1">
            <a:prstTxWarp prst="textNoShape">
              <a:avLst/>
            </a:prstTxWarp>
            <a:noAutofit/>
          </a:bodyPr>
          <a:lstStyle>
            <a:defPPr>
              <a:defRPr lang="en-US"/>
            </a:defPPr>
            <a:lvl1pPr algn="ctr">
              <a:defRPr sz="2000" b="1">
                <a:solidFill>
                  <a:srgbClr val="FFC000"/>
                </a:solidFill>
              </a:defRPr>
            </a:lvl1pPr>
          </a:lstStyle>
          <a:p>
            <a:r>
              <a:rPr lang="en-US" dirty="0">
                <a:solidFill>
                  <a:srgbClr val="00FF00"/>
                </a:solidFill>
              </a:rPr>
              <a:t>2.50</a:t>
            </a:r>
          </a:p>
        </p:txBody>
      </p:sp>
    </p:spTree>
    <p:custDataLst>
      <p:tags r:id="rId1"/>
    </p:custDataLst>
    <p:extLst>
      <p:ext uri="{BB962C8B-B14F-4D97-AF65-F5344CB8AC3E}">
        <p14:creationId xmlns:p14="http://schemas.microsoft.com/office/powerpoint/2010/main" val="2762800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0&quot; createSeparatingSlides=&quot;1&quot; createBackupSlide=&quot;0&quot; layoutId=&quot;227_1-4&quot; createSections=&quot;1&quot; singleSlideId=&quot;&quot;&gt;&lt;columns&gt;&lt;column field=&quot;itemno&quot; label=&quot;No.&quot; checked=&quot;0&quot; leftSpacing=&quot;0&quot; rightSpacing=&quot;0&quot; dock=&quot;1&quot; fixedWidth=&quot;51.87527&quot; /&gt;&lt;column field=&quot;topic&quot; label=&quot;Topic&quot; leftSpacing=&quot;0&quot; rightDistribute=&quot;1&quot; dock=&quot;1&quot; rightSpacing=&quot;271.4482&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10cdf6dc-e06e-4c74-aea6-19f4c3d22d1d&quot; parentId=&quot;&quot; level=&quot;1&quot; generateAgendaSlide=&quot;1&quot; showAgendaItem=&quot;1&quot; isBreak=&quot;0&quot; topic=&quot;CAST overview&quot; agendaSlideId=&quot;4ba57edd-6df1-4b9b-8d43-3c31447f5aa4&quot; sectionId=&quot;{958C8780-BA4F-4F1E-A2D0-677AFEC75D3B}&quot; /&gt;&lt;item duration=&quot;30&quot; id=&quot;b13901ff-3d5e-4cf3-b72f-7d2c016bac19&quot; parentId=&quot;&quot; level=&quot;1&quot; generateAgendaSlide=&quot;1&quot; showAgendaItem=&quot;1&quot; isBreak=&quot;0&quot; topic=&quot;Grading mechanism&quot; agendaSlideId=&quot;6374c1eb-d992-4c16-97f7-97891e16dcae&quot; sectionId=&quot;{DAF20748-E24B-46B6-8D32-2A6C7CBE49B5}&quot; /&gt;&lt;item duration=&quot;30&quot; id=&quot;09a88029-238e-44d2-8ce7-3c01c62536e0&quot; parentId=&quot;&quot; level=&quot;1&quot; generateAgendaSlide=&quot;1&quot; showAgendaItem=&quot;1&quot; isBreak=&quot;0&quot; topic=&quot;Findings for eurodata&quot; agendaSlideId=&quot;6570292f-6b49-4fbc-9bd3-f66599a3e2b1&quot; sectionId=&quot;{B381F354-96F1-4569-88F3-DFFAD694E002}&quot; /&gt;&lt;item duration=&quot;30&quot; id=&quot;c799c04f-4413-4905-835d-b150fae308c8&quot; parentId=&quot;09a88029-238e-44d2-8ce7-3c01c62536e0&quot; level=&quot;2&quot; generateAgendaSlide=&quot;0&quot; showAgendaItem=&quot;0&quot; isBreak=&quot;0&quot; topic=&quot;Executive summary&quot; agendaSlideId=&quot;&quot; sectionId=&quot;&quot; /&gt;&lt;item duration=&quot;30&quot; id=&quot;b277620d-7477-4915-bd80-0f272ca66223&quot; parentId=&quot;09a88029-238e-44d2-8ce7-3c01c62536e0&quot; level=&quot;2&quot; generateAgendaSlide=&quot;0&quot; showAgendaItem=&quot;0&quot; isBreak=&quot;0&quot; topic=&quot;eurodata application health&quot; agendaSlideId=&quot;&quot; sectionId=&quot;&quot; /&gt;&lt;item duration=&quot;30&quot; id=&quot;e7e2fba4-6a63-47b2-a36d-40cfc4b02277&quot; parentId=&quot;09a88029-238e-44d2-8ce7-3c01c62536e0&quot; level=&quot;2&quot; generateAgendaSlide=&quot;0&quot; showAgendaItem=&quot;0&quot; isBreak=&quot;0&quot; topic=&quot;eurodata comparison to peers&quot; agendaSlideId=&quot;&quot; sectionId=&quot;&quot; /&gt;&lt;item duration=&quot;30&quot; id=&quot;2b02534a-3785-4c4e-920b-07674e318e9b&quot; parentId=&quot;09a88029-238e-44d2-8ce7-3c01c62536e0&quot; level=&quot;2&quot; generateAgendaSlide=&quot;0&quot; showAgendaItem=&quot;0&quot; isBreak=&quot;0&quot; topic=&quot;Estimated effort to close the gap&quot; agendaSlideId=&quot;&quot; sectionId=&quot;&quot; /&gt;&lt;item duration=&quot;30&quot; id=&quot;d91efbe4-c4ec-49d7-bd5c-20cd5e133613&quot; parentId=&quot;&quot; level=&quot;1&quot; generateAgendaSlide=&quot;1&quot; showAgendaItem=&quot;1&quot; isBreak=&quot;0&quot; topic=&quot;Appendix&quot; agendaSlideId=&quot;247f9a43-a8f9-41c7-8720-b1b6ee82caa4&quot; sectionId=&quot;{F1A68A19-8B21-459A-A4AF-37B28A456976}&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PFSLIDEKEY" val="F224412C-4A86-49F9-AD61-C7933BBE454F"/>
</p:tagLst>
</file>

<file path=ppt/tags/tag11.xml><?xml version="1.0" encoding="utf-8"?>
<p:tagLst xmlns:a="http://schemas.openxmlformats.org/drawingml/2006/main" xmlns:r="http://schemas.openxmlformats.org/officeDocument/2006/relationships" xmlns:p="http://schemas.openxmlformats.org/presentationml/2006/main">
  <p:tag name="PFSLIDEKEY" val="D619602C-776D-4FCE-90E0-E9C87C53E701"/>
</p:tagLst>
</file>

<file path=ppt/tags/tag12.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4ba57edd-6df1-4b9b-8d43-3c31447f5aa4_Element"/>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4ba57edd-6df1-4b9b-8d43-3c31447f5aa4_Element"/>
</p:tagLst>
</file>

<file path=ppt/theme/theme1.xml><?xml version="1.0" encoding="utf-8"?>
<a:theme xmlns:a="http://schemas.openxmlformats.org/drawingml/2006/main" name="Grid">
  <a:themeElements>
    <a:clrScheme name="CAST">
      <a:dk1>
        <a:srgbClr val="293C47"/>
      </a:dk1>
      <a:lt1>
        <a:sysClr val="window" lastClr="FFFFFF"/>
      </a:lt1>
      <a:dk2>
        <a:srgbClr val="638DA5"/>
      </a:dk2>
      <a:lt2>
        <a:srgbClr val="F2F2F2"/>
      </a:lt2>
      <a:accent1>
        <a:srgbClr val="293C47"/>
      </a:accent1>
      <a:accent2>
        <a:srgbClr val="293C47"/>
      </a:accent2>
      <a:accent3>
        <a:srgbClr val="CF7600"/>
      </a:accent3>
      <a:accent4>
        <a:srgbClr val="37AEA6"/>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15569c95-e101-4007-bd4f-c2ce37ea2e9f">
      <UserInfo>
        <DisplayName>Ribhu Kansal</DisplayName>
        <AccountId>7</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C80B1DC824C1C4493B35ED47A947396" ma:contentTypeVersion="4" ma:contentTypeDescription="Crée un document." ma:contentTypeScope="" ma:versionID="e5d85764ab49c819ec2a48c96e9926b9">
  <xsd:schema xmlns:xsd="http://www.w3.org/2001/XMLSchema" xmlns:xs="http://www.w3.org/2001/XMLSchema" xmlns:p="http://schemas.microsoft.com/office/2006/metadata/properties" xmlns:ns2="1482836c-90cb-41ab-9e6c-234d9d8965a0" xmlns:ns3="15569c95-e101-4007-bd4f-c2ce37ea2e9f" targetNamespace="http://schemas.microsoft.com/office/2006/metadata/properties" ma:root="true" ma:fieldsID="edbbde9d68c93fa1f9acf8b070f33026" ns2:_="" ns3:_="">
    <xsd:import namespace="1482836c-90cb-41ab-9e6c-234d9d8965a0"/>
    <xsd:import namespace="15569c95-e101-4007-bd4f-c2ce37ea2e9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82836c-90cb-41ab-9e6c-234d9d8965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5569c95-e101-4007-bd4f-c2ce37ea2e9f"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E88E16-7E0B-4200-87BF-A77CE39C865B}">
  <ds:schemaRefs>
    <ds:schemaRef ds:uri="http://schemas.microsoft.com/sharepoint/v3/contenttype/forms"/>
  </ds:schemaRefs>
</ds:datastoreItem>
</file>

<file path=customXml/itemProps2.xml><?xml version="1.0" encoding="utf-8"?>
<ds:datastoreItem xmlns:ds="http://schemas.openxmlformats.org/officeDocument/2006/customXml" ds:itemID="{D8328FB3-B9DA-43EB-B7EF-1E3B44B7CAA7}">
  <ds:schemaRefs>
    <ds:schemaRef ds:uri="1482836c-90cb-41ab-9e6c-234d9d8965a0"/>
    <ds:schemaRef ds:uri="15569c95-e101-4007-bd4f-c2ce37ea2e9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B449939-30F5-4BDC-B4DB-9E6202912A09}">
  <ds:schemaRefs>
    <ds:schemaRef ds:uri="1482836c-90cb-41ab-9e6c-234d9d8965a0"/>
    <ds:schemaRef ds:uri="15569c95-e101-4007-bd4f-c2ce37ea2e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6738</TotalTime>
  <Words>1672</Words>
  <Application>Microsoft Office PowerPoint</Application>
  <PresentationFormat>Widescreen</PresentationFormat>
  <Paragraphs>317</Paragraphs>
  <Slides>9</Slides>
  <Notes>4</Notes>
  <HiddenSlides>0</HiddenSlides>
  <MMClips>0</MMClips>
  <ScaleCrop>false</ScaleCrop>
  <HeadingPairs>
    <vt:vector size="10"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9</vt:i4>
      </vt:variant>
      <vt:variant>
        <vt:lpstr>Custom Shows</vt:lpstr>
      </vt:variant>
      <vt:variant>
        <vt:i4>1</vt:i4>
      </vt:variant>
    </vt:vector>
  </HeadingPairs>
  <TitlesOfParts>
    <vt:vector size="20" baseType="lpstr">
      <vt:lpstr>Arial</vt:lpstr>
      <vt:lpstr>Arial,Sans-Serif</vt:lpstr>
      <vt:lpstr>Calibri</vt:lpstr>
      <vt:lpstr>Consolas</vt:lpstr>
      <vt:lpstr>Segoe UI</vt:lpstr>
      <vt:lpstr>Trebuchet MS</vt:lpstr>
      <vt:lpstr>Wingdings</vt:lpstr>
      <vt:lpstr>Wingdings,Sans-Serif</vt:lpstr>
      <vt:lpstr>Grid</vt:lpstr>
      <vt:lpstr>think-cell Slide</vt:lpstr>
      <vt:lpstr>accela Tech DD report </vt:lpstr>
      <vt:lpstr>Agenda</vt:lpstr>
      <vt:lpstr>Target applications are in medium health. There are xx open-source vulnerabilities and xx health issues from application code that need immediate review.</vt:lpstr>
      <vt:lpstr>Assessment Approach @ Vista</vt:lpstr>
      <vt:lpstr>Agenda</vt:lpstr>
      <vt:lpstr>Summary of findings from the CAST analysis with focus on immediate actions</vt:lpstr>
      <vt:lpstr>PowerPoint Presentation</vt:lpstr>
      <vt:lpstr>Application details: Accela application technical overview and key takeaways</vt:lpstr>
      <vt:lpstr>Application details: Accela technical strengths and improvement areas for Overall health (TQI)</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T</dc:title>
  <dc:creator>CAST</dc:creator>
  <cp:lastModifiedBy>Nevin Kaplan</cp:lastModifiedBy>
  <cp:revision>124</cp:revision>
  <cp:lastPrinted>2018-10-25T09:18:28Z</cp:lastPrinted>
  <dcterms:created xsi:type="dcterms:W3CDTF">2018-10-24T22:21:44Z</dcterms:created>
  <dcterms:modified xsi:type="dcterms:W3CDTF">2021-02-03T20:1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CC80B1DC824C1C4493B35ED47A947396</vt:lpwstr>
  </property>
</Properties>
</file>